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2" r:id="rId4"/>
  </p:sldMasterIdLst>
  <p:notesMasterIdLst>
    <p:notesMasterId r:id="rId11"/>
  </p:notesMasterIdLst>
  <p:handoutMasterIdLst>
    <p:handoutMasterId r:id="rId12"/>
  </p:handoutMasterIdLst>
  <p:sldIdLst>
    <p:sldId id="2141411957" r:id="rId5"/>
    <p:sldId id="2147376991" r:id="rId6"/>
    <p:sldId id="2147376979" r:id="rId7"/>
    <p:sldId id="2147376732" r:id="rId8"/>
    <p:sldId id="2147376752" r:id="rId9"/>
    <p:sldId id="2147376753" r:id="rId10"/>
  </p:sldIdLst>
  <p:sldSz cx="9144000" cy="5143500" type="screen16x9"/>
  <p:notesSz cx="6858000" cy="9926638"/>
  <p:custDataLst>
    <p:tags r:id="rId13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0D9D456D-46AB-4F5D-96FB-F0B5E8F1A2C1}">
          <p14:sldIdLst>
            <p14:sldId id="2141411957"/>
            <p14:sldId id="2147376991"/>
            <p14:sldId id="2147376979"/>
            <p14:sldId id="2147376732"/>
          </p14:sldIdLst>
        </p14:section>
        <p14:section name="Retailové financování" id="{37EA2EF6-8666-4EE4-A4F1-39977AEE508E}">
          <p14:sldIdLst>
            <p14:sldId id="2147376752"/>
            <p14:sldId id="2147376753"/>
          </p14:sldIdLst>
        </p14:section>
      </p14:sectionLst>
    </p:ext>
    <p:ext uri="{EFAFB233-063F-42B5-8137-9DF3F51BA10A}">
      <p15:sldGuideLst xmlns:p15="http://schemas.microsoft.com/office/powerpoint/2012/main">
        <p15:guide id="3" pos="4468" userDrawn="1">
          <p15:clr>
            <a:srgbClr val="A4A3A4"/>
          </p15:clr>
        </p15:guide>
        <p15:guide id="4" orient="horz" pos="10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ugliani Eleonora (UniCredit)" initials="TE(" lastIdx="11" clrIdx="0">
    <p:extLst>
      <p:ext uri="{19B8F6BF-5375-455C-9EA6-DF929625EA0E}">
        <p15:presenceInfo xmlns:p15="http://schemas.microsoft.com/office/powerpoint/2012/main" userId="S::ELEONORA.TUGLIANI@unicredit.eu::7f52b55f-f7c1-4f32-8aec-dd2434f511b9" providerId="AD"/>
      </p:ext>
    </p:extLst>
  </p:cmAuthor>
  <p:cmAuthor id="2" name="Swart Mirjam (UniCredit)" initials="SM(" lastIdx="1" clrIdx="1">
    <p:extLst>
      <p:ext uri="{19B8F6BF-5375-455C-9EA6-DF929625EA0E}">
        <p15:presenceInfo xmlns:p15="http://schemas.microsoft.com/office/powerpoint/2012/main" userId="S::MIRJAM.SWART@unicredit.eu::0fb397b8-c659-44a1-a6ab-e54f4d93090c" providerId="AD"/>
      </p:ext>
    </p:extLst>
  </p:cmAuthor>
  <p:cmAuthor id="3" name="Rexer Andrea (HVB - UniCredit)" initials="RA(-U" lastIdx="17" clrIdx="2">
    <p:extLst>
      <p:ext uri="{19B8F6BF-5375-455C-9EA6-DF929625EA0E}">
        <p15:presenceInfo xmlns:p15="http://schemas.microsoft.com/office/powerpoint/2012/main" userId="S::Andrea.Rexer@unicredit.de::29f05781-0edb-45e3-9a59-2f59129e3b19" providerId="AD"/>
      </p:ext>
    </p:extLst>
  </p:cmAuthor>
  <p:cmAuthor id="4" name="Papp Ondrej" initials="PO" lastIdx="1" clrIdx="3">
    <p:extLst>
      <p:ext uri="{19B8F6BF-5375-455C-9EA6-DF929625EA0E}">
        <p15:presenceInfo xmlns:p15="http://schemas.microsoft.com/office/powerpoint/2012/main" userId="S-1-5-21-4274055634-1234181714-1793516676-151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B2BA"/>
    <a:srgbClr val="E2001A"/>
    <a:srgbClr val="666666"/>
    <a:srgbClr val="004F95"/>
    <a:srgbClr val="FDC300"/>
    <a:srgbClr val="999999"/>
    <a:srgbClr val="B381B3"/>
    <a:srgbClr val="87BAE4"/>
    <a:srgbClr val="7757A4"/>
    <a:srgbClr val="BFEB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111" autoAdjust="0"/>
  </p:normalViewPr>
  <p:slideViewPr>
    <p:cSldViewPr snapToGrid="0">
      <p:cViewPr varScale="1">
        <p:scale>
          <a:sx n="89" d="100"/>
          <a:sy n="89" d="100"/>
        </p:scale>
        <p:origin x="620" y="60"/>
      </p:cViewPr>
      <p:guideLst>
        <p:guide pos="4468"/>
        <p:guide orient="horz" pos="1076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C09AAE7-6313-9F43-9829-7F98C5C0E2B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UniCredit (Body)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2769E2-1F0C-3A4D-A4D4-68E2E2453B8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1624D5-2185-BE41-8C27-C678935BA8CF}" type="datetimeFigureOut">
              <a:rPr lang="en-US" smtClean="0">
                <a:latin typeface="UniCredit (Body)"/>
              </a:rPr>
              <a:t>5/19/2026</a:t>
            </a:fld>
            <a:endParaRPr lang="en-US">
              <a:latin typeface="UniCredit (Body)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770857-4FD9-E74E-A312-868ECC6DEFB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UniCredit (Body)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875FAC-2729-2445-8731-B7FEC87264E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43879F-4B36-CC4A-9C5D-A5914B122673}" type="slidenum">
              <a:rPr lang="en-US" smtClean="0">
                <a:latin typeface="UniCredit (Body)"/>
              </a:rPr>
              <a:t>‹#›</a:t>
            </a:fld>
            <a:endParaRPr lang="en-US"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31755654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UniCredit (Body)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UniCredit (Body)"/>
              </a:defRPr>
            </a:lvl1pPr>
          </a:lstStyle>
          <a:p>
            <a:fld id="{103FA311-E61B-46A1-AF3F-2A8AEBCEC0FD}" type="datetimeFigureOut">
              <a:rPr lang="en-GB" smtClean="0"/>
              <a:pPr/>
              <a:t>19/05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UniCredit (Body)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UniCredit (Body)"/>
              </a:defRPr>
            </a:lvl1pPr>
          </a:lstStyle>
          <a:p>
            <a:fld id="{B8491173-C243-4EE3-9ED0-6C691BEB7E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59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0987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5D7C8-C86D-4E2E-03D2-403C876393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5021A802-78A8-96E9-66A2-3FB8CB1385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6C3495DB-ED10-3846-3D27-59C44D9CA9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E83018F-40EA-2A88-12E9-D564232F24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B60C688-5D2E-461C-87AC-3C6219571D48}" type="slidenum">
              <a:rPr lang="it-IT" smtClean="0"/>
              <a:pPr>
                <a:defRPr/>
              </a:pPr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356712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8533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83040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0842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lur&#10;&#10;Description automatically generated">
            <a:extLst>
              <a:ext uri="{FF2B5EF4-FFF2-40B4-BE49-F238E27FC236}">
                <a16:creationId xmlns:a16="http://schemas.microsoft.com/office/drawing/2014/main" id="{9B8367DB-6AB7-B54B-A286-FBE86D7A4B2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2478DC7A-5F05-4BFD-9E9D-1EC316343940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27625" y="4671054"/>
            <a:ext cx="1464373" cy="282145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4045409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812073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382113"/>
            <a:ext cx="5295815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965139"/>
            <a:ext cx="5295815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sp>
        <p:nvSpPr>
          <p:cNvPr id="20" name="CasellaDiTesto 13">
            <a:extLst>
              <a:ext uri="{FF2B5EF4-FFF2-40B4-BE49-F238E27FC236}">
                <a16:creationId xmlns:a16="http://schemas.microsoft.com/office/drawing/2014/main" id="{44E9D5DB-923E-BD43-98AC-2E3A89EE6822}"/>
              </a:ext>
            </a:extLst>
          </p:cNvPr>
          <p:cNvSpPr txBox="1"/>
          <p:nvPr/>
        </p:nvSpPr>
        <p:spPr>
          <a:xfrm>
            <a:off x="6473506" y="4510891"/>
            <a:ext cx="789228" cy="5527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080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GB" sz="1100" b="0" i="0" noProof="0">
                <a:solidFill>
                  <a:schemeClr val="bg1"/>
                </a:solidFill>
                <a:effectLst/>
                <a:latin typeface="UniCredit (Body)"/>
              </a:rPr>
              <a:t>Empowering</a:t>
            </a:r>
            <a:br>
              <a:rPr lang="en-GB" sz="1100" b="0" i="0" noProof="0">
                <a:solidFill>
                  <a:schemeClr val="bg1"/>
                </a:solidFill>
                <a:effectLst/>
                <a:latin typeface="UniCredit (Body)"/>
              </a:rPr>
            </a:br>
            <a:r>
              <a:rPr lang="en-GB" sz="1100" b="0" i="0" noProof="0">
                <a:solidFill>
                  <a:schemeClr val="bg1"/>
                </a:solidFill>
                <a:effectLst/>
                <a:latin typeface="UniCredit (Body)"/>
              </a:rPr>
              <a:t>Communities</a:t>
            </a:r>
            <a:br>
              <a:rPr lang="en-GB" sz="1100" b="0" i="0" noProof="0">
                <a:solidFill>
                  <a:schemeClr val="bg1"/>
                </a:solidFill>
                <a:effectLst/>
                <a:latin typeface="UniCredit (Body)"/>
              </a:rPr>
            </a:br>
            <a:r>
              <a:rPr lang="en-GB" sz="1100" b="0" i="0" noProof="0">
                <a:solidFill>
                  <a:schemeClr val="bg1"/>
                </a:solidFill>
                <a:effectLst/>
                <a:latin typeface="UniCredit (Body)"/>
              </a:rPr>
              <a:t>to Progress.</a:t>
            </a:r>
          </a:p>
        </p:txBody>
      </p:sp>
      <p:cxnSp>
        <p:nvCxnSpPr>
          <p:cNvPr id="6" name="Connettore 1 5">
            <a:extLst>
              <a:ext uri="{FF2B5EF4-FFF2-40B4-BE49-F238E27FC236}">
                <a16:creationId xmlns:a16="http://schemas.microsoft.com/office/drawing/2014/main" id="{3B1D0D62-F069-F74C-820C-38F3BC54F9AB}"/>
              </a:ext>
            </a:extLst>
          </p:cNvPr>
          <p:cNvCxnSpPr/>
          <p:nvPr/>
        </p:nvCxnSpPr>
        <p:spPr>
          <a:xfrm>
            <a:off x="7315200" y="4587875"/>
            <a:ext cx="0" cy="41884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blur&#10;&#10;Description automatically generated">
            <a:extLst>
              <a:ext uri="{FF2B5EF4-FFF2-40B4-BE49-F238E27FC236}">
                <a16:creationId xmlns:a16="http://schemas.microsoft.com/office/drawing/2014/main" id="{49300794-EE81-4515-A590-F25957369F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CBE2D3F-9EC8-4A8F-9077-768CBA05AF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0787" y="4570439"/>
            <a:ext cx="3173119" cy="41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2258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866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A5C72A8-6BD5-484D-A70F-940552F9A9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D7EC5E6-9ECB-0E46-A9EE-2EB8178D4E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2742133-4CFA-1643-BC89-2BA2425F74C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42CF564-241B-854E-A778-78B68E5B22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CC041273-B616-284F-920E-A689BED8E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E8C64747-7D83-814B-8276-69D01FABE5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71676A2-86A5-4D09-98A0-03434389D05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78EB8659-C752-4DE3-9FF6-2240E43FD3E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572813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56F68B3-758B-4166-BD34-A2245666212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55632F7-75DF-422B-8E87-ACFCCFB22FF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572813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17" name="SlideNumber">
            <a:extLst>
              <a:ext uri="{FF2B5EF4-FFF2-40B4-BE49-F238E27FC236}">
                <a16:creationId xmlns:a16="http://schemas.microsoft.com/office/drawing/2014/main" id="{78A8C494-4CCE-451E-9FB8-5D2D29D0494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3121266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117" userDrawn="1">
          <p15:clr>
            <a:srgbClr val="FBAE40"/>
          </p15:clr>
        </p15:guide>
        <p15:guide id="5" pos="2880" userDrawn="1">
          <p15:clr>
            <a:srgbClr val="FBAE40"/>
          </p15:clr>
        </p15:guide>
        <p15:guide id="6" orient="horz" pos="294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864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kern="1200" baseline="0" noProof="0" dirty="0">
                <a:solidFill>
                  <a:schemeClr val="tx2"/>
                </a:solidFill>
                <a:effectLst/>
                <a:latin typeface="UniCredit (Body)"/>
                <a:ea typeface="+mn-ea"/>
                <a:cs typeface="+mn-cs"/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6CB0A2B-6D94-3C45-8827-42824EC190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6DAB9B4F-D3DE-9A44-A98B-618D40DEA4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64824B6-7256-444A-AED5-661C423838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007BC80-08DA-3C47-98AE-5601E974AB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AD51A900-E3C3-4641-A840-D12EA26DC82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FBFDE2B-7D8E-B940-B51A-9B11A6F98E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0F4C651-7D09-4EAD-834E-6A772A9085C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51BE0EC-3158-4B3D-A408-7C4E41FA47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132406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31292F0C-F2FC-45B4-971E-E26E399E5FB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12813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5D7D6212-78D9-44CE-A5D1-5A3BD5E212B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F653CCA-8355-40FA-A14F-2533492160E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132406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6B0E0333-7398-4D29-8274-EC4250F648B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012813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1" name="SlideNumber">
            <a:extLst>
              <a:ext uri="{FF2B5EF4-FFF2-40B4-BE49-F238E27FC236}">
                <a16:creationId xmlns:a16="http://schemas.microsoft.com/office/drawing/2014/main" id="{9E864AF0-A006-46BE-A423-02502761B8D3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3796738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117" userDrawn="1">
          <p15:clr>
            <a:srgbClr val="FBAE40"/>
          </p15:clr>
        </p15:guide>
        <p15:guide id="5" pos="2880" userDrawn="1">
          <p15:clr>
            <a:srgbClr val="FBAE40"/>
          </p15:clr>
        </p15:guide>
        <p15:guide id="6" orient="horz" pos="294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6E1A54-BF49-B742-A615-AE93E1713F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23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  <a:endParaRPr lang="en-GB"/>
          </a:p>
        </p:txBody>
      </p:sp>
      <p:sp>
        <p:nvSpPr>
          <p:cNvPr id="25" name="Segnaposto immagine 9">
            <a:extLst>
              <a:ext uri="{FF2B5EF4-FFF2-40B4-BE49-F238E27FC236}">
                <a16:creationId xmlns:a16="http://schemas.microsoft.com/office/drawing/2014/main" id="{6EFAC134-93F5-43AB-90AF-0D624A3A21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26" name="Segnaposto immagine 9">
            <a:extLst>
              <a:ext uri="{FF2B5EF4-FFF2-40B4-BE49-F238E27FC236}">
                <a16:creationId xmlns:a16="http://schemas.microsoft.com/office/drawing/2014/main" id="{38BDECA1-DF2B-4A9A-8027-DFAC4EE5FB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473579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27" name="Segnaposto immagine 9">
            <a:extLst>
              <a:ext uri="{FF2B5EF4-FFF2-40B4-BE49-F238E27FC236}">
                <a16:creationId xmlns:a16="http://schemas.microsoft.com/office/drawing/2014/main" id="{EE90F4EB-4B04-4F5F-B919-B40C2BED3E3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9515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28" name="Segnaposto immagine 9">
            <a:extLst>
              <a:ext uri="{FF2B5EF4-FFF2-40B4-BE49-F238E27FC236}">
                <a16:creationId xmlns:a16="http://schemas.microsoft.com/office/drawing/2014/main" id="{9BC700BA-5C07-4B28-8B08-4D1474EE51D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1673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60112DC-4906-4145-9669-C7CAF1EEC1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82E47A-41FD-FC4F-8AB8-B7A1567107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1CA04D59-E625-B84A-8CB8-A15607A905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90BFCEF-1EED-2044-B6D0-70B6026A9F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F6EB534E-153D-9E42-834A-A9F3ECF2B1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7" name="SlideNumber">
            <a:extLst>
              <a:ext uri="{FF2B5EF4-FFF2-40B4-BE49-F238E27FC236}">
                <a16:creationId xmlns:a16="http://schemas.microsoft.com/office/drawing/2014/main" id="{7E817426-EF31-4796-B9F3-F58197C964C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1486753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117" userDrawn="1">
          <p15:clr>
            <a:srgbClr val="FBAE40"/>
          </p15:clr>
        </p15:guide>
        <p15:guide id="5" pos="2880" userDrawn="1">
          <p15:clr>
            <a:srgbClr val="FBAE40"/>
          </p15:clr>
        </p15:guide>
        <p15:guide id="6" orient="horz" pos="294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page - 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864DD28-1CE7-47D1-9924-5D5DD51E5B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5943600" y="3128400"/>
            <a:ext cx="2880000" cy="20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200">
                <a:solidFill>
                  <a:schemeClr val="bg1"/>
                </a:solidFill>
              </a:defRPr>
            </a:lvl1pPr>
            <a:lvl2pPr marL="356373" indent="0" algn="r">
              <a:buFontTx/>
              <a:buNone/>
              <a:defRPr sz="900"/>
            </a:lvl2pPr>
            <a:lvl3pPr algn="r">
              <a:buFontTx/>
              <a:buNone/>
              <a:defRPr sz="900"/>
            </a:lvl3pPr>
            <a:lvl4pPr marL="1069119" indent="0" algn="r">
              <a:buFontTx/>
              <a:buNone/>
              <a:defRPr sz="900"/>
            </a:lvl4pPr>
            <a:lvl5pPr marL="1501088" indent="0" algn="r">
              <a:buFontTx/>
              <a:buNone/>
              <a:defRPr sz="900"/>
            </a:lvl5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3398400"/>
            <a:ext cx="5040000" cy="208800"/>
          </a:xfrm>
        </p:spPr>
        <p:txBody>
          <a:bodyPr anchor="b">
            <a:norm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3103200"/>
            <a:ext cx="5040000" cy="208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 dirty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2116800"/>
            <a:ext cx="8287200" cy="6264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540000" y="669600"/>
            <a:ext cx="6663600" cy="13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3600" noProof="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 dirty="0"/>
              <a:t>Insert title</a:t>
            </a: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A933388B-4EFC-454F-BEF4-A4E8F32D676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52842" y="4235699"/>
            <a:ext cx="5042297" cy="708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0561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blur&#10;&#10;Description automatically generated">
            <a:extLst>
              <a:ext uri="{FF2B5EF4-FFF2-40B4-BE49-F238E27FC236}">
                <a16:creationId xmlns:a16="http://schemas.microsoft.com/office/drawing/2014/main" id="{9ABE691E-4DCF-4E07-906C-4A224717D7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76400"/>
            <a:ext cx="9144000" cy="22671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3425184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191848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1987767"/>
            <a:ext cx="8287200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058863"/>
            <a:ext cx="8287200" cy="904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tx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57D105-B8BF-457F-B2FB-468FE7D03F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0787" y="4570439"/>
            <a:ext cx="3173119" cy="41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301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96B0EC1-9B26-6B4C-81B3-FD1316B0ABF4}"/>
              </a:ext>
            </a:extLst>
          </p:cNvPr>
          <p:cNvSpPr/>
          <p:nvPr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pic>
        <p:nvPicPr>
          <p:cNvPr id="9" name="Picture 8" descr="A picture containing blur&#10;&#10;Description automatically generated">
            <a:extLst>
              <a:ext uri="{FF2B5EF4-FFF2-40B4-BE49-F238E27FC236}">
                <a16:creationId xmlns:a16="http://schemas.microsoft.com/office/drawing/2014/main" id="{AB579C74-B72B-8B4A-B9CA-D6BC5C1E833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0" y="0"/>
            <a:ext cx="2188028" cy="51435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57B5B34-9F1A-4101-9D32-4DCCA7982E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613152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44" progId="TCLayout.ActiveDocument.1">
                  <p:embed/>
                </p:oleObj>
              </mc:Choice>
              <mc:Fallback>
                <p:oleObj name="think-cell Slide" r:id="rId4" imgW="338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57B5B34-9F1A-4101-9D32-4DCCA7982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F0FDBC0-7526-B140-AFB6-492AFBF9C815}"/>
              </a:ext>
            </a:extLst>
          </p:cNvPr>
          <p:cNvSpPr txBox="1"/>
          <p:nvPr/>
        </p:nvSpPr>
        <p:spPr>
          <a:xfrm>
            <a:off x="252000" y="579296"/>
            <a:ext cx="167994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3600" b="1" noProof="0">
                <a:solidFill>
                  <a:schemeClr val="bg1"/>
                </a:solidFill>
                <a:latin typeface="UniCredit (Body)"/>
              </a:rPr>
              <a:t>Agenda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1E0392B-1DBB-4A4C-895E-2394EE2A40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1712589"/>
            <a:ext cx="1681163" cy="2622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Comment&gt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470B27-3057-4923-87E3-B6CDCB8D1BB2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pic>
        <p:nvPicPr>
          <p:cNvPr id="10" name="Picture 9" descr="A picture containing blur&#10;&#10;Description automatically generated">
            <a:extLst>
              <a:ext uri="{FF2B5EF4-FFF2-40B4-BE49-F238E27FC236}">
                <a16:creationId xmlns:a16="http://schemas.microsoft.com/office/drawing/2014/main" id="{8720381D-1D27-4C8E-A325-1EA677E8A2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0" y="0"/>
            <a:ext cx="2188028" cy="51435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5071E68-0ACB-4C1E-BC62-40EE9F7808CE}"/>
              </a:ext>
            </a:extLst>
          </p:cNvPr>
          <p:cNvSpPr txBox="1"/>
          <p:nvPr userDrawn="1"/>
        </p:nvSpPr>
        <p:spPr>
          <a:xfrm>
            <a:off x="252000" y="579296"/>
            <a:ext cx="167994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3600" b="1" noProof="0">
                <a:solidFill>
                  <a:schemeClr val="bg1"/>
                </a:solidFill>
                <a:latin typeface="UniCredit (Body)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43438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457239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D2D6B1D-8B97-E744-9CB5-24FAA2A3CE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7240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91BF9E4-1784-6E4C-880E-60F4DE1302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57239" y="2101803"/>
            <a:ext cx="5415747" cy="1668463"/>
          </a:xfrm>
        </p:spPr>
        <p:txBody>
          <a:bodyPr>
            <a:noAutofit/>
          </a:bodyPr>
          <a:lstStyle>
            <a:lvl1pPr marL="287338" indent="-287338">
              <a:spcBef>
                <a:spcPts val="1200"/>
              </a:spcBef>
              <a:buSzPct val="120000"/>
              <a:buFontTx/>
              <a:buBlip>
                <a:blip r:embed="rId2"/>
              </a:buBlip>
              <a:tabLst/>
              <a:defRPr sz="1800"/>
            </a:lvl1pPr>
          </a:lstStyle>
          <a:p>
            <a:pPr lvl="0"/>
            <a:r>
              <a:rPr lang="en-GB" noProof="0"/>
              <a:t>&lt;Page Heading (18pt)&gt;</a:t>
            </a:r>
          </a:p>
        </p:txBody>
      </p:sp>
      <p:pic>
        <p:nvPicPr>
          <p:cNvPr id="30" name="Graphic 10">
            <a:extLst>
              <a:ext uri="{FF2B5EF4-FFF2-40B4-BE49-F238E27FC236}">
                <a16:creationId xmlns:a16="http://schemas.microsoft.com/office/drawing/2014/main" id="{8BB3C2B5-2ABA-6047-AE59-23CAC279583E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  <p:cxnSp>
        <p:nvCxnSpPr>
          <p:cNvPr id="27" name="Connettore 1 9">
            <a:extLst>
              <a:ext uri="{FF2B5EF4-FFF2-40B4-BE49-F238E27FC236}">
                <a16:creationId xmlns:a16="http://schemas.microsoft.com/office/drawing/2014/main" id="{4D3D1D31-2410-4AB2-AA5B-D5DE7C497DFB}"/>
              </a:ext>
            </a:extLst>
          </p:cNvPr>
          <p:cNvCxnSpPr>
            <a:cxnSpLocks/>
          </p:cNvCxnSpPr>
          <p:nvPr userDrawn="1"/>
        </p:nvCxnSpPr>
        <p:spPr>
          <a:xfrm>
            <a:off x="1235924" y="0"/>
            <a:ext cx="0" cy="5143500"/>
          </a:xfrm>
          <a:prstGeom prst="line">
            <a:avLst/>
          </a:prstGeom>
          <a:ln w="19050" cap="rnd" cmpd="sng">
            <a:solidFill>
              <a:srgbClr val="666666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o 5">
            <a:extLst>
              <a:ext uri="{FF2B5EF4-FFF2-40B4-BE49-F238E27FC236}">
                <a16:creationId xmlns:a16="http://schemas.microsoft.com/office/drawing/2014/main" id="{0A401EF1-6116-E746-B093-C3940D612DDE}"/>
              </a:ext>
            </a:extLst>
          </p:cNvPr>
          <p:cNvGrpSpPr/>
          <p:nvPr/>
        </p:nvGrpSpPr>
        <p:grpSpPr>
          <a:xfrm>
            <a:off x="503238" y="762000"/>
            <a:ext cx="1465372" cy="1465908"/>
            <a:chOff x="4373135" y="1004456"/>
            <a:chExt cx="134813" cy="134862"/>
          </a:xfrm>
        </p:grpSpPr>
        <p:sp>
          <p:nvSpPr>
            <p:cNvPr id="16" name="Oval 30">
              <a:extLst>
                <a:ext uri="{FF2B5EF4-FFF2-40B4-BE49-F238E27FC236}">
                  <a16:creationId xmlns:a16="http://schemas.microsoft.com/office/drawing/2014/main" id="{46D08740-7C9D-A04D-ABF2-2B7C773D7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3135" y="1004456"/>
              <a:ext cx="134813" cy="134862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7" name="Oval 33">
              <a:extLst>
                <a:ext uri="{FF2B5EF4-FFF2-40B4-BE49-F238E27FC236}">
                  <a16:creationId xmlns:a16="http://schemas.microsoft.com/office/drawing/2014/main" id="{FAEC83F6-ACD3-CB43-AA9E-5C4BC1BB34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4350" y="1015694"/>
              <a:ext cx="112383" cy="112385"/>
            </a:xfrm>
            <a:prstGeom prst="ellipse">
              <a:avLst/>
            </a:prstGeom>
            <a:solidFill>
              <a:srgbClr val="EA5C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8" name="Oval 34">
              <a:extLst>
                <a:ext uri="{FF2B5EF4-FFF2-40B4-BE49-F238E27FC236}">
                  <a16:creationId xmlns:a16="http://schemas.microsoft.com/office/drawing/2014/main" id="{A1549420-047B-674E-BFE6-9D720720C9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95587" y="1026933"/>
              <a:ext cx="89908" cy="89908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72000" rIns="0" b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3BB445C-4D44-1C44-B7CA-90E3FE6C0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817" y="1302866"/>
            <a:ext cx="372215" cy="39600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pic>
        <p:nvPicPr>
          <p:cNvPr id="25" name="Graphic 10">
            <a:extLst>
              <a:ext uri="{FF2B5EF4-FFF2-40B4-BE49-F238E27FC236}">
                <a16:creationId xmlns:a16="http://schemas.microsoft.com/office/drawing/2014/main" id="{95273F42-49D1-42A6-86EF-20AD64AB875F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4527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Non-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EA4DF463-DE2D-B04F-A377-1586DE654A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67A2572-7D38-BE42-BEAB-1CE2C62B7F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9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4D39F49D-58D6-D146-BCDE-1628304EE2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2192318"/>
            <a:ext cx="5415747" cy="1668463"/>
          </a:xfrm>
        </p:spPr>
        <p:txBody>
          <a:bodyPr>
            <a:noAutofit/>
          </a:bodyPr>
          <a:lstStyle>
            <a:lvl1pPr marL="287338" indent="-287338">
              <a:buSzPct val="130000"/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/>
              <a:t>&lt;Subsection (18pt)&gt;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64DE34C3-D190-0044-B3DB-1C8873D3DE33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  <p:pic>
        <p:nvPicPr>
          <p:cNvPr id="10" name="Picture 9" descr="A picture containing blur&#10;&#10;Description automatically generated">
            <a:extLst>
              <a:ext uri="{FF2B5EF4-FFF2-40B4-BE49-F238E27FC236}">
                <a16:creationId xmlns:a16="http://schemas.microsoft.com/office/drawing/2014/main" id="{9CA7B6F3-676F-47C3-9A1E-AF4C68B20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EFA91D2-6809-4E49-AF02-2960368AC845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pic>
        <p:nvPicPr>
          <p:cNvPr id="12" name="Graphic 10">
            <a:extLst>
              <a:ext uri="{FF2B5EF4-FFF2-40B4-BE49-F238E27FC236}">
                <a16:creationId xmlns:a16="http://schemas.microsoft.com/office/drawing/2014/main" id="{0DC3FDE0-7791-4324-92BC-8868F9E19726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299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lur&#10;&#10;Description automatically generated">
            <a:extLst>
              <a:ext uri="{FF2B5EF4-FFF2-40B4-BE49-F238E27FC236}">
                <a16:creationId xmlns:a16="http://schemas.microsoft.com/office/drawing/2014/main" id="{FF292D07-05B8-4843-816F-A3666699559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B1192D2-38C4-4F8D-9EBB-0968880331F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43719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D31A436-2DF3-455E-B888-774EC408CA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587875"/>
            <a:ext cx="6885665" cy="373063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&lt;Additional commentary if required&gt;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2E500C01-4140-4EB7-916E-BBC1B965B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332088"/>
            <a:ext cx="3010313" cy="1855941"/>
          </a:xfrm>
        </p:spPr>
        <p:txBody>
          <a:bodyPr anchor="t"/>
          <a:lstStyle>
            <a:lvl1pPr>
              <a:lnSpc>
                <a:spcPts val="36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Key Statement&gt;</a:t>
            </a:r>
          </a:p>
        </p:txBody>
      </p:sp>
      <p:pic>
        <p:nvPicPr>
          <p:cNvPr id="16" name="Graphic 10">
            <a:extLst>
              <a:ext uri="{FF2B5EF4-FFF2-40B4-BE49-F238E27FC236}">
                <a16:creationId xmlns:a16="http://schemas.microsoft.com/office/drawing/2014/main" id="{540766B8-2C33-C643-84F7-8AE794AD1723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  <p:pic>
        <p:nvPicPr>
          <p:cNvPr id="9" name="Picture 8" descr="A picture containing blur&#10;&#10;Description automatically generated">
            <a:extLst>
              <a:ext uri="{FF2B5EF4-FFF2-40B4-BE49-F238E27FC236}">
                <a16:creationId xmlns:a16="http://schemas.microsoft.com/office/drawing/2014/main" id="{C1B2336B-AB2B-4492-A0F0-CBBC82547B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pic>
        <p:nvPicPr>
          <p:cNvPr id="10" name="Graphic 10">
            <a:extLst>
              <a:ext uri="{FF2B5EF4-FFF2-40B4-BE49-F238E27FC236}">
                <a16:creationId xmlns:a16="http://schemas.microsoft.com/office/drawing/2014/main" id="{A3D12098-0624-4630-863C-E295BEF96D29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6158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0C4BA7B6-C490-D54A-AC5F-E365A459E02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C495214-F51E-BB48-A796-650CAA8C74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514349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315AA6-CFB7-4531-BE52-E00E5B4A2B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14975" y="700088"/>
            <a:ext cx="2714625" cy="3571203"/>
          </a:xfrm>
        </p:spPr>
        <p:txBody>
          <a:bodyPr/>
          <a:lstStyle>
            <a:lvl1pPr marL="12700" indent="0">
              <a:tabLst/>
              <a:defRPr sz="24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00B2B6C-A101-4628-9C15-E96F1BC9D21C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  <p:pic>
        <p:nvPicPr>
          <p:cNvPr id="8" name="Picture 7" descr="A picture containing blur&#10;&#10;Description automatically generated">
            <a:extLst>
              <a:ext uri="{FF2B5EF4-FFF2-40B4-BE49-F238E27FC236}">
                <a16:creationId xmlns:a16="http://schemas.microsoft.com/office/drawing/2014/main" id="{708B6C8D-502F-4541-B5CC-B4271A419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8D3B9E9-8E17-4E8A-860E-77EDD1FB7344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438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236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343268-8BF8-CB48-BE98-5C59E81F1B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E53DA91-561C-D54B-ACFF-399F7C06C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73251EC-F8D1-1C46-9FD7-E4E5E8F4ED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ECA4906-EE8A-0943-97C2-DB4D43BED3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6985E5A-02BB-B04E-B95F-578242B405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CD080DA-271A-DB42-A60B-77BB996477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2" name="SlideNumber">
            <a:extLst>
              <a:ext uri="{FF2B5EF4-FFF2-40B4-BE49-F238E27FC236}">
                <a16:creationId xmlns:a16="http://schemas.microsoft.com/office/drawing/2014/main" id="{B5FCB00A-1DFA-4F86-911B-F6DFAFA4D90B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1280639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11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865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FF24D8C-B08E-774C-A129-3155A162F17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9" y="1058059"/>
            <a:ext cx="8280000" cy="3277403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E6EC389-DC61-754D-9086-472A7807D7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45D10E8-77B8-F841-A524-5AA58AA3FE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59B0678-90AF-D841-A838-3D11B68A7A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14FF60A-7D44-FA49-9B2A-BAD89D5CB7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B33F6EB-7496-FE40-BCC6-037094D120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7DEC77E-57C3-B440-843D-A97D1A3642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3" name="SlideNumber">
            <a:extLst>
              <a:ext uri="{FF2B5EF4-FFF2-40B4-BE49-F238E27FC236}">
                <a16:creationId xmlns:a16="http://schemas.microsoft.com/office/drawing/2014/main" id="{115F3095-660A-44A2-A78A-7319F6797225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2526527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11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image" Target="../media/image6.sv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4.svg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lur&#10;&#10;Description automatically generated">
            <a:extLst>
              <a:ext uri="{FF2B5EF4-FFF2-40B4-BE49-F238E27FC236}">
                <a16:creationId xmlns:a16="http://schemas.microsoft.com/office/drawing/2014/main" id="{8F1717FD-814C-CB47-8794-F6D1B2BF271B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72000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62505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21" imgH="420" progId="TCLayout.ActiveDocument.1">
                  <p:embed/>
                </p:oleObj>
              </mc:Choice>
              <mc:Fallback>
                <p:oleObj name="think-cell Slide" r:id="rId19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252000" y="1058347"/>
            <a:ext cx="8280813" cy="3169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>
              <a:lnSpc>
                <a:spcPts val="2400"/>
              </a:lnSpc>
            </a:pPr>
            <a:r>
              <a:rPr lang="en-GB" noProof="0"/>
              <a:t>&lt;Page title (24pt)&gt;</a:t>
            </a:r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4768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1" imgH="420" progId="TCLayout.ActiveDocument.1">
                  <p:embed/>
                </p:oleObj>
              </mc:Choice>
              <mc:Fallback>
                <p:oleObj name="think-cell Slide" r:id="rId21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C8E61-51DB-9E43-9552-DB681B0D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2000" y="4860150"/>
            <a:ext cx="18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b="1" i="0" smtClean="0">
                <a:solidFill>
                  <a:schemeClr val="tx2"/>
                </a:solidFill>
                <a:effectLst/>
                <a:latin typeface="UniCredit (Body)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10" name="Picture 9" descr="A picture containing blur&#10;&#10;Description automatically generated">
            <a:extLst>
              <a:ext uri="{FF2B5EF4-FFF2-40B4-BE49-F238E27FC236}">
                <a16:creationId xmlns:a16="http://schemas.microsoft.com/office/drawing/2014/main" id="{FA57B188-99CD-441E-93B9-F472F76413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720001"/>
          </a:xfrm>
          <a:prstGeom prst="rect">
            <a:avLst/>
          </a:prstGeom>
        </p:spPr>
      </p:pic>
      <p:graphicFrame>
        <p:nvGraphicFramePr>
          <p:cNvPr id="12" name="Object 4" hidden="1">
            <a:extLst>
              <a:ext uri="{FF2B5EF4-FFF2-40B4-BE49-F238E27FC236}">
                <a16:creationId xmlns:a16="http://schemas.microsoft.com/office/drawing/2014/main" id="{61EF5A53-C21E-4A2D-91BC-9048F1009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5228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1" imgH="420" progId="TCLayout.ActiveDocument.1">
                  <p:embed/>
                </p:oleObj>
              </mc:Choice>
              <mc:Fallback>
                <p:oleObj name="think-cell Slide" r:id="rId21" imgW="421" imgH="420" progId="TCLayout.ActiveDocument.1">
                  <p:embed/>
                  <p:pic>
                    <p:nvPicPr>
                      <p:cNvPr id="12" name="Object 4" hidden="1">
                        <a:extLst>
                          <a:ext uri="{FF2B5EF4-FFF2-40B4-BE49-F238E27FC236}">
                            <a16:creationId xmlns:a16="http://schemas.microsoft.com/office/drawing/2014/main" id="{61EF5A53-C21E-4A2D-91BC-9048F1009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7B52EBC2-EAA1-4D0C-BC3C-3C6F7AD64D7E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9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</p:sldLayoutIdLst>
  <p:hf hd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lang="en-GB" sz="2400" b="1" kern="1200" noProof="0" dirty="0">
          <a:solidFill>
            <a:schemeClr val="bg1"/>
          </a:solidFill>
          <a:latin typeface="UniCredit (Body)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49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62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E1061C"/>
        </a:buClr>
        <a:buSzTx/>
        <a:buFont typeface="Arial"/>
        <a:buNone/>
        <a:tabLst/>
        <a:defRPr sz="18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1pPr>
      <a:lvl2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1061C"/>
        </a:buClr>
        <a:buSzTx/>
        <a:buFont typeface="Arial"/>
        <a:buNone/>
        <a:tabLst/>
        <a:defRPr sz="1400" b="1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2pPr>
      <a:lvl3pPr marL="0" marR="0" indent="0" algn="l" defTabSz="342875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999999"/>
        </a:buClr>
        <a:buSzTx/>
        <a:buFont typeface="System Font Regular"/>
        <a:buNone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3pPr>
      <a:lvl4pPr marL="18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4pPr>
      <a:lvl5pPr marL="36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5pPr>
      <a:lvl6pPr marL="540000" indent="-180000" algn="l" defTabSz="685749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Font typeface="Arial" panose="020B0604020202020204" pitchFamily="34" charset="0"/>
        <a:buChar char="●"/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6pPr>
      <a:lvl7pPr marL="1037" indent="0" algn="l" defTabSz="685749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SzPct val="80000"/>
        <a:buFont typeface="System Font Regular"/>
        <a:buNone/>
        <a:tabLst/>
        <a:defRPr sz="1100" kern="1200">
          <a:solidFill>
            <a:schemeClr val="tx1"/>
          </a:solidFill>
          <a:latin typeface="UniCredit (Body)"/>
          <a:ea typeface="+mn-ea"/>
          <a:cs typeface="+mn-cs"/>
        </a:defRPr>
      </a:lvl7pPr>
      <a:lvl8pPr marL="288000" indent="-288000" algn="l" defTabSz="685749" rtl="0" eaLnBrk="1" latinLnBrk="0" hangingPunct="1">
        <a:lnSpc>
          <a:spcPct val="90000"/>
        </a:lnSpc>
        <a:spcBef>
          <a:spcPts val="1200"/>
        </a:spcBef>
        <a:buClr>
          <a:srgbClr val="999999"/>
        </a:buClr>
        <a:buSzPct val="100000"/>
        <a:buFontTx/>
        <a:buBlip>
          <a:blip r:embed="rId24"/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8pPr>
      <a:lvl9pPr marL="288000" indent="-288000" algn="l" defTabSz="685749" rtl="0" eaLnBrk="1" latinLnBrk="0" hangingPunct="1">
        <a:lnSpc>
          <a:spcPct val="90000"/>
        </a:lnSpc>
        <a:spcBef>
          <a:spcPts val="1200"/>
        </a:spcBef>
        <a:buFontTx/>
        <a:buBlip>
          <a:blip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9pPr>
    </p:bodyStyle>
    <p:otherStyle>
      <a:defPPr>
        <a:defRPr lang="de-DE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667" userDrawn="1">
          <p15:clr>
            <a:srgbClr val="F26B43"/>
          </p15:clr>
        </p15:guide>
        <p15:guide id="14" orient="horz" pos="2731" userDrawn="1">
          <p15:clr>
            <a:srgbClr val="F26B43"/>
          </p15:clr>
        </p15:guide>
        <p15:guide id="15" orient="horz" pos="3117" userDrawn="1">
          <p15:clr>
            <a:srgbClr val="F26B43"/>
          </p15:clr>
        </p15:guide>
        <p15:guide id="16" orient="horz" pos="2890" userDrawn="1">
          <p15:clr>
            <a:srgbClr val="F26B43"/>
          </p15:clr>
        </p15:guide>
        <p15:guide id="17" pos="158" userDrawn="1">
          <p15:clr>
            <a:srgbClr val="F26B43"/>
          </p15:clr>
        </p15:guide>
        <p15:guide id="18" pos="5602" userDrawn="1">
          <p15:clr>
            <a:srgbClr val="F26B43"/>
          </p15:clr>
        </p15:guide>
        <p15:guide id="19" orient="horz" pos="441" userDrawn="1">
          <p15:clr>
            <a:srgbClr val="F26B43"/>
          </p15:clr>
        </p15:guide>
        <p15:guide id="20" userDrawn="1">
          <p15:clr>
            <a:srgbClr val="F26B43"/>
          </p15:clr>
        </p15:guide>
        <p15:guide id="21" pos="5375" userDrawn="1">
          <p15:clr>
            <a:srgbClr val="F26B43"/>
          </p15:clr>
        </p15:guide>
        <p15:guide id="22" pos="4853" userDrawn="1">
          <p15:clr>
            <a:srgbClr val="F26B43"/>
          </p15:clr>
        </p15:guide>
        <p15:guide id="23" pos="317" userDrawn="1">
          <p15:clr>
            <a:srgbClr val="F26B43"/>
          </p15:clr>
        </p15:guide>
        <p15:guide id="24" orient="horz" pos="3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4.png"/><Relationship Id="rId5" Type="http://schemas.openxmlformats.org/officeDocument/2006/relationships/image" Target="../media/image6.svg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6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jpeg"/><Relationship Id="rId4" Type="http://schemas.openxmlformats.org/officeDocument/2006/relationships/image" Target="../media/image26.jpeg"/><Relationship Id="rId9" Type="http://schemas.openxmlformats.org/officeDocument/2006/relationships/image" Target="../media/image31.png"/><Relationship Id="rId1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5.emf"/><Relationship Id="rId5" Type="http://schemas.openxmlformats.org/officeDocument/2006/relationships/image" Target="../media/image35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5" Type="http://schemas.openxmlformats.org/officeDocument/2006/relationships/image" Target="../media/image35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9CBDB7-B1AD-43CC-A01B-1CF940B7F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9CBDB7-B1AD-43CC-A01B-1CF940B7F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0BF4886B-2085-3641-9D0F-7A0B5E0E99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cs-CZ" dirty="0"/>
              <a:t>Čejkovice, 21.5.2026</a:t>
            </a:r>
            <a:endParaRPr lang="it-IT" dirty="0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BD062FC-8854-1145-80BC-96FD9E1F557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cs-CZ" dirty="0"/>
          </a:p>
          <a:p>
            <a:endParaRPr lang="cs-CZ" dirty="0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D317827F-1182-7345-968B-1FB13F0D3C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Prezentace pro </a:t>
            </a:r>
            <a:r>
              <a:rPr lang="cs-CZ" dirty="0">
                <a:highlight>
                  <a:srgbClr val="00FF00"/>
                </a:highlight>
              </a:rPr>
              <a:t>PVS </a:t>
            </a:r>
            <a:r>
              <a:rPr lang="cs-CZ" dirty="0" err="1">
                <a:highlight>
                  <a:srgbClr val="00FF00"/>
                </a:highlight>
              </a:rPr>
              <a:t>Days</a:t>
            </a:r>
            <a:r>
              <a:rPr lang="cs-CZ" dirty="0">
                <a:highlight>
                  <a:srgbClr val="00FF00"/>
                </a:highlight>
              </a:rPr>
              <a:t> 2026</a:t>
            </a:r>
            <a:endParaRPr lang="it-IT" dirty="0">
              <a:highlight>
                <a:srgbClr val="00FF00"/>
              </a:highlight>
            </a:endParaRP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0734A0EB-2566-344D-AD43-6D8F262E0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UniCredit Leasing CZ, a.s.</a:t>
            </a:r>
            <a:br>
              <a:rPr lang="cs-CZ" dirty="0"/>
            </a:br>
            <a:r>
              <a:rPr lang="cs-CZ" dirty="0"/>
              <a:t>Představení společnosti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360174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CE3680-88D5-7077-04DE-E23EA8A892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490B31DB-B88D-31A1-87B7-5CDDFC142E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35" y="1241"/>
          <a:ext cx="1135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50C2C38-5A6D-8CBA-87ED-3AE6B31FF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5" y="1241"/>
                        <a:ext cx="1135" cy="11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Nadpis 4">
            <a:extLst>
              <a:ext uri="{FF2B5EF4-FFF2-40B4-BE49-F238E27FC236}">
                <a16:creationId xmlns:a16="http://schemas.microsoft.com/office/drawing/2014/main" id="{1C25F0C8-71DC-748E-0EE6-FE2253804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UniCredit Leasing CZ, a.s.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886F0354-0BBF-B097-35DC-184F27BBAED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BAC3E548-B633-C2A3-0595-DBE6E557E7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11" name="Zástupný text 10">
            <a:extLst>
              <a:ext uri="{FF2B5EF4-FFF2-40B4-BE49-F238E27FC236}">
                <a16:creationId xmlns:a16="http://schemas.microsoft.com/office/drawing/2014/main" id="{E6D73A95-F870-668F-F47D-1FCAB7E1739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13" name="Zástupný text 12">
            <a:extLst>
              <a:ext uri="{FF2B5EF4-FFF2-40B4-BE49-F238E27FC236}">
                <a16:creationId xmlns:a16="http://schemas.microsoft.com/office/drawing/2014/main" id="{C1FFF9BA-6FE1-9259-2FD7-54AD23EB85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14" name="Zástupný text 13">
            <a:extLst>
              <a:ext uri="{FF2B5EF4-FFF2-40B4-BE49-F238E27FC236}">
                <a16:creationId xmlns:a16="http://schemas.microsoft.com/office/drawing/2014/main" id="{2F693FFF-184F-7EEC-EE59-B314200066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F3960451-2E06-338C-FC31-AB6CFD879088}"/>
              </a:ext>
            </a:extLst>
          </p:cNvPr>
          <p:cNvSpPr txBox="1"/>
          <p:nvPr/>
        </p:nvSpPr>
        <p:spPr>
          <a:xfrm>
            <a:off x="4114800" y="2116317"/>
            <a:ext cx="914400" cy="91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71450" indent="-171450" algn="l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●"/>
            </a:pPr>
            <a:endParaRPr lang="cs-CZ" sz="1400">
              <a:solidFill>
                <a:schemeClr val="tx1"/>
              </a:solidFill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B35F4173-B08E-0F34-361E-353B529C53FF}"/>
              </a:ext>
            </a:extLst>
          </p:cNvPr>
          <p:cNvSpPr txBox="1"/>
          <p:nvPr/>
        </p:nvSpPr>
        <p:spPr>
          <a:xfrm>
            <a:off x="505236" y="1137704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171450" indent="-171450" algn="l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●"/>
            </a:pPr>
            <a:endParaRPr lang="cs-CZ" sz="1400">
              <a:solidFill>
                <a:schemeClr val="tx1"/>
              </a:solidFill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B0396B00-DC83-02DE-C8CD-68BCCA5D8F9D}"/>
              </a:ext>
            </a:extLst>
          </p:cNvPr>
          <p:cNvSpPr txBox="1"/>
          <p:nvPr/>
        </p:nvSpPr>
        <p:spPr>
          <a:xfrm flipH="1">
            <a:off x="804343" y="1201917"/>
            <a:ext cx="45719" cy="914400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2400" b="1" dirty="0"/>
              <a:t>Představení UniCredit Leasing CZ, a.s. 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endParaRPr lang="cs-CZ" sz="2400" dirty="0"/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r>
              <a:rPr lang="cs-CZ" sz="1400" dirty="0"/>
              <a:t>univerzální leasingová společnost, financujeme veškeré movité předměty 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r>
              <a:rPr lang="cs-CZ" sz="1400" b="1" dirty="0">
                <a:solidFill>
                  <a:schemeClr val="accent1"/>
                </a:solidFill>
              </a:rPr>
              <a:t>osobní a užitková auta, dopravní a manipulační technika, stroje, technologie,  FVE apod</a:t>
            </a:r>
            <a:r>
              <a:rPr lang="cs-CZ" sz="1400" b="1" dirty="0">
                <a:solidFill>
                  <a:srgbClr val="C00000"/>
                </a:solidFill>
              </a:rPr>
              <a:t>.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r>
              <a:rPr lang="cs-CZ" sz="1400" dirty="0"/>
              <a:t>poskytujeme financování v CZK i v EUR formou úvěru, finančního leasingu, operativního leasingu 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r>
              <a:rPr lang="cs-CZ" sz="1400" dirty="0"/>
              <a:t>včetně technického zpětného financování  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r>
              <a:rPr lang="cs-CZ" sz="1400" dirty="0"/>
              <a:t>financujeme nové i použité předměty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r>
              <a:rPr lang="cs-CZ" sz="1400" dirty="0"/>
              <a:t>úročení s FLOAT i FIX sazbou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r>
              <a:rPr lang="cs-CZ" sz="1400" dirty="0"/>
              <a:t>splatnost financování až 10 let, nebo podle odpisové skupiny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r>
              <a:rPr lang="cs-CZ" sz="1400" dirty="0"/>
              <a:t>z</a:t>
            </a:r>
            <a:r>
              <a:rPr lang="cs-CZ" sz="1400" dirty="0">
                <a:solidFill>
                  <a:schemeClr val="tx1"/>
                </a:solidFill>
              </a:rPr>
              <a:t>a poskytnuté financování neplatíte žádný poplatek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r>
              <a:rPr lang="cs-CZ" sz="1400" dirty="0"/>
              <a:t>nemusíte měnit banku, ale pokud budete mít účet v UniCredit Bank, budeme rádi </a:t>
            </a:r>
            <a:r>
              <a:rPr lang="cs-CZ" sz="1400" dirty="0">
                <a:sym typeface="Wingdings" panose="05000000000000000000" pitchFamily="2" charset="2"/>
              </a:rPr>
              <a:t>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1C28C1-0468-3FB1-DD9A-67B6EDC2B6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453" y="4856018"/>
            <a:ext cx="2463489" cy="75846"/>
          </a:xfrm>
        </p:spPr>
        <p:txBody>
          <a:bodyPr/>
          <a:lstStyle/>
          <a:p>
            <a:r>
              <a:rPr lang="cs-CZ" dirty="0">
                <a:solidFill>
                  <a:schemeClr val="tx1"/>
                </a:solidFill>
              </a:rPr>
              <a:t>Penzion Pohoda | 20. LISTOPAD 2025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2395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>
            <a:extLst>
              <a:ext uri="{FF2B5EF4-FFF2-40B4-BE49-F238E27FC236}">
                <a16:creationId xmlns:a16="http://schemas.microsoft.com/office/drawing/2014/main" id="{92233D11-A63D-4CC1-B18A-212B50E6FB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sk-SK">
              <a:latin typeface="+mj-lt"/>
            </a:endParaRP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BB4AFCD0-1979-48E3-9A45-4763577C8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de UniCredit Leasing v ČR a SR působí</a:t>
            </a:r>
            <a:endParaRPr lang="sk-SK" dirty="0">
              <a:latin typeface="+mj-lt"/>
            </a:endParaRPr>
          </a:p>
        </p:txBody>
      </p:sp>
      <p:sp>
        <p:nvSpPr>
          <p:cNvPr id="11" name="Zástupný symbol pro text 10">
            <a:extLst>
              <a:ext uri="{FF2B5EF4-FFF2-40B4-BE49-F238E27FC236}">
                <a16:creationId xmlns:a16="http://schemas.microsoft.com/office/drawing/2014/main" id="{F105798A-5EF7-46EB-9187-6E1B850D54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dirty="0"/>
              <a:t>UniCredit Leasing CZ a jeho dceřiné společnosti</a:t>
            </a:r>
          </a:p>
          <a:p>
            <a:endParaRPr lang="sk-SK" dirty="0">
              <a:latin typeface="+mj-lt"/>
            </a:endParaRPr>
          </a:p>
        </p:txBody>
      </p:sp>
      <p:sp>
        <p:nvSpPr>
          <p:cNvPr id="12" name="Freeform 1054">
            <a:extLst>
              <a:ext uri="{FF2B5EF4-FFF2-40B4-BE49-F238E27FC236}">
                <a16:creationId xmlns:a16="http://schemas.microsoft.com/office/drawing/2014/main" id="{E3832D59-49C8-4337-935B-94810EC43921}"/>
              </a:ext>
            </a:extLst>
          </p:cNvPr>
          <p:cNvSpPr/>
          <p:nvPr/>
        </p:nvSpPr>
        <p:spPr>
          <a:xfrm>
            <a:off x="4535092" y="1923707"/>
            <a:ext cx="3604081" cy="2265193"/>
          </a:xfrm>
          <a:custGeom>
            <a:avLst/>
            <a:gdLst>
              <a:gd name="connsiteX0" fmla="*/ 3212 w 432634"/>
              <a:gd name="connsiteY0" fmla="*/ 142673 h 244932"/>
              <a:gd name="connsiteX1" fmla="*/ 3212 w 432634"/>
              <a:gd name="connsiteY1" fmla="*/ 191248 h 244932"/>
              <a:gd name="connsiteX2" fmla="*/ 10402 w 432634"/>
              <a:gd name="connsiteY2" fmla="*/ 202582 h 244932"/>
              <a:gd name="connsiteX3" fmla="*/ 17593 w 432634"/>
              <a:gd name="connsiteY3" fmla="*/ 214456 h 244932"/>
              <a:gd name="connsiteX4" fmla="*/ 20358 w 432634"/>
              <a:gd name="connsiteY4" fmla="*/ 222552 h 244932"/>
              <a:gd name="connsiteX5" fmla="*/ 47460 w 432634"/>
              <a:gd name="connsiteY5" fmla="*/ 224171 h 244932"/>
              <a:gd name="connsiteX6" fmla="*/ 77880 w 432634"/>
              <a:gd name="connsiteY6" fmla="*/ 243061 h 244932"/>
              <a:gd name="connsiteX7" fmla="*/ 107193 w 432634"/>
              <a:gd name="connsiteY7" fmla="*/ 243601 h 244932"/>
              <a:gd name="connsiteX8" fmla="*/ 158631 w 432634"/>
              <a:gd name="connsiteY8" fmla="*/ 231187 h 244932"/>
              <a:gd name="connsiteX9" fmla="*/ 163609 w 432634"/>
              <a:gd name="connsiteY9" fmla="*/ 218234 h 244932"/>
              <a:gd name="connsiteX10" fmla="*/ 160290 w 432634"/>
              <a:gd name="connsiteY10" fmla="*/ 210678 h 244932"/>
              <a:gd name="connsiteX11" fmla="*/ 166927 w 432634"/>
              <a:gd name="connsiteY11" fmla="*/ 196645 h 244932"/>
              <a:gd name="connsiteX12" fmla="*/ 207303 w 432634"/>
              <a:gd name="connsiteY12" fmla="*/ 186930 h 244932"/>
              <a:gd name="connsiteX13" fmla="*/ 218918 w 432634"/>
              <a:gd name="connsiteY13" fmla="*/ 164801 h 244932"/>
              <a:gd name="connsiteX14" fmla="*/ 249891 w 432634"/>
              <a:gd name="connsiteY14" fmla="*/ 173437 h 244932"/>
              <a:gd name="connsiteX15" fmla="*/ 259847 w 432634"/>
              <a:gd name="connsiteY15" fmla="*/ 159944 h 244932"/>
              <a:gd name="connsiteX16" fmla="*/ 271462 w 432634"/>
              <a:gd name="connsiteY16" fmla="*/ 154546 h 244932"/>
              <a:gd name="connsiteX17" fmla="*/ 282524 w 432634"/>
              <a:gd name="connsiteY17" fmla="*/ 121084 h 244932"/>
              <a:gd name="connsiteX18" fmla="*/ 297457 w 432634"/>
              <a:gd name="connsiteY18" fmla="*/ 112448 h 244932"/>
              <a:gd name="connsiteX19" fmla="*/ 330090 w 432634"/>
              <a:gd name="connsiteY19" fmla="*/ 116766 h 244932"/>
              <a:gd name="connsiteX20" fmla="*/ 360510 w 432634"/>
              <a:gd name="connsiteY20" fmla="*/ 102733 h 244932"/>
              <a:gd name="connsiteX21" fmla="*/ 389823 w 432634"/>
              <a:gd name="connsiteY21" fmla="*/ 124862 h 244932"/>
              <a:gd name="connsiteX22" fmla="*/ 413053 w 432634"/>
              <a:gd name="connsiteY22" fmla="*/ 109210 h 244932"/>
              <a:gd name="connsiteX23" fmla="*/ 413606 w 432634"/>
              <a:gd name="connsiteY23" fmla="*/ 90319 h 244932"/>
              <a:gd name="connsiteX24" fmla="*/ 423009 w 432634"/>
              <a:gd name="connsiteY24" fmla="*/ 74667 h 244932"/>
              <a:gd name="connsiteX25" fmla="*/ 431858 w 432634"/>
              <a:gd name="connsiteY25" fmla="*/ 27712 h 244932"/>
              <a:gd name="connsiteX26" fmla="*/ 390930 w 432634"/>
              <a:gd name="connsiteY26" fmla="*/ 19616 h 244932"/>
              <a:gd name="connsiteX27" fmla="*/ 378762 w 432634"/>
              <a:gd name="connsiteY27" fmla="*/ 3424 h 244932"/>
              <a:gd name="connsiteX28" fmla="*/ 348895 w 432634"/>
              <a:gd name="connsiteY28" fmla="*/ -354 h 244932"/>
              <a:gd name="connsiteX29" fmla="*/ 312391 w 432634"/>
              <a:gd name="connsiteY29" fmla="*/ 9361 h 244932"/>
              <a:gd name="connsiteX30" fmla="*/ 302988 w 432634"/>
              <a:gd name="connsiteY30" fmla="*/ 21775 h 244932"/>
              <a:gd name="connsiteX31" fmla="*/ 285289 w 432634"/>
              <a:gd name="connsiteY31" fmla="*/ 14218 h 244932"/>
              <a:gd name="connsiteX32" fmla="*/ 270356 w 432634"/>
              <a:gd name="connsiteY32" fmla="*/ 21775 h 244932"/>
              <a:gd name="connsiteX33" fmla="*/ 256528 w 432634"/>
              <a:gd name="connsiteY33" fmla="*/ 21235 h 244932"/>
              <a:gd name="connsiteX34" fmla="*/ 245466 w 432634"/>
              <a:gd name="connsiteY34" fmla="*/ 29331 h 244932"/>
              <a:gd name="connsiteX35" fmla="*/ 235511 w 432634"/>
              <a:gd name="connsiteY35" fmla="*/ 47681 h 244932"/>
              <a:gd name="connsiteX36" fmla="*/ 217812 w 432634"/>
              <a:gd name="connsiteY36" fmla="*/ 49300 h 244932"/>
              <a:gd name="connsiteX37" fmla="*/ 216153 w 432634"/>
              <a:gd name="connsiteY37" fmla="*/ 35807 h 244932"/>
              <a:gd name="connsiteX38" fmla="*/ 211728 w 432634"/>
              <a:gd name="connsiteY38" fmla="*/ 28251 h 244932"/>
              <a:gd name="connsiteX39" fmla="*/ 198454 w 432634"/>
              <a:gd name="connsiteY39" fmla="*/ 25013 h 244932"/>
              <a:gd name="connsiteX40" fmla="*/ 181308 w 432634"/>
              <a:gd name="connsiteY40" fmla="*/ 6123 h 244932"/>
              <a:gd name="connsiteX41" fmla="*/ 165821 w 432634"/>
              <a:gd name="connsiteY41" fmla="*/ 18536 h 244932"/>
              <a:gd name="connsiteX42" fmla="*/ 163609 w 432634"/>
              <a:gd name="connsiteY42" fmla="*/ 33109 h 244932"/>
              <a:gd name="connsiteX43" fmla="*/ 148675 w 432634"/>
              <a:gd name="connsiteY43" fmla="*/ 39046 h 244932"/>
              <a:gd name="connsiteX44" fmla="*/ 147016 w 432634"/>
              <a:gd name="connsiteY44" fmla="*/ 29331 h 244932"/>
              <a:gd name="connsiteX45" fmla="*/ 139826 w 432634"/>
              <a:gd name="connsiteY45" fmla="*/ 23933 h 244932"/>
              <a:gd name="connsiteX46" fmla="*/ 133742 w 432634"/>
              <a:gd name="connsiteY46" fmla="*/ 13139 h 244932"/>
              <a:gd name="connsiteX47" fmla="*/ 96132 w 432634"/>
              <a:gd name="connsiteY47" fmla="*/ 57396 h 244932"/>
              <a:gd name="connsiteX48" fmla="*/ 90048 w 432634"/>
              <a:gd name="connsiteY48" fmla="*/ 81684 h 244932"/>
              <a:gd name="connsiteX49" fmla="*/ 94472 w 432634"/>
              <a:gd name="connsiteY49" fmla="*/ 103812 h 244932"/>
              <a:gd name="connsiteX50" fmla="*/ 93366 w 432634"/>
              <a:gd name="connsiteY50" fmla="*/ 113528 h 244932"/>
              <a:gd name="connsiteX51" fmla="*/ 78433 w 432634"/>
              <a:gd name="connsiteY51" fmla="*/ 137275 h 244932"/>
              <a:gd name="connsiteX52" fmla="*/ 65158 w 432634"/>
              <a:gd name="connsiteY52" fmla="*/ 135116 h 244932"/>
              <a:gd name="connsiteX53" fmla="*/ 43588 w 432634"/>
              <a:gd name="connsiteY53" fmla="*/ 142133 h 244932"/>
              <a:gd name="connsiteX54" fmla="*/ 3212 w 432634"/>
              <a:gd name="connsiteY54" fmla="*/ 142673 h 244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32634" h="244932">
                <a:moveTo>
                  <a:pt x="3212" y="142673"/>
                </a:moveTo>
                <a:cubicBezTo>
                  <a:pt x="1000" y="158864"/>
                  <a:pt x="-4531" y="176135"/>
                  <a:pt x="3212" y="191248"/>
                </a:cubicBezTo>
                <a:cubicBezTo>
                  <a:pt x="5425" y="195565"/>
                  <a:pt x="8190" y="198264"/>
                  <a:pt x="10402" y="202582"/>
                </a:cubicBezTo>
                <a:lnTo>
                  <a:pt x="17593" y="214456"/>
                </a:lnTo>
                <a:lnTo>
                  <a:pt x="20358" y="222552"/>
                </a:lnTo>
                <a:lnTo>
                  <a:pt x="47460" y="224171"/>
                </a:lnTo>
                <a:cubicBezTo>
                  <a:pt x="55203" y="229568"/>
                  <a:pt x="69030" y="241982"/>
                  <a:pt x="77880" y="243061"/>
                </a:cubicBezTo>
                <a:cubicBezTo>
                  <a:pt x="86176" y="244680"/>
                  <a:pt x="98897" y="245220"/>
                  <a:pt x="107193" y="243601"/>
                </a:cubicBezTo>
                <a:cubicBezTo>
                  <a:pt x="124892" y="240902"/>
                  <a:pt x="141485" y="237124"/>
                  <a:pt x="158631" y="231187"/>
                </a:cubicBezTo>
                <a:lnTo>
                  <a:pt x="163609" y="218234"/>
                </a:lnTo>
                <a:lnTo>
                  <a:pt x="160290" y="210678"/>
                </a:lnTo>
                <a:lnTo>
                  <a:pt x="166927" y="196645"/>
                </a:lnTo>
                <a:lnTo>
                  <a:pt x="207303" y="186930"/>
                </a:lnTo>
                <a:lnTo>
                  <a:pt x="218918" y="164801"/>
                </a:lnTo>
                <a:lnTo>
                  <a:pt x="249891" y="173437"/>
                </a:lnTo>
                <a:lnTo>
                  <a:pt x="259847" y="159944"/>
                </a:lnTo>
                <a:lnTo>
                  <a:pt x="271462" y="154546"/>
                </a:lnTo>
                <a:lnTo>
                  <a:pt x="282524" y="121084"/>
                </a:lnTo>
                <a:lnTo>
                  <a:pt x="297457" y="112448"/>
                </a:lnTo>
                <a:lnTo>
                  <a:pt x="330090" y="116766"/>
                </a:lnTo>
                <a:lnTo>
                  <a:pt x="360510" y="102733"/>
                </a:lnTo>
                <a:lnTo>
                  <a:pt x="389823" y="124862"/>
                </a:lnTo>
                <a:lnTo>
                  <a:pt x="413053" y="109210"/>
                </a:lnTo>
                <a:lnTo>
                  <a:pt x="413606" y="90319"/>
                </a:lnTo>
                <a:lnTo>
                  <a:pt x="423009" y="74667"/>
                </a:lnTo>
                <a:lnTo>
                  <a:pt x="431858" y="27712"/>
                </a:lnTo>
                <a:lnTo>
                  <a:pt x="390930" y="19616"/>
                </a:lnTo>
                <a:lnTo>
                  <a:pt x="378762" y="3424"/>
                </a:lnTo>
                <a:lnTo>
                  <a:pt x="348895" y="-354"/>
                </a:lnTo>
                <a:lnTo>
                  <a:pt x="312391" y="9361"/>
                </a:lnTo>
                <a:lnTo>
                  <a:pt x="302988" y="21775"/>
                </a:lnTo>
                <a:lnTo>
                  <a:pt x="285289" y="14218"/>
                </a:lnTo>
                <a:lnTo>
                  <a:pt x="270356" y="21775"/>
                </a:lnTo>
                <a:lnTo>
                  <a:pt x="256528" y="21235"/>
                </a:lnTo>
                <a:lnTo>
                  <a:pt x="245466" y="29331"/>
                </a:lnTo>
                <a:lnTo>
                  <a:pt x="235511" y="47681"/>
                </a:lnTo>
                <a:lnTo>
                  <a:pt x="217812" y="49300"/>
                </a:lnTo>
                <a:lnTo>
                  <a:pt x="216153" y="35807"/>
                </a:lnTo>
                <a:lnTo>
                  <a:pt x="211728" y="28251"/>
                </a:lnTo>
                <a:lnTo>
                  <a:pt x="198454" y="25013"/>
                </a:lnTo>
                <a:lnTo>
                  <a:pt x="181308" y="6123"/>
                </a:lnTo>
                <a:lnTo>
                  <a:pt x="165821" y="18536"/>
                </a:lnTo>
                <a:lnTo>
                  <a:pt x="163609" y="33109"/>
                </a:lnTo>
                <a:lnTo>
                  <a:pt x="148675" y="39046"/>
                </a:lnTo>
                <a:lnTo>
                  <a:pt x="147016" y="29331"/>
                </a:lnTo>
                <a:lnTo>
                  <a:pt x="139826" y="23933"/>
                </a:lnTo>
                <a:lnTo>
                  <a:pt x="133742" y="13139"/>
                </a:lnTo>
                <a:lnTo>
                  <a:pt x="96132" y="57396"/>
                </a:lnTo>
                <a:lnTo>
                  <a:pt x="90048" y="81684"/>
                </a:lnTo>
                <a:lnTo>
                  <a:pt x="94472" y="103812"/>
                </a:lnTo>
                <a:lnTo>
                  <a:pt x="93366" y="113528"/>
                </a:lnTo>
                <a:lnTo>
                  <a:pt x="78433" y="137275"/>
                </a:lnTo>
                <a:lnTo>
                  <a:pt x="65158" y="135116"/>
                </a:lnTo>
                <a:lnTo>
                  <a:pt x="43588" y="142133"/>
                </a:lnTo>
                <a:lnTo>
                  <a:pt x="3212" y="142673"/>
                </a:lnTo>
                <a:close/>
              </a:path>
            </a:pathLst>
          </a:custGeom>
          <a:solidFill>
            <a:schemeClr val="accent2"/>
          </a:solidFill>
          <a:ln w="16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defTabSz="685783">
              <a:defRPr/>
            </a:pPr>
            <a:endParaRPr lang="en-GB" sz="1013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3" name="Freeform 1090">
            <a:extLst>
              <a:ext uri="{FF2B5EF4-FFF2-40B4-BE49-F238E27FC236}">
                <a16:creationId xmlns:a16="http://schemas.microsoft.com/office/drawing/2014/main" id="{95DD2BF3-1FAF-478E-8396-D036202F440D}"/>
              </a:ext>
            </a:extLst>
          </p:cNvPr>
          <p:cNvSpPr/>
          <p:nvPr/>
        </p:nvSpPr>
        <p:spPr>
          <a:xfrm>
            <a:off x="1245065" y="847001"/>
            <a:ext cx="4386381" cy="2770272"/>
          </a:xfrm>
          <a:custGeom>
            <a:avLst/>
            <a:gdLst>
              <a:gd name="connsiteX0" fmla="*/ 395281 w 526543"/>
              <a:gd name="connsiteY0" fmla="*/ 256565 h 299546"/>
              <a:gd name="connsiteX1" fmla="*/ 435657 w 526543"/>
              <a:gd name="connsiteY1" fmla="*/ 256026 h 299546"/>
              <a:gd name="connsiteX2" fmla="*/ 457228 w 526543"/>
              <a:gd name="connsiteY2" fmla="*/ 249009 h 299546"/>
              <a:gd name="connsiteX3" fmla="*/ 470502 w 526543"/>
              <a:gd name="connsiteY3" fmla="*/ 251168 h 299546"/>
              <a:gd name="connsiteX4" fmla="*/ 485435 w 526543"/>
              <a:gd name="connsiteY4" fmla="*/ 227420 h 299546"/>
              <a:gd name="connsiteX5" fmla="*/ 486542 w 526543"/>
              <a:gd name="connsiteY5" fmla="*/ 217705 h 299546"/>
              <a:gd name="connsiteX6" fmla="*/ 482117 w 526543"/>
              <a:gd name="connsiteY6" fmla="*/ 195577 h 299546"/>
              <a:gd name="connsiteX7" fmla="*/ 488201 w 526543"/>
              <a:gd name="connsiteY7" fmla="*/ 171289 h 299546"/>
              <a:gd name="connsiteX8" fmla="*/ 525811 w 526543"/>
              <a:gd name="connsiteY8" fmla="*/ 127032 h 299546"/>
              <a:gd name="connsiteX9" fmla="*/ 508665 w 526543"/>
              <a:gd name="connsiteY9" fmla="*/ 116237 h 299546"/>
              <a:gd name="connsiteX10" fmla="*/ 502028 w 526543"/>
              <a:gd name="connsiteY10" fmla="*/ 103284 h 299546"/>
              <a:gd name="connsiteX11" fmla="*/ 500369 w 526543"/>
              <a:gd name="connsiteY11" fmla="*/ 95728 h 299546"/>
              <a:gd name="connsiteX12" fmla="*/ 476586 w 526543"/>
              <a:gd name="connsiteY12" fmla="*/ 97347 h 299546"/>
              <a:gd name="connsiteX13" fmla="*/ 461652 w 526543"/>
              <a:gd name="connsiteY13" fmla="*/ 88172 h 299546"/>
              <a:gd name="connsiteX14" fmla="*/ 451697 w 526543"/>
              <a:gd name="connsiteY14" fmla="*/ 94648 h 299546"/>
              <a:gd name="connsiteX15" fmla="*/ 441741 w 526543"/>
              <a:gd name="connsiteY15" fmla="*/ 92489 h 299546"/>
              <a:gd name="connsiteX16" fmla="*/ 426255 w 526543"/>
              <a:gd name="connsiteY16" fmla="*/ 80076 h 299546"/>
              <a:gd name="connsiteX17" fmla="*/ 432339 w 526543"/>
              <a:gd name="connsiteY17" fmla="*/ 71980 h 299546"/>
              <a:gd name="connsiteX18" fmla="*/ 429020 w 526543"/>
              <a:gd name="connsiteY18" fmla="*/ 61185 h 299546"/>
              <a:gd name="connsiteX19" fmla="*/ 415746 w 526543"/>
              <a:gd name="connsiteY19" fmla="*/ 69281 h 299546"/>
              <a:gd name="connsiteX20" fmla="*/ 399153 w 526543"/>
              <a:gd name="connsiteY20" fmla="*/ 65503 h 299546"/>
              <a:gd name="connsiteX21" fmla="*/ 384773 w 526543"/>
              <a:gd name="connsiteY21" fmla="*/ 56868 h 299546"/>
              <a:gd name="connsiteX22" fmla="*/ 363202 w 526543"/>
              <a:gd name="connsiteY22" fmla="*/ 54169 h 299546"/>
              <a:gd name="connsiteX23" fmla="*/ 359884 w 526543"/>
              <a:gd name="connsiteY23" fmla="*/ 62265 h 299546"/>
              <a:gd name="connsiteX24" fmla="*/ 372605 w 526543"/>
              <a:gd name="connsiteY24" fmla="*/ 68202 h 299546"/>
              <a:gd name="connsiteX25" fmla="*/ 372605 w 526543"/>
              <a:gd name="connsiteY25" fmla="*/ 73059 h 299546"/>
              <a:gd name="connsiteX26" fmla="*/ 363202 w 526543"/>
              <a:gd name="connsiteY26" fmla="*/ 80076 h 299546"/>
              <a:gd name="connsiteX27" fmla="*/ 357671 w 526543"/>
              <a:gd name="connsiteY27" fmla="*/ 90330 h 299546"/>
              <a:gd name="connsiteX28" fmla="*/ 348822 w 526543"/>
              <a:gd name="connsiteY28" fmla="*/ 88172 h 299546"/>
              <a:gd name="connsiteX29" fmla="*/ 325039 w 526543"/>
              <a:gd name="connsiteY29" fmla="*/ 65503 h 299546"/>
              <a:gd name="connsiteX30" fmla="*/ 312871 w 526543"/>
              <a:gd name="connsiteY30" fmla="*/ 63344 h 299546"/>
              <a:gd name="connsiteX31" fmla="*/ 313977 w 526543"/>
              <a:gd name="connsiteY31" fmla="*/ 55248 h 299546"/>
              <a:gd name="connsiteX32" fmla="*/ 326145 w 526543"/>
              <a:gd name="connsiteY32" fmla="*/ 39057 h 299546"/>
              <a:gd name="connsiteX33" fmla="*/ 318955 w 526543"/>
              <a:gd name="connsiteY33" fmla="*/ 29342 h 299546"/>
              <a:gd name="connsiteX34" fmla="*/ 306234 w 526543"/>
              <a:gd name="connsiteY34" fmla="*/ 35279 h 299546"/>
              <a:gd name="connsiteX35" fmla="*/ 244840 w 526543"/>
              <a:gd name="connsiteY35" fmla="*/ 27183 h 299546"/>
              <a:gd name="connsiteX36" fmla="*/ 234885 w 526543"/>
              <a:gd name="connsiteY36" fmla="*/ 17468 h 299546"/>
              <a:gd name="connsiteX37" fmla="*/ 228248 w 526543"/>
              <a:gd name="connsiteY37" fmla="*/ -343 h 299546"/>
              <a:gd name="connsiteX38" fmla="*/ 213314 w 526543"/>
              <a:gd name="connsiteY38" fmla="*/ 3975 h 299546"/>
              <a:gd name="connsiteX39" fmla="*/ 211655 w 526543"/>
              <a:gd name="connsiteY39" fmla="*/ 17468 h 299546"/>
              <a:gd name="connsiteX40" fmla="*/ 200593 w 526543"/>
              <a:gd name="connsiteY40" fmla="*/ 18547 h 299546"/>
              <a:gd name="connsiteX41" fmla="*/ 198381 w 526543"/>
              <a:gd name="connsiteY41" fmla="*/ 25564 h 299546"/>
              <a:gd name="connsiteX42" fmla="*/ 192297 w 526543"/>
              <a:gd name="connsiteY42" fmla="*/ 28262 h 299546"/>
              <a:gd name="connsiteX43" fmla="*/ 182341 w 526543"/>
              <a:gd name="connsiteY43" fmla="*/ 21246 h 299546"/>
              <a:gd name="connsiteX44" fmla="*/ 183447 w 526543"/>
              <a:gd name="connsiteY44" fmla="*/ 9912 h 299546"/>
              <a:gd name="connsiteX45" fmla="*/ 167961 w 526543"/>
              <a:gd name="connsiteY45" fmla="*/ 4514 h 299546"/>
              <a:gd name="connsiteX46" fmla="*/ 160217 w 526543"/>
              <a:gd name="connsiteY46" fmla="*/ 6673 h 299546"/>
              <a:gd name="connsiteX47" fmla="*/ 155239 w 526543"/>
              <a:gd name="connsiteY47" fmla="*/ 12071 h 299546"/>
              <a:gd name="connsiteX48" fmla="*/ 164642 w 526543"/>
              <a:gd name="connsiteY48" fmla="*/ 22325 h 299546"/>
              <a:gd name="connsiteX49" fmla="*/ 131457 w 526543"/>
              <a:gd name="connsiteY49" fmla="*/ 39057 h 299546"/>
              <a:gd name="connsiteX50" fmla="*/ 125373 w 526543"/>
              <a:gd name="connsiteY50" fmla="*/ 50391 h 299546"/>
              <a:gd name="connsiteX51" fmla="*/ 107120 w 526543"/>
              <a:gd name="connsiteY51" fmla="*/ 53090 h 299546"/>
              <a:gd name="connsiteX52" fmla="*/ 102143 w 526543"/>
              <a:gd name="connsiteY52" fmla="*/ 61725 h 299546"/>
              <a:gd name="connsiteX53" fmla="*/ 90528 w 526543"/>
              <a:gd name="connsiteY53" fmla="*/ 61185 h 299546"/>
              <a:gd name="connsiteX54" fmla="*/ 85550 w 526543"/>
              <a:gd name="connsiteY54" fmla="*/ 73059 h 299546"/>
              <a:gd name="connsiteX55" fmla="*/ 69510 w 526543"/>
              <a:gd name="connsiteY55" fmla="*/ 76837 h 299546"/>
              <a:gd name="connsiteX56" fmla="*/ 59555 w 526543"/>
              <a:gd name="connsiteY56" fmla="*/ 89251 h 299546"/>
              <a:gd name="connsiteX57" fmla="*/ 37431 w 526543"/>
              <a:gd name="connsiteY57" fmla="*/ 90330 h 299546"/>
              <a:gd name="connsiteX58" fmla="*/ 20838 w 526543"/>
              <a:gd name="connsiteY58" fmla="*/ 101665 h 299546"/>
              <a:gd name="connsiteX59" fmla="*/ 15307 w 526543"/>
              <a:gd name="connsiteY59" fmla="*/ 111380 h 299546"/>
              <a:gd name="connsiteX60" fmla="*/ -732 w 526543"/>
              <a:gd name="connsiteY60" fmla="*/ 101125 h 299546"/>
              <a:gd name="connsiteX61" fmla="*/ 374 w 526543"/>
              <a:gd name="connsiteY61" fmla="*/ 112999 h 299546"/>
              <a:gd name="connsiteX62" fmla="*/ 5905 w 526543"/>
              <a:gd name="connsiteY62" fmla="*/ 124333 h 299546"/>
              <a:gd name="connsiteX63" fmla="*/ 10329 w 526543"/>
              <a:gd name="connsiteY63" fmla="*/ 129191 h 299546"/>
              <a:gd name="connsiteX64" fmla="*/ 31347 w 526543"/>
              <a:gd name="connsiteY64" fmla="*/ 152938 h 299546"/>
              <a:gd name="connsiteX65" fmla="*/ 23604 w 526543"/>
              <a:gd name="connsiteY65" fmla="*/ 173448 h 299546"/>
              <a:gd name="connsiteX66" fmla="*/ 47387 w 526543"/>
              <a:gd name="connsiteY66" fmla="*/ 213387 h 299546"/>
              <a:gd name="connsiteX67" fmla="*/ 68957 w 526543"/>
              <a:gd name="connsiteY67" fmla="*/ 215546 h 299546"/>
              <a:gd name="connsiteX68" fmla="*/ 91634 w 526543"/>
              <a:gd name="connsiteY68" fmla="*/ 236596 h 299546"/>
              <a:gd name="connsiteX69" fmla="*/ 97718 w 526543"/>
              <a:gd name="connsiteY69" fmla="*/ 241993 h 299546"/>
              <a:gd name="connsiteX70" fmla="*/ 112098 w 526543"/>
              <a:gd name="connsiteY70" fmla="*/ 251168 h 299546"/>
              <a:gd name="connsiteX71" fmla="*/ 137541 w 526543"/>
              <a:gd name="connsiteY71" fmla="*/ 262502 h 299546"/>
              <a:gd name="connsiteX72" fmla="*/ 146943 w 526543"/>
              <a:gd name="connsiteY72" fmla="*/ 272217 h 299546"/>
              <a:gd name="connsiteX73" fmla="*/ 164642 w 526543"/>
              <a:gd name="connsiteY73" fmla="*/ 285171 h 299546"/>
              <a:gd name="connsiteX74" fmla="*/ 166301 w 526543"/>
              <a:gd name="connsiteY74" fmla="*/ 293266 h 299546"/>
              <a:gd name="connsiteX75" fmla="*/ 185106 w 526543"/>
              <a:gd name="connsiteY75" fmla="*/ 299203 h 299546"/>
              <a:gd name="connsiteX76" fmla="*/ 193956 w 526543"/>
              <a:gd name="connsiteY76" fmla="*/ 287869 h 299546"/>
              <a:gd name="connsiteX77" fmla="*/ 212761 w 526543"/>
              <a:gd name="connsiteY77" fmla="*/ 292187 h 299546"/>
              <a:gd name="connsiteX78" fmla="*/ 214973 w 526543"/>
              <a:gd name="connsiteY78" fmla="*/ 288409 h 299546"/>
              <a:gd name="connsiteX79" fmla="*/ 224929 w 526543"/>
              <a:gd name="connsiteY79" fmla="*/ 266280 h 299546"/>
              <a:gd name="connsiteX80" fmla="*/ 235438 w 526543"/>
              <a:gd name="connsiteY80" fmla="*/ 267360 h 299546"/>
              <a:gd name="connsiteX81" fmla="*/ 243181 w 526543"/>
              <a:gd name="connsiteY81" fmla="*/ 240913 h 299546"/>
              <a:gd name="connsiteX82" fmla="*/ 310658 w 526543"/>
              <a:gd name="connsiteY82" fmla="*/ 251708 h 299546"/>
              <a:gd name="connsiteX83" fmla="*/ 321720 w 526543"/>
              <a:gd name="connsiteY83" fmla="*/ 258184 h 299546"/>
              <a:gd name="connsiteX84" fmla="*/ 348269 w 526543"/>
              <a:gd name="connsiteY84" fmla="*/ 260343 h 299546"/>
              <a:gd name="connsiteX85" fmla="*/ 356565 w 526543"/>
              <a:gd name="connsiteY85" fmla="*/ 249009 h 299546"/>
              <a:gd name="connsiteX86" fmla="*/ 372052 w 526543"/>
              <a:gd name="connsiteY86" fmla="*/ 250089 h 299546"/>
              <a:gd name="connsiteX87" fmla="*/ 375923 w 526543"/>
              <a:gd name="connsiteY87" fmla="*/ 253867 h 299546"/>
              <a:gd name="connsiteX88" fmla="*/ 395281 w 526543"/>
              <a:gd name="connsiteY88" fmla="*/ 256565 h 299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526543" h="299546">
                <a:moveTo>
                  <a:pt x="395281" y="256565"/>
                </a:moveTo>
                <a:lnTo>
                  <a:pt x="435657" y="256026"/>
                </a:lnTo>
                <a:lnTo>
                  <a:pt x="457228" y="249009"/>
                </a:lnTo>
                <a:lnTo>
                  <a:pt x="470502" y="251168"/>
                </a:lnTo>
                <a:lnTo>
                  <a:pt x="485435" y="227420"/>
                </a:lnTo>
                <a:lnTo>
                  <a:pt x="486542" y="217705"/>
                </a:lnTo>
                <a:lnTo>
                  <a:pt x="482117" y="195577"/>
                </a:lnTo>
                <a:lnTo>
                  <a:pt x="488201" y="171289"/>
                </a:lnTo>
                <a:lnTo>
                  <a:pt x="525811" y="127032"/>
                </a:lnTo>
                <a:lnTo>
                  <a:pt x="508665" y="116237"/>
                </a:lnTo>
                <a:lnTo>
                  <a:pt x="502028" y="103284"/>
                </a:lnTo>
                <a:lnTo>
                  <a:pt x="500369" y="95728"/>
                </a:lnTo>
                <a:lnTo>
                  <a:pt x="476586" y="97347"/>
                </a:lnTo>
                <a:lnTo>
                  <a:pt x="461652" y="88172"/>
                </a:lnTo>
                <a:lnTo>
                  <a:pt x="451697" y="94648"/>
                </a:lnTo>
                <a:lnTo>
                  <a:pt x="441741" y="92489"/>
                </a:lnTo>
                <a:lnTo>
                  <a:pt x="426255" y="80076"/>
                </a:lnTo>
                <a:lnTo>
                  <a:pt x="432339" y="71980"/>
                </a:lnTo>
                <a:lnTo>
                  <a:pt x="429020" y="61185"/>
                </a:lnTo>
                <a:lnTo>
                  <a:pt x="415746" y="69281"/>
                </a:lnTo>
                <a:lnTo>
                  <a:pt x="399153" y="65503"/>
                </a:lnTo>
                <a:lnTo>
                  <a:pt x="384773" y="56868"/>
                </a:lnTo>
                <a:lnTo>
                  <a:pt x="363202" y="54169"/>
                </a:lnTo>
                <a:lnTo>
                  <a:pt x="359884" y="62265"/>
                </a:lnTo>
                <a:lnTo>
                  <a:pt x="372605" y="68202"/>
                </a:lnTo>
                <a:lnTo>
                  <a:pt x="372605" y="73059"/>
                </a:lnTo>
                <a:lnTo>
                  <a:pt x="363202" y="80076"/>
                </a:lnTo>
                <a:lnTo>
                  <a:pt x="357671" y="90330"/>
                </a:lnTo>
                <a:lnTo>
                  <a:pt x="348822" y="88172"/>
                </a:lnTo>
                <a:lnTo>
                  <a:pt x="325039" y="65503"/>
                </a:lnTo>
                <a:lnTo>
                  <a:pt x="312871" y="63344"/>
                </a:lnTo>
                <a:lnTo>
                  <a:pt x="313977" y="55248"/>
                </a:lnTo>
                <a:lnTo>
                  <a:pt x="326145" y="39057"/>
                </a:lnTo>
                <a:lnTo>
                  <a:pt x="318955" y="29342"/>
                </a:lnTo>
                <a:lnTo>
                  <a:pt x="306234" y="35279"/>
                </a:lnTo>
                <a:lnTo>
                  <a:pt x="244840" y="27183"/>
                </a:lnTo>
                <a:lnTo>
                  <a:pt x="234885" y="17468"/>
                </a:lnTo>
                <a:lnTo>
                  <a:pt x="228248" y="-343"/>
                </a:lnTo>
                <a:lnTo>
                  <a:pt x="213314" y="3975"/>
                </a:lnTo>
                <a:lnTo>
                  <a:pt x="211655" y="17468"/>
                </a:lnTo>
                <a:lnTo>
                  <a:pt x="200593" y="18547"/>
                </a:lnTo>
                <a:lnTo>
                  <a:pt x="198381" y="25564"/>
                </a:lnTo>
                <a:lnTo>
                  <a:pt x="192297" y="28262"/>
                </a:lnTo>
                <a:lnTo>
                  <a:pt x="182341" y="21246"/>
                </a:lnTo>
                <a:lnTo>
                  <a:pt x="183447" y="9912"/>
                </a:lnTo>
                <a:lnTo>
                  <a:pt x="167961" y="4514"/>
                </a:lnTo>
                <a:lnTo>
                  <a:pt x="160217" y="6673"/>
                </a:lnTo>
                <a:lnTo>
                  <a:pt x="155239" y="12071"/>
                </a:lnTo>
                <a:lnTo>
                  <a:pt x="164642" y="22325"/>
                </a:lnTo>
                <a:lnTo>
                  <a:pt x="131457" y="39057"/>
                </a:lnTo>
                <a:lnTo>
                  <a:pt x="125373" y="50391"/>
                </a:lnTo>
                <a:lnTo>
                  <a:pt x="107120" y="53090"/>
                </a:lnTo>
                <a:lnTo>
                  <a:pt x="102143" y="61725"/>
                </a:lnTo>
                <a:lnTo>
                  <a:pt x="90528" y="61185"/>
                </a:lnTo>
                <a:lnTo>
                  <a:pt x="85550" y="73059"/>
                </a:lnTo>
                <a:lnTo>
                  <a:pt x="69510" y="76837"/>
                </a:lnTo>
                <a:lnTo>
                  <a:pt x="59555" y="89251"/>
                </a:lnTo>
                <a:lnTo>
                  <a:pt x="37431" y="90330"/>
                </a:lnTo>
                <a:lnTo>
                  <a:pt x="20838" y="101665"/>
                </a:lnTo>
                <a:lnTo>
                  <a:pt x="15307" y="111380"/>
                </a:lnTo>
                <a:lnTo>
                  <a:pt x="-732" y="101125"/>
                </a:lnTo>
                <a:lnTo>
                  <a:pt x="374" y="112999"/>
                </a:lnTo>
                <a:lnTo>
                  <a:pt x="5905" y="124333"/>
                </a:lnTo>
                <a:lnTo>
                  <a:pt x="10329" y="129191"/>
                </a:lnTo>
                <a:lnTo>
                  <a:pt x="31347" y="152938"/>
                </a:lnTo>
                <a:lnTo>
                  <a:pt x="23604" y="173448"/>
                </a:lnTo>
                <a:lnTo>
                  <a:pt x="47387" y="213387"/>
                </a:lnTo>
                <a:lnTo>
                  <a:pt x="68957" y="215546"/>
                </a:lnTo>
                <a:lnTo>
                  <a:pt x="91634" y="236596"/>
                </a:lnTo>
                <a:lnTo>
                  <a:pt x="97718" y="241993"/>
                </a:lnTo>
                <a:lnTo>
                  <a:pt x="112098" y="251168"/>
                </a:lnTo>
                <a:lnTo>
                  <a:pt x="137541" y="262502"/>
                </a:lnTo>
                <a:lnTo>
                  <a:pt x="146943" y="272217"/>
                </a:lnTo>
                <a:lnTo>
                  <a:pt x="164642" y="285171"/>
                </a:lnTo>
                <a:lnTo>
                  <a:pt x="166301" y="293266"/>
                </a:lnTo>
                <a:lnTo>
                  <a:pt x="185106" y="299203"/>
                </a:lnTo>
                <a:lnTo>
                  <a:pt x="193956" y="287869"/>
                </a:lnTo>
                <a:lnTo>
                  <a:pt x="212761" y="292187"/>
                </a:lnTo>
                <a:lnTo>
                  <a:pt x="214973" y="288409"/>
                </a:lnTo>
                <a:lnTo>
                  <a:pt x="224929" y="266280"/>
                </a:lnTo>
                <a:lnTo>
                  <a:pt x="235438" y="267360"/>
                </a:lnTo>
                <a:lnTo>
                  <a:pt x="243181" y="240913"/>
                </a:lnTo>
                <a:lnTo>
                  <a:pt x="310658" y="251708"/>
                </a:lnTo>
                <a:lnTo>
                  <a:pt x="321720" y="258184"/>
                </a:lnTo>
                <a:lnTo>
                  <a:pt x="348269" y="260343"/>
                </a:lnTo>
                <a:lnTo>
                  <a:pt x="356565" y="249009"/>
                </a:lnTo>
                <a:lnTo>
                  <a:pt x="372052" y="250089"/>
                </a:lnTo>
                <a:lnTo>
                  <a:pt x="375923" y="253867"/>
                </a:lnTo>
                <a:lnTo>
                  <a:pt x="395281" y="256565"/>
                </a:lnTo>
                <a:close/>
              </a:path>
            </a:pathLst>
          </a:custGeom>
          <a:solidFill>
            <a:schemeClr val="accent2"/>
          </a:solidFill>
          <a:ln w="1614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defTabSz="685783">
              <a:defRPr/>
            </a:pPr>
            <a:endParaRPr lang="en-GB" sz="1013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5" name="Goccia 34">
            <a:extLst>
              <a:ext uri="{FF2B5EF4-FFF2-40B4-BE49-F238E27FC236}">
                <a16:creationId xmlns:a16="http://schemas.microsoft.com/office/drawing/2014/main" id="{45A026A5-6918-48C6-B1E3-05361AD25D4A}"/>
              </a:ext>
            </a:extLst>
          </p:cNvPr>
          <p:cNvSpPr/>
          <p:nvPr/>
        </p:nvSpPr>
        <p:spPr>
          <a:xfrm rot="8100000">
            <a:off x="2292887" y="1154167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16" name="Goccia 34">
            <a:extLst>
              <a:ext uri="{FF2B5EF4-FFF2-40B4-BE49-F238E27FC236}">
                <a16:creationId xmlns:a16="http://schemas.microsoft.com/office/drawing/2014/main" id="{C90602D7-318A-4EA6-9137-9436209A491B}"/>
              </a:ext>
            </a:extLst>
          </p:cNvPr>
          <p:cNvSpPr/>
          <p:nvPr/>
        </p:nvSpPr>
        <p:spPr>
          <a:xfrm rot="8100000">
            <a:off x="1572278" y="1698489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17" name="Goccia 34">
            <a:extLst>
              <a:ext uri="{FF2B5EF4-FFF2-40B4-BE49-F238E27FC236}">
                <a16:creationId xmlns:a16="http://schemas.microsoft.com/office/drawing/2014/main" id="{F901509B-DF4E-4DE9-AD05-47AF31CEE425}"/>
              </a:ext>
            </a:extLst>
          </p:cNvPr>
          <p:cNvSpPr/>
          <p:nvPr/>
        </p:nvSpPr>
        <p:spPr>
          <a:xfrm rot="8100000">
            <a:off x="3445592" y="1434629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18" name="Goccia 34">
            <a:extLst>
              <a:ext uri="{FF2B5EF4-FFF2-40B4-BE49-F238E27FC236}">
                <a16:creationId xmlns:a16="http://schemas.microsoft.com/office/drawing/2014/main" id="{10649E87-4636-4E43-85AB-62651FC63AEE}"/>
              </a:ext>
            </a:extLst>
          </p:cNvPr>
          <p:cNvSpPr/>
          <p:nvPr/>
        </p:nvSpPr>
        <p:spPr>
          <a:xfrm rot="8100000">
            <a:off x="2964749" y="941882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19" name="Goccia 34">
            <a:extLst>
              <a:ext uri="{FF2B5EF4-FFF2-40B4-BE49-F238E27FC236}">
                <a16:creationId xmlns:a16="http://schemas.microsoft.com/office/drawing/2014/main" id="{05668B3B-291A-40EA-8746-2A69AD09A60D}"/>
              </a:ext>
            </a:extLst>
          </p:cNvPr>
          <p:cNvSpPr/>
          <p:nvPr/>
        </p:nvSpPr>
        <p:spPr>
          <a:xfrm rot="8100000">
            <a:off x="1901187" y="2219190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20" name="Goccia 34">
            <a:extLst>
              <a:ext uri="{FF2B5EF4-FFF2-40B4-BE49-F238E27FC236}">
                <a16:creationId xmlns:a16="http://schemas.microsoft.com/office/drawing/2014/main" id="{7B3FF3BC-656C-4182-838D-E46D4F870D48}"/>
              </a:ext>
            </a:extLst>
          </p:cNvPr>
          <p:cNvSpPr/>
          <p:nvPr/>
        </p:nvSpPr>
        <p:spPr>
          <a:xfrm rot="8100000">
            <a:off x="2705479" y="2867657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22" name="Goccia 34">
            <a:extLst>
              <a:ext uri="{FF2B5EF4-FFF2-40B4-BE49-F238E27FC236}">
                <a16:creationId xmlns:a16="http://schemas.microsoft.com/office/drawing/2014/main" id="{72AC3408-066E-4C74-A695-3C5511B462D7}"/>
              </a:ext>
            </a:extLst>
          </p:cNvPr>
          <p:cNvSpPr/>
          <p:nvPr/>
        </p:nvSpPr>
        <p:spPr>
          <a:xfrm rot="8100000">
            <a:off x="5140007" y="1719539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24" name="Goccia 34">
            <a:extLst>
              <a:ext uri="{FF2B5EF4-FFF2-40B4-BE49-F238E27FC236}">
                <a16:creationId xmlns:a16="http://schemas.microsoft.com/office/drawing/2014/main" id="{B33DA7D5-2873-4098-8F14-5D978B5F96D4}"/>
              </a:ext>
            </a:extLst>
          </p:cNvPr>
          <p:cNvSpPr/>
          <p:nvPr/>
        </p:nvSpPr>
        <p:spPr>
          <a:xfrm rot="8100000">
            <a:off x="5271936" y="3523984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25" name="Goccia 34">
            <a:extLst>
              <a:ext uri="{FF2B5EF4-FFF2-40B4-BE49-F238E27FC236}">
                <a16:creationId xmlns:a16="http://schemas.microsoft.com/office/drawing/2014/main" id="{4C88DF75-69EC-4072-8D5F-54AF4D4B7620}"/>
              </a:ext>
            </a:extLst>
          </p:cNvPr>
          <p:cNvSpPr/>
          <p:nvPr/>
        </p:nvSpPr>
        <p:spPr>
          <a:xfrm rot="8100000">
            <a:off x="7252344" y="2538317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26" name="Goccia 34">
            <a:extLst>
              <a:ext uri="{FF2B5EF4-FFF2-40B4-BE49-F238E27FC236}">
                <a16:creationId xmlns:a16="http://schemas.microsoft.com/office/drawing/2014/main" id="{F955C5DD-C48E-4112-9D3A-2FA34EE83926}"/>
              </a:ext>
            </a:extLst>
          </p:cNvPr>
          <p:cNvSpPr/>
          <p:nvPr/>
        </p:nvSpPr>
        <p:spPr>
          <a:xfrm rot="8100000">
            <a:off x="5610645" y="2351120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27" name="Goccia 34">
            <a:extLst>
              <a:ext uri="{FF2B5EF4-FFF2-40B4-BE49-F238E27FC236}">
                <a16:creationId xmlns:a16="http://schemas.microsoft.com/office/drawing/2014/main" id="{46D50946-F5BA-4508-98E3-648E1AD97B69}"/>
              </a:ext>
            </a:extLst>
          </p:cNvPr>
          <p:cNvSpPr/>
          <p:nvPr/>
        </p:nvSpPr>
        <p:spPr>
          <a:xfrm rot="8100000">
            <a:off x="5820514" y="2896327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5610621A-BB8A-45FE-BFD2-8DF67EF89624}"/>
              </a:ext>
            </a:extLst>
          </p:cNvPr>
          <p:cNvSpPr txBox="1"/>
          <p:nvPr/>
        </p:nvSpPr>
        <p:spPr>
          <a:xfrm>
            <a:off x="1966485" y="1391387"/>
            <a:ext cx="839379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Ústí nad Labem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BAE8E9AB-470D-4F14-9982-17B3BA3CD91A}"/>
              </a:ext>
            </a:extLst>
          </p:cNvPr>
          <p:cNvSpPr txBox="1"/>
          <p:nvPr/>
        </p:nvSpPr>
        <p:spPr>
          <a:xfrm>
            <a:off x="2638347" y="1157676"/>
            <a:ext cx="839379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Liberec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74867C23-7911-4B38-B194-55ECD3B47315}"/>
              </a:ext>
            </a:extLst>
          </p:cNvPr>
          <p:cNvSpPr txBox="1"/>
          <p:nvPr/>
        </p:nvSpPr>
        <p:spPr>
          <a:xfrm>
            <a:off x="2286615" y="2038585"/>
            <a:ext cx="839379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Praha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4B40AF3C-99ED-4BB3-B330-897694372D11}"/>
              </a:ext>
            </a:extLst>
          </p:cNvPr>
          <p:cNvSpPr txBox="1"/>
          <p:nvPr/>
        </p:nvSpPr>
        <p:spPr>
          <a:xfrm>
            <a:off x="3119190" y="1642662"/>
            <a:ext cx="839379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Hradec Králové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CD845224-EFAA-4080-BC75-9B4ABCA29A5C}"/>
              </a:ext>
            </a:extLst>
          </p:cNvPr>
          <p:cNvSpPr txBox="1"/>
          <p:nvPr/>
        </p:nvSpPr>
        <p:spPr>
          <a:xfrm>
            <a:off x="1243316" y="1930146"/>
            <a:ext cx="839379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Karlovy Vary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0BECDCAD-2BBB-41A4-B15F-1901126BF002}"/>
              </a:ext>
            </a:extLst>
          </p:cNvPr>
          <p:cNvSpPr txBox="1"/>
          <p:nvPr/>
        </p:nvSpPr>
        <p:spPr>
          <a:xfrm>
            <a:off x="1580883" y="2453306"/>
            <a:ext cx="839379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Plzeň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56E67F90-53F6-4724-A7F4-0AD0FAFEA409}"/>
              </a:ext>
            </a:extLst>
          </p:cNvPr>
          <p:cNvSpPr txBox="1"/>
          <p:nvPr/>
        </p:nvSpPr>
        <p:spPr>
          <a:xfrm>
            <a:off x="2336590" y="3100434"/>
            <a:ext cx="924354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České </a:t>
            </a:r>
            <a:r>
              <a:rPr lang="cs-CZ" sz="1000" dirty="0">
                <a:latin typeface="+mj-lt"/>
              </a:rPr>
              <a:t>B</a:t>
            </a:r>
            <a:r>
              <a:rPr lang="cs-CZ" sz="1000" dirty="0">
                <a:solidFill>
                  <a:schemeClr val="tx1"/>
                </a:solidFill>
                <a:latin typeface="+mj-lt"/>
              </a:rPr>
              <a:t>udějovice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3A2F5143-3726-4ABA-93B8-0CC0F21D2A8D}"/>
              </a:ext>
            </a:extLst>
          </p:cNvPr>
          <p:cNvSpPr txBox="1"/>
          <p:nvPr/>
        </p:nvSpPr>
        <p:spPr>
          <a:xfrm>
            <a:off x="3758267" y="2831641"/>
            <a:ext cx="924354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Brno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41D3D109-F368-420C-85AA-F13CA920DB75}"/>
              </a:ext>
            </a:extLst>
          </p:cNvPr>
          <p:cNvSpPr txBox="1"/>
          <p:nvPr/>
        </p:nvSpPr>
        <p:spPr>
          <a:xfrm>
            <a:off x="4771117" y="1930146"/>
            <a:ext cx="924354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Ostrava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4D976649-86A7-4333-A999-ABE75A24FA23}"/>
              </a:ext>
            </a:extLst>
          </p:cNvPr>
          <p:cNvSpPr txBox="1"/>
          <p:nvPr/>
        </p:nvSpPr>
        <p:spPr>
          <a:xfrm>
            <a:off x="4320889" y="3927947"/>
            <a:ext cx="924354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Bratislava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A738991A-28F8-4CD5-95BF-8426FE2F8DA2}"/>
              </a:ext>
            </a:extLst>
          </p:cNvPr>
          <p:cNvSpPr txBox="1"/>
          <p:nvPr/>
        </p:nvSpPr>
        <p:spPr>
          <a:xfrm>
            <a:off x="4903047" y="3733004"/>
            <a:ext cx="924354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Nitra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0B860432-E55C-4C15-8560-F74AE4B88A19}"/>
              </a:ext>
            </a:extLst>
          </p:cNvPr>
          <p:cNvSpPr txBox="1"/>
          <p:nvPr/>
        </p:nvSpPr>
        <p:spPr>
          <a:xfrm>
            <a:off x="5241756" y="2576426"/>
            <a:ext cx="924354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Žilina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3C5CB90D-8AD6-480A-A59C-C4778158F34B}"/>
              </a:ext>
            </a:extLst>
          </p:cNvPr>
          <p:cNvSpPr txBox="1"/>
          <p:nvPr/>
        </p:nvSpPr>
        <p:spPr>
          <a:xfrm>
            <a:off x="5451625" y="3108131"/>
            <a:ext cx="924354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Banská Bystrica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F11E4CDF-AA40-4421-9AFA-0157474C7BCB}"/>
              </a:ext>
            </a:extLst>
          </p:cNvPr>
          <p:cNvSpPr txBox="1"/>
          <p:nvPr/>
        </p:nvSpPr>
        <p:spPr>
          <a:xfrm>
            <a:off x="6883455" y="2763535"/>
            <a:ext cx="924354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Košice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" name="Goccia 34">
            <a:extLst>
              <a:ext uri="{FF2B5EF4-FFF2-40B4-BE49-F238E27FC236}">
                <a16:creationId xmlns:a16="http://schemas.microsoft.com/office/drawing/2014/main" id="{3AD001E4-94E3-4FC4-BE32-C37554159B47}"/>
              </a:ext>
            </a:extLst>
          </p:cNvPr>
          <p:cNvSpPr/>
          <p:nvPr/>
        </p:nvSpPr>
        <p:spPr>
          <a:xfrm rot="10800000">
            <a:off x="2710439" y="1728030"/>
            <a:ext cx="141678" cy="145555"/>
          </a:xfrm>
          <a:prstGeom prst="teardrop">
            <a:avLst/>
          </a:prstGeom>
          <a:solidFill>
            <a:srgbClr val="00B0F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48" name="Goccia 34">
            <a:extLst>
              <a:ext uri="{FF2B5EF4-FFF2-40B4-BE49-F238E27FC236}">
                <a16:creationId xmlns:a16="http://schemas.microsoft.com/office/drawing/2014/main" id="{B5715886-B7DE-4048-B643-9B3C99D21017}"/>
              </a:ext>
            </a:extLst>
          </p:cNvPr>
          <p:cNvSpPr/>
          <p:nvPr/>
        </p:nvSpPr>
        <p:spPr>
          <a:xfrm rot="5400000">
            <a:off x="2561669" y="1728192"/>
            <a:ext cx="141678" cy="145555"/>
          </a:xfrm>
          <a:prstGeom prst="teardrop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49" name="Goccia 34">
            <a:extLst>
              <a:ext uri="{FF2B5EF4-FFF2-40B4-BE49-F238E27FC236}">
                <a16:creationId xmlns:a16="http://schemas.microsoft.com/office/drawing/2014/main" id="{B40BCE41-9C09-49C4-8EEE-B4D74CD70EEE}"/>
              </a:ext>
            </a:extLst>
          </p:cNvPr>
          <p:cNvSpPr/>
          <p:nvPr/>
        </p:nvSpPr>
        <p:spPr>
          <a:xfrm rot="16200000">
            <a:off x="2712818" y="1875668"/>
            <a:ext cx="141678" cy="145555"/>
          </a:xfrm>
          <a:prstGeom prst="teardrop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50" name="Goccia 34">
            <a:extLst>
              <a:ext uri="{FF2B5EF4-FFF2-40B4-BE49-F238E27FC236}">
                <a16:creationId xmlns:a16="http://schemas.microsoft.com/office/drawing/2014/main" id="{7871005E-3CE8-4FC3-A552-428305ED85C6}"/>
              </a:ext>
            </a:extLst>
          </p:cNvPr>
          <p:cNvSpPr/>
          <p:nvPr/>
        </p:nvSpPr>
        <p:spPr>
          <a:xfrm>
            <a:off x="2564048" y="1875830"/>
            <a:ext cx="141678" cy="145555"/>
          </a:xfrm>
          <a:prstGeom prst="teardrop">
            <a:avLst/>
          </a:prstGeom>
          <a:solidFill>
            <a:schemeClr val="accent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51" name="Goccia 34">
            <a:extLst>
              <a:ext uri="{FF2B5EF4-FFF2-40B4-BE49-F238E27FC236}">
                <a16:creationId xmlns:a16="http://schemas.microsoft.com/office/drawing/2014/main" id="{D1C2A284-EB47-420C-B9FE-003341CD42E7}"/>
              </a:ext>
            </a:extLst>
          </p:cNvPr>
          <p:cNvSpPr/>
          <p:nvPr/>
        </p:nvSpPr>
        <p:spPr>
          <a:xfrm rot="10800000">
            <a:off x="4223776" y="2676689"/>
            <a:ext cx="141678" cy="145555"/>
          </a:xfrm>
          <a:prstGeom prst="teardrop">
            <a:avLst/>
          </a:prstGeom>
          <a:solidFill>
            <a:srgbClr val="00B0F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52" name="Goccia 34">
            <a:extLst>
              <a:ext uri="{FF2B5EF4-FFF2-40B4-BE49-F238E27FC236}">
                <a16:creationId xmlns:a16="http://schemas.microsoft.com/office/drawing/2014/main" id="{A55C7A2F-40A2-4240-A20E-707062F7A1F5}"/>
              </a:ext>
            </a:extLst>
          </p:cNvPr>
          <p:cNvSpPr/>
          <p:nvPr/>
        </p:nvSpPr>
        <p:spPr>
          <a:xfrm rot="5400000">
            <a:off x="4075006" y="2676851"/>
            <a:ext cx="141678" cy="145555"/>
          </a:xfrm>
          <a:prstGeom prst="teardrop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53" name="Goccia 34">
            <a:extLst>
              <a:ext uri="{FF2B5EF4-FFF2-40B4-BE49-F238E27FC236}">
                <a16:creationId xmlns:a16="http://schemas.microsoft.com/office/drawing/2014/main" id="{52E5FC55-539B-4FB2-ACD1-A7A711AF392B}"/>
              </a:ext>
            </a:extLst>
          </p:cNvPr>
          <p:cNvSpPr/>
          <p:nvPr/>
        </p:nvSpPr>
        <p:spPr>
          <a:xfrm rot="10800000">
            <a:off x="4785031" y="3612363"/>
            <a:ext cx="141678" cy="145555"/>
          </a:xfrm>
          <a:prstGeom prst="teardrop">
            <a:avLst/>
          </a:prstGeom>
          <a:solidFill>
            <a:srgbClr val="00B0F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54" name="Goccia 34">
            <a:extLst>
              <a:ext uri="{FF2B5EF4-FFF2-40B4-BE49-F238E27FC236}">
                <a16:creationId xmlns:a16="http://schemas.microsoft.com/office/drawing/2014/main" id="{205F25FE-A105-4781-9715-FE9017BC17CD}"/>
              </a:ext>
            </a:extLst>
          </p:cNvPr>
          <p:cNvSpPr/>
          <p:nvPr/>
        </p:nvSpPr>
        <p:spPr>
          <a:xfrm rot="5400000">
            <a:off x="4636261" y="3612525"/>
            <a:ext cx="141678" cy="145555"/>
          </a:xfrm>
          <a:prstGeom prst="teardrop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55" name="Goccia 34">
            <a:extLst>
              <a:ext uri="{FF2B5EF4-FFF2-40B4-BE49-F238E27FC236}">
                <a16:creationId xmlns:a16="http://schemas.microsoft.com/office/drawing/2014/main" id="{43B36CD7-3A96-4F0E-A6B9-DB95667A9EB4}"/>
              </a:ext>
            </a:extLst>
          </p:cNvPr>
          <p:cNvSpPr/>
          <p:nvPr/>
        </p:nvSpPr>
        <p:spPr>
          <a:xfrm rot="16200000">
            <a:off x="4787410" y="3760001"/>
            <a:ext cx="141678" cy="145555"/>
          </a:xfrm>
          <a:prstGeom prst="teardrop">
            <a:avLst/>
          </a:prstGeom>
          <a:solidFill>
            <a:srgbClr val="7757A4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56" name="Goccia 34">
            <a:extLst>
              <a:ext uri="{FF2B5EF4-FFF2-40B4-BE49-F238E27FC236}">
                <a16:creationId xmlns:a16="http://schemas.microsoft.com/office/drawing/2014/main" id="{8CCCB4D1-2723-44F1-897D-286386917304}"/>
              </a:ext>
            </a:extLst>
          </p:cNvPr>
          <p:cNvSpPr/>
          <p:nvPr/>
        </p:nvSpPr>
        <p:spPr>
          <a:xfrm>
            <a:off x="4638640" y="3760163"/>
            <a:ext cx="141678" cy="145555"/>
          </a:xfrm>
          <a:prstGeom prst="teardrop">
            <a:avLst/>
          </a:prstGeom>
          <a:solidFill>
            <a:schemeClr val="accent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E95BB6D-7FF4-4BA0-A48C-0F31659139CA}"/>
              </a:ext>
            </a:extLst>
          </p:cNvPr>
          <p:cNvGraphicFramePr>
            <a:graphicFrameLocks noGrp="1"/>
          </p:cNvGraphicFramePr>
          <p:nvPr/>
        </p:nvGraphicFramePr>
        <p:xfrm>
          <a:off x="7023430" y="3203787"/>
          <a:ext cx="1892568" cy="109083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442505">
                  <a:extLst>
                    <a:ext uri="{9D8B030D-6E8A-4147-A177-3AD203B41FA5}">
                      <a16:colId xmlns:a16="http://schemas.microsoft.com/office/drawing/2014/main" val="1598703271"/>
                    </a:ext>
                  </a:extLst>
                </a:gridCol>
                <a:gridCol w="1450063">
                  <a:extLst>
                    <a:ext uri="{9D8B030D-6E8A-4147-A177-3AD203B41FA5}">
                      <a16:colId xmlns:a16="http://schemas.microsoft.com/office/drawing/2014/main" val="843477166"/>
                    </a:ext>
                  </a:extLst>
                </a:gridCol>
              </a:tblGrid>
              <a:tr h="218166">
                <a:tc>
                  <a:txBody>
                    <a:bodyPr/>
                    <a:lstStyle/>
                    <a:p>
                      <a:endParaRPr lang="sk-SK" sz="7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700" dirty="0"/>
                        <a:t>Centrála</a:t>
                      </a:r>
                      <a:endParaRPr lang="sk-SK" sz="7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9422836"/>
                  </a:ext>
                </a:extLst>
              </a:tr>
              <a:tr h="218166">
                <a:tc>
                  <a:txBody>
                    <a:bodyPr/>
                    <a:lstStyle/>
                    <a:p>
                      <a:endParaRPr lang="sk-SK" sz="7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700" dirty="0"/>
                        <a:t>UniCredit </a:t>
                      </a:r>
                      <a:r>
                        <a:rPr lang="cs-CZ" sz="700" dirty="0" err="1"/>
                        <a:t>Fleet</a:t>
                      </a:r>
                      <a:r>
                        <a:rPr lang="cs-CZ" sz="700" dirty="0"/>
                        <a:t> Management</a:t>
                      </a:r>
                      <a:endParaRPr lang="sk-SK" sz="7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3566632"/>
                  </a:ext>
                </a:extLst>
              </a:tr>
              <a:tr h="218166">
                <a:tc>
                  <a:txBody>
                    <a:bodyPr/>
                    <a:lstStyle/>
                    <a:p>
                      <a:endParaRPr lang="sk-SK" sz="7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700" dirty="0"/>
                        <a:t>UniCredit pojišťovací makléřská</a:t>
                      </a:r>
                      <a:endParaRPr lang="sk-SK" sz="7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2531436"/>
                  </a:ext>
                </a:extLst>
              </a:tr>
              <a:tr h="218166">
                <a:tc>
                  <a:txBody>
                    <a:bodyPr/>
                    <a:lstStyle/>
                    <a:p>
                      <a:endParaRPr lang="sk-SK" sz="7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700" dirty="0"/>
                        <a:t>UniCredit Broker</a:t>
                      </a:r>
                      <a:endParaRPr lang="sk-SK" sz="7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2804520"/>
                  </a:ext>
                </a:extLst>
              </a:tr>
              <a:tr h="218166">
                <a:tc>
                  <a:txBody>
                    <a:bodyPr/>
                    <a:lstStyle/>
                    <a:p>
                      <a:endParaRPr lang="sk-SK" sz="7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700" dirty="0"/>
                        <a:t>Pobočka</a:t>
                      </a:r>
                      <a:endParaRPr lang="sk-SK" sz="7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228756"/>
                  </a:ext>
                </a:extLst>
              </a:tr>
            </a:tbl>
          </a:graphicData>
        </a:graphic>
      </p:graphicFrame>
      <p:sp>
        <p:nvSpPr>
          <p:cNvPr id="60" name="Goccia 34">
            <a:extLst>
              <a:ext uri="{FF2B5EF4-FFF2-40B4-BE49-F238E27FC236}">
                <a16:creationId xmlns:a16="http://schemas.microsoft.com/office/drawing/2014/main" id="{40BE4F3B-B6FA-4597-96BE-EAEC3F91991D}"/>
              </a:ext>
            </a:extLst>
          </p:cNvPr>
          <p:cNvSpPr/>
          <p:nvPr/>
        </p:nvSpPr>
        <p:spPr>
          <a:xfrm rot="8095367">
            <a:off x="7186221" y="3224969"/>
            <a:ext cx="141678" cy="145555"/>
          </a:xfrm>
          <a:prstGeom prst="teardrop">
            <a:avLst/>
          </a:prstGeom>
          <a:solidFill>
            <a:schemeClr val="accent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61" name="Goccia 34">
            <a:extLst>
              <a:ext uri="{FF2B5EF4-FFF2-40B4-BE49-F238E27FC236}">
                <a16:creationId xmlns:a16="http://schemas.microsoft.com/office/drawing/2014/main" id="{52162B18-DE96-477E-ADA5-815E5FF57278}"/>
              </a:ext>
            </a:extLst>
          </p:cNvPr>
          <p:cNvSpPr/>
          <p:nvPr/>
        </p:nvSpPr>
        <p:spPr>
          <a:xfrm rot="8095367">
            <a:off x="7186221" y="3448206"/>
            <a:ext cx="141678" cy="145555"/>
          </a:xfrm>
          <a:prstGeom prst="teardrop">
            <a:avLst/>
          </a:prstGeom>
          <a:solidFill>
            <a:srgbClr val="00B0F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62" name="Goccia 34">
            <a:extLst>
              <a:ext uri="{FF2B5EF4-FFF2-40B4-BE49-F238E27FC236}">
                <a16:creationId xmlns:a16="http://schemas.microsoft.com/office/drawing/2014/main" id="{D65691E0-8816-4F9C-8809-AFD36E362732}"/>
              </a:ext>
            </a:extLst>
          </p:cNvPr>
          <p:cNvSpPr/>
          <p:nvPr/>
        </p:nvSpPr>
        <p:spPr>
          <a:xfrm rot="8095367">
            <a:off x="7185882" y="3664111"/>
            <a:ext cx="141678" cy="145555"/>
          </a:xfrm>
          <a:prstGeom prst="teardrop">
            <a:avLst/>
          </a:prstGeom>
          <a:solidFill>
            <a:srgbClr val="92D05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63" name="Goccia 34">
            <a:extLst>
              <a:ext uri="{FF2B5EF4-FFF2-40B4-BE49-F238E27FC236}">
                <a16:creationId xmlns:a16="http://schemas.microsoft.com/office/drawing/2014/main" id="{BB9C789B-35EA-4016-A8A0-AD3F36BA798A}"/>
              </a:ext>
            </a:extLst>
          </p:cNvPr>
          <p:cNvSpPr/>
          <p:nvPr/>
        </p:nvSpPr>
        <p:spPr>
          <a:xfrm rot="8095367">
            <a:off x="7185882" y="3879725"/>
            <a:ext cx="141678" cy="145555"/>
          </a:xfrm>
          <a:prstGeom prst="teardrop">
            <a:avLst/>
          </a:prstGeom>
          <a:solidFill>
            <a:srgbClr val="7757A4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64" name="Goccia 34">
            <a:extLst>
              <a:ext uri="{FF2B5EF4-FFF2-40B4-BE49-F238E27FC236}">
                <a16:creationId xmlns:a16="http://schemas.microsoft.com/office/drawing/2014/main" id="{522DE7E4-78F2-40BD-A7F6-39B008366ABB}"/>
              </a:ext>
            </a:extLst>
          </p:cNvPr>
          <p:cNvSpPr/>
          <p:nvPr/>
        </p:nvSpPr>
        <p:spPr>
          <a:xfrm rot="8095367">
            <a:off x="7185882" y="4099492"/>
            <a:ext cx="141678" cy="145555"/>
          </a:xfrm>
          <a:prstGeom prst="teardrop">
            <a:avLst/>
          </a:prstGeom>
          <a:solidFill>
            <a:srgbClr val="FF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65" name="Goccia 34">
            <a:extLst>
              <a:ext uri="{FF2B5EF4-FFF2-40B4-BE49-F238E27FC236}">
                <a16:creationId xmlns:a16="http://schemas.microsoft.com/office/drawing/2014/main" id="{A2B10207-5B9E-410C-AF3A-91A486CDB9A8}"/>
              </a:ext>
            </a:extLst>
          </p:cNvPr>
          <p:cNvSpPr/>
          <p:nvPr/>
        </p:nvSpPr>
        <p:spPr>
          <a:xfrm rot="8100000">
            <a:off x="4844042" y="2475497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66" name="Goccia 34">
            <a:extLst>
              <a:ext uri="{FF2B5EF4-FFF2-40B4-BE49-F238E27FC236}">
                <a16:creationId xmlns:a16="http://schemas.microsoft.com/office/drawing/2014/main" id="{8E18DD5D-BD42-4D28-8FF7-549C7CCAB28E}"/>
              </a:ext>
            </a:extLst>
          </p:cNvPr>
          <p:cNvSpPr/>
          <p:nvPr/>
        </p:nvSpPr>
        <p:spPr>
          <a:xfrm rot="8100000">
            <a:off x="4405695" y="1947780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67" name="Goccia 34">
            <a:extLst>
              <a:ext uri="{FF2B5EF4-FFF2-40B4-BE49-F238E27FC236}">
                <a16:creationId xmlns:a16="http://schemas.microsoft.com/office/drawing/2014/main" id="{614A3191-7462-42D5-B10E-130DA66F6B40}"/>
              </a:ext>
            </a:extLst>
          </p:cNvPr>
          <p:cNvSpPr/>
          <p:nvPr/>
        </p:nvSpPr>
        <p:spPr>
          <a:xfrm rot="8100000">
            <a:off x="3362953" y="2249234"/>
            <a:ext cx="186576" cy="186576"/>
          </a:xfrm>
          <a:prstGeom prst="teardrop">
            <a:avLst/>
          </a:prstGeom>
          <a:solidFill>
            <a:srgbClr val="E2001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+mj-lt"/>
            </a:endParaRPr>
          </a:p>
        </p:txBody>
      </p:sp>
      <p:sp>
        <p:nvSpPr>
          <p:cNvPr id="68" name="TextovéPole 67">
            <a:extLst>
              <a:ext uri="{FF2B5EF4-FFF2-40B4-BE49-F238E27FC236}">
                <a16:creationId xmlns:a16="http://schemas.microsoft.com/office/drawing/2014/main" id="{6E0B655C-9DB3-4805-9E0F-59991AE99F98}"/>
              </a:ext>
            </a:extLst>
          </p:cNvPr>
          <p:cNvSpPr txBox="1"/>
          <p:nvPr/>
        </p:nvSpPr>
        <p:spPr>
          <a:xfrm>
            <a:off x="2973664" y="2476002"/>
            <a:ext cx="924354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Jihlava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9" name="TextovéPole 68">
            <a:extLst>
              <a:ext uri="{FF2B5EF4-FFF2-40B4-BE49-F238E27FC236}">
                <a16:creationId xmlns:a16="http://schemas.microsoft.com/office/drawing/2014/main" id="{3F41684D-5BC5-40F7-99AD-377FA240056B}"/>
              </a:ext>
            </a:extLst>
          </p:cNvPr>
          <p:cNvSpPr txBox="1"/>
          <p:nvPr/>
        </p:nvSpPr>
        <p:spPr>
          <a:xfrm>
            <a:off x="4036805" y="2148895"/>
            <a:ext cx="924354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Olomouc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0" name="TextovéPole 69">
            <a:extLst>
              <a:ext uri="{FF2B5EF4-FFF2-40B4-BE49-F238E27FC236}">
                <a16:creationId xmlns:a16="http://schemas.microsoft.com/office/drawing/2014/main" id="{E9837149-B0B9-4A78-BCD8-89D1A3630BD4}"/>
              </a:ext>
            </a:extLst>
          </p:cNvPr>
          <p:cNvSpPr txBox="1"/>
          <p:nvPr/>
        </p:nvSpPr>
        <p:spPr>
          <a:xfrm>
            <a:off x="4475153" y="2692222"/>
            <a:ext cx="924354" cy="1730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cs-CZ" sz="1000" dirty="0">
                <a:solidFill>
                  <a:schemeClr val="tx1"/>
                </a:solidFill>
                <a:latin typeface="+mj-lt"/>
              </a:rPr>
              <a:t>Zlín</a:t>
            </a:r>
            <a:endParaRPr lang="sk-SK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7" name="Zástupný symbol pro obsah 12">
            <a:extLst>
              <a:ext uri="{FF2B5EF4-FFF2-40B4-BE49-F238E27FC236}">
                <a16:creationId xmlns:a16="http://schemas.microsoft.com/office/drawing/2014/main" id="{4F9D22B6-B813-404D-AB4C-F63685267A68}"/>
              </a:ext>
            </a:extLst>
          </p:cNvPr>
          <p:cNvSpPr txBox="1">
            <a:spLocks/>
          </p:cNvSpPr>
          <p:nvPr/>
        </p:nvSpPr>
        <p:spPr>
          <a:xfrm>
            <a:off x="6408271" y="847001"/>
            <a:ext cx="2905729" cy="142112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13" indent="-214313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2">
                    <a:lumMod val="50000"/>
                  </a:schemeClr>
                </a:solidFill>
              </a:rPr>
              <a:t>5 obchodních míst</a:t>
            </a:r>
          </a:p>
          <a:p>
            <a:pPr marL="214313" indent="-214313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2">
                    <a:lumMod val="50000"/>
                  </a:schemeClr>
                </a:solidFill>
              </a:rPr>
              <a:t>Bank&amp;</a:t>
            </a:r>
            <a:r>
              <a:rPr lang="cs-CZ" sz="1400" dirty="0">
                <a:solidFill>
                  <a:schemeClr val="tx2">
                    <a:lumMod val="50000"/>
                  </a:schemeClr>
                </a:solidFill>
                <a:sym typeface="Wingdings" panose="05000000000000000000" pitchFamily="2" charset="2"/>
              </a:rPr>
              <a:t>Direct </a:t>
            </a:r>
          </a:p>
          <a:p>
            <a:pPr marL="214313" indent="-214313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2">
                    <a:lumMod val="50000"/>
                  </a:schemeClr>
                </a:solidFill>
              </a:rPr>
              <a:t>Spolupracující dealeři kooperačního/nekooperačního  financování</a:t>
            </a:r>
          </a:p>
          <a:p>
            <a:endParaRPr lang="cs-CZ" sz="14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58" name="Immagine 11" descr="Flag SLOVAKIA.png">
            <a:extLst>
              <a:ext uri="{FF2B5EF4-FFF2-40B4-BE49-F238E27FC236}">
                <a16:creationId xmlns:a16="http://schemas.microsoft.com/office/drawing/2014/main" id="{15A26714-3E48-464C-A9DC-072DFE2970F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7659" y="867899"/>
            <a:ext cx="504000" cy="364132"/>
          </a:xfrm>
          <a:prstGeom prst="rect">
            <a:avLst/>
          </a:prstGeom>
        </p:spPr>
      </p:pic>
      <p:pic>
        <p:nvPicPr>
          <p:cNvPr id="59" name="Immagine 6" descr="Flag CZECH REPUBLIC.png">
            <a:extLst>
              <a:ext uri="{FF2B5EF4-FFF2-40B4-BE49-F238E27FC236}">
                <a16:creationId xmlns:a16="http://schemas.microsoft.com/office/drawing/2014/main" id="{68003960-2E5F-4F6B-92BF-ECD9E46E1BE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178" y="2689515"/>
            <a:ext cx="504000" cy="364133"/>
          </a:xfrm>
          <a:prstGeom prst="rect">
            <a:avLst/>
          </a:prstGeom>
        </p:spPr>
      </p:pic>
      <p:sp>
        <p:nvSpPr>
          <p:cNvPr id="71" name="Zástupný symbol pro obsah 12">
            <a:extLst>
              <a:ext uri="{FF2B5EF4-FFF2-40B4-BE49-F238E27FC236}">
                <a16:creationId xmlns:a16="http://schemas.microsoft.com/office/drawing/2014/main" id="{272DA6DE-DFC5-4836-94CB-A9DEB1E874F4}"/>
              </a:ext>
            </a:extLst>
          </p:cNvPr>
          <p:cNvSpPr txBox="1">
            <a:spLocks/>
          </p:cNvSpPr>
          <p:nvPr/>
        </p:nvSpPr>
        <p:spPr>
          <a:xfrm>
            <a:off x="246678" y="2949859"/>
            <a:ext cx="3702968" cy="1618227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357188" marR="0" indent="-357188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900" kern="1200" baseline="0">
                <a:solidFill>
                  <a:schemeClr val="tx2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4"/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2">
                    <a:lumMod val="50000"/>
                  </a:schemeClr>
                </a:solidFill>
              </a:rPr>
              <a:t>15 obchodních míst</a:t>
            </a:r>
          </a:p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2">
                    <a:lumMod val="50000"/>
                  </a:schemeClr>
                </a:solidFill>
              </a:rPr>
              <a:t>Bank&amp;</a:t>
            </a:r>
            <a:r>
              <a:rPr lang="cs-CZ" sz="1400" dirty="0">
                <a:solidFill>
                  <a:schemeClr val="tx2">
                    <a:lumMod val="50000"/>
                  </a:schemeClr>
                </a:solidFill>
                <a:sym typeface="Wingdings" panose="05000000000000000000" pitchFamily="2" charset="2"/>
              </a:rPr>
              <a:t>Direct </a:t>
            </a:r>
          </a:p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2">
                    <a:lumMod val="50000"/>
                  </a:schemeClr>
                </a:solidFill>
                <a:sym typeface="Wingdings" panose="05000000000000000000" pitchFamily="2" charset="2"/>
              </a:rPr>
              <a:t>Spolupracující dealeři  kooperačního/ </a:t>
            </a:r>
            <a:br>
              <a:rPr lang="cs-CZ" sz="1400" dirty="0">
                <a:solidFill>
                  <a:schemeClr val="tx2">
                    <a:lumMod val="50000"/>
                  </a:schemeClr>
                </a:solidFill>
                <a:sym typeface="Wingdings" panose="05000000000000000000" pitchFamily="2" charset="2"/>
              </a:rPr>
            </a:br>
            <a:r>
              <a:rPr lang="cs-CZ" sz="1400" dirty="0">
                <a:solidFill>
                  <a:schemeClr val="tx2">
                    <a:lumMod val="50000"/>
                  </a:schemeClr>
                </a:solidFill>
                <a:sym typeface="Wingdings" panose="05000000000000000000" pitchFamily="2" charset="2"/>
              </a:rPr>
              <a:t>nekooperačního financování</a:t>
            </a:r>
          </a:p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 err="1">
                <a:solidFill>
                  <a:schemeClr val="tx2">
                    <a:lumMod val="50000"/>
                  </a:schemeClr>
                </a:solidFill>
                <a:sym typeface="Wingdings" panose="05000000000000000000" pitchFamily="2" charset="2"/>
              </a:rPr>
              <a:t>Mobilize</a:t>
            </a:r>
            <a:r>
              <a:rPr lang="cs-CZ" sz="1400" dirty="0">
                <a:solidFill>
                  <a:schemeClr val="tx2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cs-CZ" sz="1400" dirty="0" err="1">
                <a:solidFill>
                  <a:schemeClr val="tx2">
                    <a:lumMod val="50000"/>
                  </a:schemeClr>
                </a:solidFill>
                <a:sym typeface="Wingdings" panose="05000000000000000000" pitchFamily="2" charset="2"/>
              </a:rPr>
              <a:t>Financial</a:t>
            </a:r>
            <a:r>
              <a:rPr lang="cs-CZ" sz="1400" dirty="0">
                <a:solidFill>
                  <a:schemeClr val="tx2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cs-CZ" sz="1400" dirty="0" err="1">
                <a:solidFill>
                  <a:schemeClr val="tx2">
                    <a:lumMod val="50000"/>
                  </a:schemeClr>
                </a:solidFill>
                <a:sym typeface="Wingdings" panose="05000000000000000000" pitchFamily="2" charset="2"/>
              </a:rPr>
              <a:t>Services</a:t>
            </a:r>
            <a:endParaRPr lang="cs-CZ" sz="1400">
              <a:solidFill>
                <a:schemeClr val="tx2">
                  <a:lumMod val="50000"/>
                </a:schemeClr>
              </a:solidFill>
            </a:endParaRPr>
          </a:p>
          <a:p>
            <a:endParaRPr lang="cs-CZ" sz="14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72" name="Immagine 216" descr="31a biaco-01.png">
            <a:extLst>
              <a:ext uri="{FF2B5EF4-FFF2-40B4-BE49-F238E27FC236}">
                <a16:creationId xmlns:a16="http://schemas.microsoft.com/office/drawing/2014/main" id="{08EBFA25-446F-4475-9CEC-768E9319ABD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022" y="4389759"/>
            <a:ext cx="374902" cy="396000"/>
          </a:xfrm>
          <a:prstGeom prst="ellipse">
            <a:avLst/>
          </a:prstGeom>
          <a:solidFill>
            <a:srgbClr val="666666"/>
          </a:solidFill>
        </p:spPr>
      </p:pic>
      <p:sp>
        <p:nvSpPr>
          <p:cNvPr id="73" name="Obdélník 72">
            <a:extLst>
              <a:ext uri="{FF2B5EF4-FFF2-40B4-BE49-F238E27FC236}">
                <a16:creationId xmlns:a16="http://schemas.microsoft.com/office/drawing/2014/main" id="{BCE0F106-6E41-4948-98FC-80F68183CDEB}"/>
              </a:ext>
            </a:extLst>
          </p:cNvPr>
          <p:cNvSpPr/>
          <p:nvPr/>
        </p:nvSpPr>
        <p:spPr>
          <a:xfrm>
            <a:off x="1545924" y="4318250"/>
            <a:ext cx="67088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001A"/>
              </a:buClr>
            </a:pPr>
            <a:r>
              <a:rPr lang="cs-CZ" sz="1400" b="1" dirty="0"/>
              <a:t>Rychlost schvalování financování</a:t>
            </a:r>
          </a:p>
          <a:p>
            <a:pPr>
              <a:buClr>
                <a:srgbClr val="E2001A"/>
              </a:buClr>
            </a:pPr>
            <a:r>
              <a:rPr lang="cs-CZ" sz="1400" b="1" dirty="0"/>
              <a:t>–&gt; kompetence regionálních poboček i úzká spolupráce s rozsáhlou dealerskou sítí</a:t>
            </a:r>
          </a:p>
        </p:txBody>
      </p:sp>
    </p:spTree>
    <p:extLst>
      <p:ext uri="{BB962C8B-B14F-4D97-AF65-F5344CB8AC3E}">
        <p14:creationId xmlns:p14="http://schemas.microsoft.com/office/powerpoint/2010/main" val="6568855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59A814-126A-4DB2-9DBB-F4496829DC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Financované komodity</a:t>
            </a:r>
            <a:endParaRPr lang="en-GB" dirty="0"/>
          </a:p>
        </p:txBody>
      </p:sp>
      <p:sp>
        <p:nvSpPr>
          <p:cNvPr id="4" name="Rectangle 9">
            <a:extLst>
              <a:ext uri="{FF2B5EF4-FFF2-40B4-BE49-F238E27FC236}">
                <a16:creationId xmlns:a16="http://schemas.microsoft.com/office/drawing/2014/main" id="{1AE0DE32-6026-48C6-8D16-4E47B6BDF190}"/>
              </a:ext>
            </a:extLst>
          </p:cNvPr>
          <p:cNvSpPr txBox="1">
            <a:spLocks/>
          </p:cNvSpPr>
          <p:nvPr/>
        </p:nvSpPr>
        <p:spPr>
          <a:xfrm>
            <a:off x="381234" y="772112"/>
            <a:ext cx="7618160" cy="4264757"/>
          </a:xfrm>
          <a:prstGeom prst="rect">
            <a:avLst/>
          </a:prstGeo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1266" tIns="71266" rIns="71266" bIns="71266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67" lvl="1" indent="0" defTabSz="881465">
              <a:buClr>
                <a:srgbClr val="E2001A"/>
              </a:buClr>
              <a:buNone/>
              <a:defRPr/>
            </a:pPr>
            <a:endParaRPr lang="en-US" sz="1143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5" name="Picture 10" descr="VÃ½sledek obrÃ¡zku pro traktor john deere">
            <a:extLst>
              <a:ext uri="{FF2B5EF4-FFF2-40B4-BE49-F238E27FC236}">
                <a16:creationId xmlns:a16="http://schemas.microsoft.com/office/drawing/2014/main" id="{955E2B98-72AF-443F-9010-E3DE0CF1DF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32975" y="986076"/>
            <a:ext cx="1464988" cy="1081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4" descr="VÃ½sledek obrÃ¡zku pro ZUBAÅSKÃ KÅESLA">
            <a:extLst>
              <a:ext uri="{FF2B5EF4-FFF2-40B4-BE49-F238E27FC236}">
                <a16:creationId xmlns:a16="http://schemas.microsoft.com/office/drawing/2014/main" id="{3365220E-21FF-465D-AD41-054AD4063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314" y="2294558"/>
            <a:ext cx="1759002" cy="928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ovéPole 6">
            <a:extLst>
              <a:ext uri="{FF2B5EF4-FFF2-40B4-BE49-F238E27FC236}">
                <a16:creationId xmlns:a16="http://schemas.microsoft.com/office/drawing/2014/main" id="{496AF606-F998-4876-B261-D87900A85C08}"/>
              </a:ext>
            </a:extLst>
          </p:cNvPr>
          <p:cNvSpPr txBox="1"/>
          <p:nvPr/>
        </p:nvSpPr>
        <p:spPr>
          <a:xfrm>
            <a:off x="410620" y="863912"/>
            <a:ext cx="1748769" cy="256535"/>
          </a:xfrm>
          <a:prstGeom prst="rect">
            <a:avLst/>
          </a:prstGeom>
          <a:noFill/>
        </p:spPr>
        <p:txBody>
          <a:bodyPr wrap="square" lIns="68888" tIns="34444" rIns="68888" bIns="34444" rtlCol="0">
            <a:spAutoFit/>
          </a:bodyPr>
          <a:lstStyle/>
          <a:p>
            <a:pPr algn="ctr" defTabSz="688873">
              <a:defRPr/>
            </a:pPr>
            <a:r>
              <a:rPr lang="cs-CZ" sz="1215" kern="0" dirty="0">
                <a:solidFill>
                  <a:prstClr val="black"/>
                </a:solidFill>
                <a:cs typeface="Arial" charset="0"/>
              </a:rPr>
              <a:t>Osobní aut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9DE7C1E-8FC2-4A70-BC3D-F90A819F934A}"/>
              </a:ext>
            </a:extLst>
          </p:cNvPr>
          <p:cNvSpPr txBox="1"/>
          <p:nvPr/>
        </p:nvSpPr>
        <p:spPr>
          <a:xfrm>
            <a:off x="410621" y="2019434"/>
            <a:ext cx="1821825" cy="256535"/>
          </a:xfrm>
          <a:prstGeom prst="rect">
            <a:avLst/>
          </a:prstGeom>
          <a:noFill/>
        </p:spPr>
        <p:txBody>
          <a:bodyPr wrap="square" lIns="68888" tIns="34444" rIns="68888" bIns="34444" rtlCol="0">
            <a:spAutoFit/>
          </a:bodyPr>
          <a:lstStyle/>
          <a:p>
            <a:pPr algn="ctr" defTabSz="688873">
              <a:defRPr/>
            </a:pPr>
            <a:r>
              <a:rPr lang="cs-CZ" sz="1215" kern="0" dirty="0">
                <a:solidFill>
                  <a:prstClr val="black"/>
                </a:solidFill>
                <a:cs typeface="Arial" charset="0"/>
              </a:rPr>
              <a:t>Užitková auta do 12 t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09ECD74C-326B-4B71-8AFE-42CE5DADDDF8}"/>
              </a:ext>
            </a:extLst>
          </p:cNvPr>
          <p:cNvSpPr txBox="1"/>
          <p:nvPr/>
        </p:nvSpPr>
        <p:spPr>
          <a:xfrm>
            <a:off x="2310785" y="868662"/>
            <a:ext cx="1821825" cy="256535"/>
          </a:xfrm>
          <a:prstGeom prst="rect">
            <a:avLst/>
          </a:prstGeom>
          <a:noFill/>
        </p:spPr>
        <p:txBody>
          <a:bodyPr wrap="square" lIns="68888" tIns="34444" rIns="68888" bIns="34444" rtlCol="0">
            <a:spAutoFit/>
          </a:bodyPr>
          <a:lstStyle/>
          <a:p>
            <a:pPr algn="ctr" defTabSz="688873">
              <a:defRPr/>
            </a:pPr>
            <a:r>
              <a:rPr lang="cs-CZ" sz="1215" kern="0" dirty="0">
                <a:solidFill>
                  <a:prstClr val="black"/>
                </a:solidFill>
                <a:cs typeface="Arial" charset="0"/>
              </a:rPr>
              <a:t>Zemědělská technika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6E98233-B95B-4F91-837F-E4EDAEA13108}"/>
              </a:ext>
            </a:extLst>
          </p:cNvPr>
          <p:cNvSpPr txBox="1"/>
          <p:nvPr/>
        </p:nvSpPr>
        <p:spPr>
          <a:xfrm>
            <a:off x="6050909" y="2044797"/>
            <a:ext cx="1821825" cy="256535"/>
          </a:xfrm>
          <a:prstGeom prst="rect">
            <a:avLst/>
          </a:prstGeom>
          <a:noFill/>
        </p:spPr>
        <p:txBody>
          <a:bodyPr wrap="square" lIns="68888" tIns="34444" rIns="68888" bIns="34444" rtlCol="0">
            <a:spAutoFit/>
          </a:bodyPr>
          <a:lstStyle/>
          <a:p>
            <a:pPr algn="ctr" defTabSz="688873">
              <a:defRPr/>
            </a:pPr>
            <a:r>
              <a:rPr lang="cs-CZ" sz="1215" kern="0" dirty="0">
                <a:solidFill>
                  <a:prstClr val="black"/>
                </a:solidFill>
                <a:cs typeface="Arial" charset="0"/>
              </a:rPr>
              <a:t>Stavební stroje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F42EF28F-3CE5-41F9-B67C-03A7D08E3EAA}"/>
              </a:ext>
            </a:extLst>
          </p:cNvPr>
          <p:cNvSpPr txBox="1"/>
          <p:nvPr/>
        </p:nvSpPr>
        <p:spPr>
          <a:xfrm>
            <a:off x="4246492" y="2054028"/>
            <a:ext cx="1821825" cy="256535"/>
          </a:xfrm>
          <a:prstGeom prst="rect">
            <a:avLst/>
          </a:prstGeom>
          <a:noFill/>
        </p:spPr>
        <p:txBody>
          <a:bodyPr wrap="square" lIns="68888" tIns="34444" rIns="68888" bIns="34444" rtlCol="0">
            <a:spAutoFit/>
          </a:bodyPr>
          <a:lstStyle/>
          <a:p>
            <a:pPr algn="ctr" defTabSz="688873">
              <a:defRPr/>
            </a:pPr>
            <a:r>
              <a:rPr lang="cs-CZ" sz="1215" kern="0" dirty="0">
                <a:solidFill>
                  <a:prstClr val="black"/>
                </a:solidFill>
                <a:cs typeface="Arial" charset="0"/>
              </a:rPr>
              <a:t>Zdravotnická technika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2BFD4A7-F18D-49E5-B96C-E11DCA4B3C2A}"/>
              </a:ext>
            </a:extLst>
          </p:cNvPr>
          <p:cNvSpPr txBox="1"/>
          <p:nvPr/>
        </p:nvSpPr>
        <p:spPr>
          <a:xfrm>
            <a:off x="4170657" y="880846"/>
            <a:ext cx="1821825" cy="256535"/>
          </a:xfrm>
          <a:prstGeom prst="rect">
            <a:avLst/>
          </a:prstGeom>
          <a:noFill/>
        </p:spPr>
        <p:txBody>
          <a:bodyPr wrap="square" lIns="68888" tIns="34444" rIns="68888" bIns="34444" rtlCol="0">
            <a:spAutoFit/>
          </a:bodyPr>
          <a:lstStyle/>
          <a:p>
            <a:pPr algn="ctr" defTabSz="688873">
              <a:defRPr/>
            </a:pPr>
            <a:r>
              <a:rPr lang="cs-CZ" sz="1215" kern="0" dirty="0">
                <a:solidFill>
                  <a:prstClr val="black"/>
                </a:solidFill>
                <a:cs typeface="Arial" charset="0"/>
              </a:rPr>
              <a:t>Komunální technika</a:t>
            </a:r>
          </a:p>
        </p:txBody>
      </p:sp>
      <p:pic>
        <p:nvPicPr>
          <p:cNvPr id="13" name="Picture 4" descr="Image result for dodávka&quot;">
            <a:extLst>
              <a:ext uri="{FF2B5EF4-FFF2-40B4-BE49-F238E27FC236}">
                <a16:creationId xmlns:a16="http://schemas.microsoft.com/office/drawing/2014/main" id="{7742DCDF-7299-4D66-BF72-32AD74CDDD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418" y="2289738"/>
            <a:ext cx="1721209" cy="88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42452859-9D81-4072-9E33-75159D4A914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200" b="15563"/>
          <a:stretch/>
        </p:blipFill>
        <p:spPr>
          <a:xfrm>
            <a:off x="2532978" y="2315873"/>
            <a:ext cx="1413398" cy="1072135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6EED551A-E452-4BEE-8DB5-8186C91E7B9D}"/>
              </a:ext>
            </a:extLst>
          </p:cNvPr>
          <p:cNvSpPr txBox="1"/>
          <p:nvPr/>
        </p:nvSpPr>
        <p:spPr>
          <a:xfrm>
            <a:off x="2310785" y="2019434"/>
            <a:ext cx="1821825" cy="256535"/>
          </a:xfrm>
          <a:prstGeom prst="rect">
            <a:avLst/>
          </a:prstGeom>
          <a:noFill/>
        </p:spPr>
        <p:txBody>
          <a:bodyPr wrap="square" lIns="68888" tIns="34444" rIns="68888" bIns="34444" rtlCol="0">
            <a:spAutoFit/>
          </a:bodyPr>
          <a:lstStyle/>
          <a:p>
            <a:pPr algn="ctr" defTabSz="688873">
              <a:defRPr/>
            </a:pPr>
            <a:r>
              <a:rPr lang="cs-CZ" sz="1215" kern="0" dirty="0">
                <a:solidFill>
                  <a:prstClr val="black"/>
                </a:solidFill>
                <a:cs typeface="Arial" charset="0"/>
              </a:rPr>
              <a:t>Manipulační technika</a:t>
            </a: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2BC01410-17A2-438E-BDF7-FB7C99C9A81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9925" y="3657273"/>
            <a:ext cx="1637113" cy="883459"/>
          </a:xfrm>
          <a:prstGeom prst="rect">
            <a:avLst/>
          </a:prstGeom>
        </p:spPr>
      </p:pic>
      <p:sp>
        <p:nvSpPr>
          <p:cNvPr id="18" name="TextovéPole 17">
            <a:extLst>
              <a:ext uri="{FF2B5EF4-FFF2-40B4-BE49-F238E27FC236}">
                <a16:creationId xmlns:a16="http://schemas.microsoft.com/office/drawing/2014/main" id="{C5D7A8EC-39E1-4C4E-8DAE-9600E434D6F3}"/>
              </a:ext>
            </a:extLst>
          </p:cNvPr>
          <p:cNvSpPr txBox="1"/>
          <p:nvPr/>
        </p:nvSpPr>
        <p:spPr>
          <a:xfrm>
            <a:off x="5175555" y="3427386"/>
            <a:ext cx="1821825" cy="256535"/>
          </a:xfrm>
          <a:prstGeom prst="rect">
            <a:avLst/>
          </a:prstGeom>
          <a:noFill/>
        </p:spPr>
        <p:txBody>
          <a:bodyPr wrap="square" lIns="68888" tIns="34444" rIns="68888" bIns="34444" rtlCol="0">
            <a:spAutoFit/>
          </a:bodyPr>
          <a:lstStyle/>
          <a:p>
            <a:pPr algn="ctr" defTabSz="688873">
              <a:defRPr/>
            </a:pPr>
            <a:r>
              <a:rPr lang="cs-CZ" sz="1215" kern="0" dirty="0">
                <a:solidFill>
                  <a:prstClr val="black"/>
                </a:solidFill>
                <a:cs typeface="Arial" charset="0"/>
              </a:rPr>
              <a:t>Dřevozpracující stroje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D7FC2DB6-47CD-4E4B-BAC7-77BE9B3FF73C}"/>
              </a:ext>
            </a:extLst>
          </p:cNvPr>
          <p:cNvSpPr txBox="1"/>
          <p:nvPr/>
        </p:nvSpPr>
        <p:spPr>
          <a:xfrm>
            <a:off x="5967458" y="854368"/>
            <a:ext cx="1821825" cy="256535"/>
          </a:xfrm>
          <a:prstGeom prst="rect">
            <a:avLst/>
          </a:prstGeom>
          <a:noFill/>
        </p:spPr>
        <p:txBody>
          <a:bodyPr wrap="square" lIns="68888" tIns="34444" rIns="68888" bIns="34444" rtlCol="0">
            <a:spAutoFit/>
          </a:bodyPr>
          <a:lstStyle/>
          <a:p>
            <a:pPr algn="ctr" defTabSz="688873">
              <a:defRPr/>
            </a:pPr>
            <a:r>
              <a:rPr lang="cs-CZ" sz="1215" kern="0" dirty="0">
                <a:solidFill>
                  <a:prstClr val="black"/>
                </a:solidFill>
                <a:cs typeface="Arial" charset="0"/>
              </a:rPr>
              <a:t>Kovoobráběcí stroje</a:t>
            </a:r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1FE54FCF-6113-4B1A-BE8C-04BEC88943A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8937" y="1117827"/>
            <a:ext cx="1247709" cy="926969"/>
          </a:xfrm>
          <a:prstGeom prst="rect">
            <a:avLst/>
          </a:prstGeom>
        </p:spPr>
      </p:pic>
      <p:pic>
        <p:nvPicPr>
          <p:cNvPr id="21" name="Picture 15">
            <a:extLst>
              <a:ext uri="{FF2B5EF4-FFF2-40B4-BE49-F238E27FC236}">
                <a16:creationId xmlns:a16="http://schemas.microsoft.com/office/drawing/2014/main" id="{FD73C1C9-7BA2-480E-83AB-F56F103D87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6552" y="1081209"/>
            <a:ext cx="1406259" cy="10439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D32157DE-DEE7-4CBC-8CA2-36CC2AFA28A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5736" y="2289739"/>
            <a:ext cx="1162604" cy="868404"/>
          </a:xfrm>
          <a:prstGeom prst="rect">
            <a:avLst/>
          </a:prstGeom>
        </p:spPr>
      </p:pic>
      <p:pic>
        <p:nvPicPr>
          <p:cNvPr id="23" name="Picture 57">
            <a:extLst>
              <a:ext uri="{FF2B5EF4-FFF2-40B4-BE49-F238E27FC236}">
                <a16:creationId xmlns:a16="http://schemas.microsoft.com/office/drawing/2014/main" id="{1734835B-B698-43EE-8165-56BA61ACBE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374" y="1089315"/>
            <a:ext cx="1053971" cy="961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Zástupný symbol pro text 9">
            <a:extLst>
              <a:ext uri="{FF2B5EF4-FFF2-40B4-BE49-F238E27FC236}">
                <a16:creationId xmlns:a16="http://schemas.microsoft.com/office/drawing/2014/main" id="{20CA3FA7-E007-4E23-AAFA-0EEF5B36547C}"/>
              </a:ext>
            </a:extLst>
          </p:cNvPr>
          <p:cNvSpPr txBox="1">
            <a:spLocks/>
          </p:cNvSpPr>
          <p:nvPr/>
        </p:nvSpPr>
        <p:spPr>
          <a:xfrm>
            <a:off x="252000" y="87142"/>
            <a:ext cx="8280814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600" b="1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2pPr>
            <a:lvl3pPr marL="685783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600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3pPr>
            <a:lvl4pPr marL="1028675" marR="0" indent="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None/>
              <a:tabLst/>
              <a:defRPr sz="600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4pPr>
            <a:lvl5pPr marL="1371566" marR="0" indent="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None/>
              <a:tabLst/>
              <a:defRPr sz="600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2"/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chemeClr val="bg1"/>
                </a:solidFill>
                <a:latin typeface="+mj-lt"/>
              </a:rPr>
              <a:t>UniCredit Leasing CZ a jeho dceřiné společnosti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37EC8CA1-1D33-4EC1-A2B1-B3E31153EC9F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66" r="4171"/>
          <a:stretch/>
        </p:blipFill>
        <p:spPr>
          <a:xfrm>
            <a:off x="783456" y="3239194"/>
            <a:ext cx="1852082" cy="1676786"/>
          </a:xfrm>
          <a:prstGeom prst="rect">
            <a:avLst/>
          </a:prstGeom>
        </p:spPr>
      </p:pic>
      <p:sp>
        <p:nvSpPr>
          <p:cNvPr id="28" name="TextovéPole 27">
            <a:extLst>
              <a:ext uri="{FF2B5EF4-FFF2-40B4-BE49-F238E27FC236}">
                <a16:creationId xmlns:a16="http://schemas.microsoft.com/office/drawing/2014/main" id="{61A1939A-B94F-4646-9825-78CC068DB95E}"/>
              </a:ext>
            </a:extLst>
          </p:cNvPr>
          <p:cNvSpPr txBox="1"/>
          <p:nvPr/>
        </p:nvSpPr>
        <p:spPr>
          <a:xfrm>
            <a:off x="2808026" y="3700090"/>
            <a:ext cx="1836223" cy="6100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1700"/>
              </a:lnSpc>
              <a:buClr>
                <a:schemeClr val="bg2"/>
              </a:buClr>
              <a:buSzPct val="100000"/>
            </a:pPr>
            <a:r>
              <a:rPr lang="cs-CZ" sz="1220" dirty="0"/>
              <a:t>F</a:t>
            </a:r>
            <a:r>
              <a:rPr lang="cs-CZ" sz="1220" dirty="0">
                <a:solidFill>
                  <a:schemeClr val="tx1"/>
                </a:solidFill>
              </a:rPr>
              <a:t>otovoltaické panely</a:t>
            </a:r>
          </a:p>
          <a:p>
            <a:pPr algn="l">
              <a:lnSpc>
                <a:spcPts val="1700"/>
              </a:lnSpc>
              <a:buClr>
                <a:schemeClr val="bg2"/>
              </a:buClr>
              <a:buSzPct val="100000"/>
            </a:pPr>
            <a:r>
              <a:rPr lang="cs-CZ" sz="1220" dirty="0"/>
              <a:t>Dobíjecí stanice</a:t>
            </a:r>
          </a:p>
          <a:p>
            <a:pPr algn="l">
              <a:lnSpc>
                <a:spcPts val="1700"/>
              </a:lnSpc>
              <a:buClr>
                <a:schemeClr val="bg2"/>
              </a:buClr>
              <a:buSzPct val="100000"/>
            </a:pPr>
            <a:r>
              <a:rPr lang="cs-CZ" sz="1220" dirty="0"/>
              <a:t>Elektromobily</a:t>
            </a:r>
            <a:endParaRPr lang="cs-CZ" sz="122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5205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98DB3A7-9184-494F-89B0-E650DFA399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0042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98DB3A7-9184-494F-89B0-E650DFA399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104">
            <a:extLst>
              <a:ext uri="{FF2B5EF4-FFF2-40B4-BE49-F238E27FC236}">
                <a16:creationId xmlns:a16="http://schemas.microsoft.com/office/drawing/2014/main" id="{5A4DC093-EEC3-460C-9E4C-ED10EC345F5C}"/>
              </a:ext>
            </a:extLst>
          </p:cNvPr>
          <p:cNvGrpSpPr/>
          <p:nvPr/>
        </p:nvGrpSpPr>
        <p:grpSpPr>
          <a:xfrm>
            <a:off x="3899244" y="832929"/>
            <a:ext cx="4783132" cy="3473012"/>
            <a:chOff x="4089421" y="1088999"/>
            <a:chExt cx="4335442" cy="3147946"/>
          </a:xfrm>
          <a:solidFill>
            <a:schemeClr val="bg2"/>
          </a:solidFill>
        </p:grpSpPr>
        <p:grpSp>
          <p:nvGrpSpPr>
            <p:cNvPr id="10" name="Graphic 259">
              <a:extLst>
                <a:ext uri="{FF2B5EF4-FFF2-40B4-BE49-F238E27FC236}">
                  <a16:creationId xmlns:a16="http://schemas.microsoft.com/office/drawing/2014/main" id="{C04C9F89-EE8B-469B-A6F9-51E800D504AC}"/>
                </a:ext>
              </a:extLst>
            </p:cNvPr>
            <p:cNvGrpSpPr/>
            <p:nvPr/>
          </p:nvGrpSpPr>
          <p:grpSpPr>
            <a:xfrm>
              <a:off x="4089421" y="1088999"/>
              <a:ext cx="4335442" cy="3147946"/>
              <a:chOff x="3666633" y="1269492"/>
              <a:chExt cx="6202566" cy="4462432"/>
            </a:xfrm>
            <a:grpFill/>
          </p:grpSpPr>
          <p:sp>
            <p:nvSpPr>
              <p:cNvPr id="12" name="Freeform 1048">
                <a:extLst>
                  <a:ext uri="{FF2B5EF4-FFF2-40B4-BE49-F238E27FC236}">
                    <a16:creationId xmlns:a16="http://schemas.microsoft.com/office/drawing/2014/main" id="{121451BC-2E2C-4542-B46A-76DE808F8CA0}"/>
                  </a:ext>
                </a:extLst>
              </p:cNvPr>
              <p:cNvSpPr/>
              <p:nvPr/>
            </p:nvSpPr>
            <p:spPr>
              <a:xfrm>
                <a:off x="7128075" y="4294641"/>
                <a:ext cx="402650" cy="513276"/>
              </a:xfrm>
              <a:custGeom>
                <a:avLst/>
                <a:gdLst>
                  <a:gd name="connsiteX0" fmla="*/ 57275 w 402650"/>
                  <a:gd name="connsiteY0" fmla="*/ 283471 h 513276"/>
                  <a:gd name="connsiteX1" fmla="*/ 51191 w 402650"/>
                  <a:gd name="connsiteY1" fmla="*/ 260803 h 513276"/>
                  <a:gd name="connsiteX2" fmla="*/ 55616 w 402650"/>
                  <a:gd name="connsiteY2" fmla="*/ 258104 h 513276"/>
                  <a:gd name="connsiteX3" fmla="*/ 67231 w 402650"/>
                  <a:gd name="connsiteY3" fmla="*/ 264041 h 513276"/>
                  <a:gd name="connsiteX4" fmla="*/ 71103 w 402650"/>
                  <a:gd name="connsiteY4" fmla="*/ 265121 h 513276"/>
                  <a:gd name="connsiteX5" fmla="*/ 81058 w 402650"/>
                  <a:gd name="connsiteY5" fmla="*/ 251088 h 513276"/>
                  <a:gd name="connsiteX6" fmla="*/ 78846 w 402650"/>
                  <a:gd name="connsiteY6" fmla="*/ 240833 h 513276"/>
                  <a:gd name="connsiteX7" fmla="*/ 44001 w 402650"/>
                  <a:gd name="connsiteY7" fmla="*/ 217625 h 513276"/>
                  <a:gd name="connsiteX8" fmla="*/ 40682 w 402650"/>
                  <a:gd name="connsiteY8" fmla="*/ 211688 h 513276"/>
                  <a:gd name="connsiteX9" fmla="*/ 51191 w 402650"/>
                  <a:gd name="connsiteY9" fmla="*/ 155017 h 513276"/>
                  <a:gd name="connsiteX10" fmla="*/ 37917 w 402650"/>
                  <a:gd name="connsiteY10" fmla="*/ 139905 h 513276"/>
                  <a:gd name="connsiteX11" fmla="*/ 44001 w 402650"/>
                  <a:gd name="connsiteY11" fmla="*/ 112919 h 513276"/>
                  <a:gd name="connsiteX12" fmla="*/ 24643 w 402650"/>
                  <a:gd name="connsiteY12" fmla="*/ 105902 h 513276"/>
                  <a:gd name="connsiteX13" fmla="*/ 13028 w 402650"/>
                  <a:gd name="connsiteY13" fmla="*/ 85932 h 513276"/>
                  <a:gd name="connsiteX14" fmla="*/ 1413 w 402650"/>
                  <a:gd name="connsiteY14" fmla="*/ 60026 h 513276"/>
                  <a:gd name="connsiteX15" fmla="*/ -799 w 402650"/>
                  <a:gd name="connsiteY15" fmla="*/ 48152 h 513276"/>
                  <a:gd name="connsiteX16" fmla="*/ 14134 w 402650"/>
                  <a:gd name="connsiteY16" fmla="*/ 30881 h 513276"/>
                  <a:gd name="connsiteX17" fmla="*/ 28514 w 402650"/>
                  <a:gd name="connsiteY17" fmla="*/ 29262 h 513276"/>
                  <a:gd name="connsiteX18" fmla="*/ 56722 w 402650"/>
                  <a:gd name="connsiteY18" fmla="*/ 2275 h 513276"/>
                  <a:gd name="connsiteX19" fmla="*/ 73868 w 402650"/>
                  <a:gd name="connsiteY19" fmla="*/ 6053 h 513276"/>
                  <a:gd name="connsiteX20" fmla="*/ 94332 w 402650"/>
                  <a:gd name="connsiteY20" fmla="*/ -423 h 513276"/>
                  <a:gd name="connsiteX21" fmla="*/ 113138 w 402650"/>
                  <a:gd name="connsiteY21" fmla="*/ 2275 h 513276"/>
                  <a:gd name="connsiteX22" fmla="*/ 119775 w 402650"/>
                  <a:gd name="connsiteY22" fmla="*/ 17388 h 513276"/>
                  <a:gd name="connsiteX23" fmla="*/ 130283 w 402650"/>
                  <a:gd name="connsiteY23" fmla="*/ 24944 h 513276"/>
                  <a:gd name="connsiteX24" fmla="*/ 151854 w 402650"/>
                  <a:gd name="connsiteY24" fmla="*/ 33579 h 513276"/>
                  <a:gd name="connsiteX25" fmla="*/ 155726 w 402650"/>
                  <a:gd name="connsiteY25" fmla="*/ 38437 h 513276"/>
                  <a:gd name="connsiteX26" fmla="*/ 161810 w 402650"/>
                  <a:gd name="connsiteY26" fmla="*/ 39516 h 513276"/>
                  <a:gd name="connsiteX27" fmla="*/ 162363 w 402650"/>
                  <a:gd name="connsiteY27" fmla="*/ 55708 h 513276"/>
                  <a:gd name="connsiteX28" fmla="*/ 166234 w 402650"/>
                  <a:gd name="connsiteY28" fmla="*/ 67042 h 513276"/>
                  <a:gd name="connsiteX29" fmla="*/ 179509 w 402650"/>
                  <a:gd name="connsiteY29" fmla="*/ 76757 h 513276"/>
                  <a:gd name="connsiteX30" fmla="*/ 199973 w 402650"/>
                  <a:gd name="connsiteY30" fmla="*/ 84313 h 513276"/>
                  <a:gd name="connsiteX31" fmla="*/ 228181 w 402650"/>
                  <a:gd name="connsiteY31" fmla="*/ 102124 h 513276"/>
                  <a:gd name="connsiteX32" fmla="*/ 234265 w 402650"/>
                  <a:gd name="connsiteY32" fmla="*/ 141524 h 513276"/>
                  <a:gd name="connsiteX33" fmla="*/ 252517 w 402650"/>
                  <a:gd name="connsiteY33" fmla="*/ 149080 h 513276"/>
                  <a:gd name="connsiteX34" fmla="*/ 282937 w 402650"/>
                  <a:gd name="connsiteY34" fmla="*/ 154477 h 513276"/>
                  <a:gd name="connsiteX35" fmla="*/ 292339 w 402650"/>
                  <a:gd name="connsiteY35" fmla="*/ 162573 h 513276"/>
                  <a:gd name="connsiteX36" fmla="*/ 322206 w 402650"/>
                  <a:gd name="connsiteY36" fmla="*/ 135047 h 513276"/>
                  <a:gd name="connsiteX37" fmla="*/ 334374 w 402650"/>
                  <a:gd name="connsiteY37" fmla="*/ 138825 h 513276"/>
                  <a:gd name="connsiteX38" fmla="*/ 337140 w 402650"/>
                  <a:gd name="connsiteY38" fmla="*/ 148540 h 513276"/>
                  <a:gd name="connsiteX39" fmla="*/ 328843 w 402650"/>
                  <a:gd name="connsiteY39" fmla="*/ 152858 h 513276"/>
                  <a:gd name="connsiteX40" fmla="*/ 326631 w 402650"/>
                  <a:gd name="connsiteY40" fmla="*/ 163653 h 513276"/>
                  <a:gd name="connsiteX41" fmla="*/ 341565 w 402650"/>
                  <a:gd name="connsiteY41" fmla="*/ 180384 h 513276"/>
                  <a:gd name="connsiteX42" fmla="*/ 345436 w 402650"/>
                  <a:gd name="connsiteY42" fmla="*/ 190639 h 513276"/>
                  <a:gd name="connsiteX43" fmla="*/ 345436 w 402650"/>
                  <a:gd name="connsiteY43" fmla="*/ 206831 h 513276"/>
                  <a:gd name="connsiteX44" fmla="*/ 333268 w 402650"/>
                  <a:gd name="connsiteY44" fmla="*/ 218165 h 513276"/>
                  <a:gd name="connsiteX45" fmla="*/ 332162 w 402650"/>
                  <a:gd name="connsiteY45" fmla="*/ 244611 h 513276"/>
                  <a:gd name="connsiteX46" fmla="*/ 345989 w 402650"/>
                  <a:gd name="connsiteY46" fmla="*/ 254326 h 513276"/>
                  <a:gd name="connsiteX47" fmla="*/ 355945 w 402650"/>
                  <a:gd name="connsiteY47" fmla="*/ 279153 h 513276"/>
                  <a:gd name="connsiteX48" fmla="*/ 377516 w 402650"/>
                  <a:gd name="connsiteY48" fmla="*/ 283471 h 513276"/>
                  <a:gd name="connsiteX49" fmla="*/ 383600 w 402650"/>
                  <a:gd name="connsiteY49" fmla="*/ 294266 h 513276"/>
                  <a:gd name="connsiteX50" fmla="*/ 401852 w 402650"/>
                  <a:gd name="connsiteY50" fmla="*/ 302362 h 513276"/>
                  <a:gd name="connsiteX51" fmla="*/ 376962 w 402650"/>
                  <a:gd name="connsiteY51" fmla="*/ 342841 h 513276"/>
                  <a:gd name="connsiteX52" fmla="*/ 367560 w 402650"/>
                  <a:gd name="connsiteY52" fmla="*/ 344460 h 513276"/>
                  <a:gd name="connsiteX53" fmla="*/ 360923 w 402650"/>
                  <a:gd name="connsiteY53" fmla="*/ 351476 h 513276"/>
                  <a:gd name="connsiteX54" fmla="*/ 364794 w 402650"/>
                  <a:gd name="connsiteY54" fmla="*/ 362811 h 513276"/>
                  <a:gd name="connsiteX55" fmla="*/ 364241 w 402650"/>
                  <a:gd name="connsiteY55" fmla="*/ 383860 h 513276"/>
                  <a:gd name="connsiteX56" fmla="*/ 376962 w 402650"/>
                  <a:gd name="connsiteY56" fmla="*/ 396813 h 513276"/>
                  <a:gd name="connsiteX57" fmla="*/ 368666 w 402650"/>
                  <a:gd name="connsiteY57" fmla="*/ 413545 h 513276"/>
                  <a:gd name="connsiteX58" fmla="*/ 366454 w 402650"/>
                  <a:gd name="connsiteY58" fmla="*/ 415164 h 513276"/>
                  <a:gd name="connsiteX59" fmla="*/ 358710 w 402650"/>
                  <a:gd name="connsiteY59" fmla="*/ 413545 h 513276"/>
                  <a:gd name="connsiteX60" fmla="*/ 337693 w 402650"/>
                  <a:gd name="connsiteY60" fmla="*/ 423799 h 513276"/>
                  <a:gd name="connsiteX61" fmla="*/ 310591 w 402650"/>
                  <a:gd name="connsiteY61" fmla="*/ 420561 h 513276"/>
                  <a:gd name="connsiteX62" fmla="*/ 298423 w 402650"/>
                  <a:gd name="connsiteY62" fmla="*/ 425958 h 513276"/>
                  <a:gd name="connsiteX63" fmla="*/ 297317 w 402650"/>
                  <a:gd name="connsiteY63" fmla="*/ 442690 h 513276"/>
                  <a:gd name="connsiteX64" fmla="*/ 269110 w 402650"/>
                  <a:gd name="connsiteY64" fmla="*/ 460500 h 513276"/>
                  <a:gd name="connsiteX65" fmla="*/ 261919 w 402650"/>
                  <a:gd name="connsiteY65" fmla="*/ 463199 h 513276"/>
                  <a:gd name="connsiteX66" fmla="*/ 247539 w 402650"/>
                  <a:gd name="connsiteY66" fmla="*/ 499900 h 513276"/>
                  <a:gd name="connsiteX67" fmla="*/ 237030 w 402650"/>
                  <a:gd name="connsiteY67" fmla="*/ 504758 h 513276"/>
                  <a:gd name="connsiteX68" fmla="*/ 222650 w 402650"/>
                  <a:gd name="connsiteY68" fmla="*/ 509076 h 513276"/>
                  <a:gd name="connsiteX69" fmla="*/ 213800 w 402650"/>
                  <a:gd name="connsiteY69" fmla="*/ 508536 h 513276"/>
                  <a:gd name="connsiteX70" fmla="*/ 219884 w 402650"/>
                  <a:gd name="connsiteY70" fmla="*/ 486407 h 513276"/>
                  <a:gd name="connsiteX71" fmla="*/ 199420 w 402650"/>
                  <a:gd name="connsiteY71" fmla="*/ 455643 h 513276"/>
                  <a:gd name="connsiteX72" fmla="*/ 187805 w 402650"/>
                  <a:gd name="connsiteY72" fmla="*/ 449166 h 513276"/>
                  <a:gd name="connsiteX73" fmla="*/ 178402 w 402650"/>
                  <a:gd name="connsiteY73" fmla="*/ 446468 h 513276"/>
                  <a:gd name="connsiteX74" fmla="*/ 169000 w 402650"/>
                  <a:gd name="connsiteY74" fmla="*/ 426498 h 513276"/>
                  <a:gd name="connsiteX75" fmla="*/ 157938 w 402650"/>
                  <a:gd name="connsiteY75" fmla="*/ 424339 h 513276"/>
                  <a:gd name="connsiteX76" fmla="*/ 149642 w 402650"/>
                  <a:gd name="connsiteY76" fmla="*/ 428657 h 513276"/>
                  <a:gd name="connsiteX77" fmla="*/ 143558 w 402650"/>
                  <a:gd name="connsiteY77" fmla="*/ 435673 h 513276"/>
                  <a:gd name="connsiteX78" fmla="*/ 133602 w 402650"/>
                  <a:gd name="connsiteY78" fmla="*/ 435133 h 513276"/>
                  <a:gd name="connsiteX79" fmla="*/ 129730 w 402650"/>
                  <a:gd name="connsiteY79" fmla="*/ 418942 h 513276"/>
                  <a:gd name="connsiteX80" fmla="*/ 122540 w 402650"/>
                  <a:gd name="connsiteY80" fmla="*/ 421640 h 513276"/>
                  <a:gd name="connsiteX81" fmla="*/ 98204 w 402650"/>
                  <a:gd name="connsiteY81" fmla="*/ 479931 h 513276"/>
                  <a:gd name="connsiteX82" fmla="*/ 107054 w 402650"/>
                  <a:gd name="connsiteY82" fmla="*/ 484788 h 513276"/>
                  <a:gd name="connsiteX83" fmla="*/ 109266 w 402650"/>
                  <a:gd name="connsiteY83" fmla="*/ 490725 h 513276"/>
                  <a:gd name="connsiteX84" fmla="*/ 109819 w 402650"/>
                  <a:gd name="connsiteY84" fmla="*/ 512854 h 513276"/>
                  <a:gd name="connsiteX85" fmla="*/ 90461 w 402650"/>
                  <a:gd name="connsiteY85" fmla="*/ 502059 h 513276"/>
                  <a:gd name="connsiteX86" fmla="*/ 79952 w 402650"/>
                  <a:gd name="connsiteY86" fmla="*/ 488026 h 513276"/>
                  <a:gd name="connsiteX87" fmla="*/ 66678 w 402650"/>
                  <a:gd name="connsiteY87" fmla="*/ 482629 h 513276"/>
                  <a:gd name="connsiteX88" fmla="*/ 57275 w 402650"/>
                  <a:gd name="connsiteY88" fmla="*/ 467517 h 513276"/>
                  <a:gd name="connsiteX89" fmla="*/ 43448 w 402650"/>
                  <a:gd name="connsiteY89" fmla="*/ 465898 h 513276"/>
                  <a:gd name="connsiteX90" fmla="*/ 27961 w 402650"/>
                  <a:gd name="connsiteY90" fmla="*/ 456183 h 513276"/>
                  <a:gd name="connsiteX91" fmla="*/ 14687 w 402650"/>
                  <a:gd name="connsiteY91" fmla="*/ 458881 h 513276"/>
                  <a:gd name="connsiteX92" fmla="*/ 13028 w 402650"/>
                  <a:gd name="connsiteY92" fmla="*/ 444848 h 513276"/>
                  <a:gd name="connsiteX93" fmla="*/ 17453 w 402650"/>
                  <a:gd name="connsiteY93" fmla="*/ 433514 h 513276"/>
                  <a:gd name="connsiteX94" fmla="*/ 28514 w 402650"/>
                  <a:gd name="connsiteY94" fmla="*/ 421101 h 513276"/>
                  <a:gd name="connsiteX95" fmla="*/ 24643 w 402650"/>
                  <a:gd name="connsiteY95" fmla="*/ 398432 h 513276"/>
                  <a:gd name="connsiteX96" fmla="*/ 25749 w 402650"/>
                  <a:gd name="connsiteY96" fmla="*/ 386019 h 513276"/>
                  <a:gd name="connsiteX97" fmla="*/ 36258 w 402650"/>
                  <a:gd name="connsiteY97" fmla="*/ 374145 h 513276"/>
                  <a:gd name="connsiteX98" fmla="*/ 20771 w 402650"/>
                  <a:gd name="connsiteY98" fmla="*/ 355254 h 513276"/>
                  <a:gd name="connsiteX99" fmla="*/ 14134 w 402650"/>
                  <a:gd name="connsiteY99" fmla="*/ 340142 h 513276"/>
                  <a:gd name="connsiteX100" fmla="*/ 10816 w 402650"/>
                  <a:gd name="connsiteY100" fmla="*/ 319633 h 513276"/>
                  <a:gd name="connsiteX101" fmla="*/ 34045 w 402650"/>
                  <a:gd name="connsiteY101" fmla="*/ 310457 h 513276"/>
                  <a:gd name="connsiteX102" fmla="*/ 65019 w 402650"/>
                  <a:gd name="connsiteY102" fmla="*/ 324490 h 513276"/>
                  <a:gd name="connsiteX103" fmla="*/ 67784 w 402650"/>
                  <a:gd name="connsiteY103" fmla="*/ 320712 h 513276"/>
                  <a:gd name="connsiteX104" fmla="*/ 45660 w 402650"/>
                  <a:gd name="connsiteY104" fmla="*/ 303981 h 513276"/>
                  <a:gd name="connsiteX105" fmla="*/ 68337 w 402650"/>
                  <a:gd name="connsiteY105" fmla="*/ 294266 h 513276"/>
                  <a:gd name="connsiteX106" fmla="*/ 57275 w 402650"/>
                  <a:gd name="connsiteY106" fmla="*/ 283471 h 513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402650" h="513276">
                    <a:moveTo>
                      <a:pt x="57275" y="283471"/>
                    </a:moveTo>
                    <a:cubicBezTo>
                      <a:pt x="59488" y="274296"/>
                      <a:pt x="48426" y="266200"/>
                      <a:pt x="51191" y="260803"/>
                    </a:cubicBezTo>
                    <a:cubicBezTo>
                      <a:pt x="51744" y="259184"/>
                      <a:pt x="53957" y="258104"/>
                      <a:pt x="55616" y="258104"/>
                    </a:cubicBezTo>
                    <a:cubicBezTo>
                      <a:pt x="62253" y="257025"/>
                      <a:pt x="62806" y="261882"/>
                      <a:pt x="67231" y="264041"/>
                    </a:cubicBezTo>
                    <a:cubicBezTo>
                      <a:pt x="68337" y="265121"/>
                      <a:pt x="69996" y="265121"/>
                      <a:pt x="71103" y="265121"/>
                    </a:cubicBezTo>
                    <a:cubicBezTo>
                      <a:pt x="79399" y="265121"/>
                      <a:pt x="81058" y="258104"/>
                      <a:pt x="81058" y="251088"/>
                    </a:cubicBezTo>
                    <a:cubicBezTo>
                      <a:pt x="81058" y="247849"/>
                      <a:pt x="81058" y="242992"/>
                      <a:pt x="78846" y="240833"/>
                    </a:cubicBezTo>
                    <a:cubicBezTo>
                      <a:pt x="67784" y="224641"/>
                      <a:pt x="55063" y="225181"/>
                      <a:pt x="44001" y="217625"/>
                    </a:cubicBezTo>
                    <a:cubicBezTo>
                      <a:pt x="42342" y="216546"/>
                      <a:pt x="41236" y="213847"/>
                      <a:pt x="40682" y="211688"/>
                    </a:cubicBezTo>
                    <a:cubicBezTo>
                      <a:pt x="37917" y="192258"/>
                      <a:pt x="61700" y="172828"/>
                      <a:pt x="51191" y="155017"/>
                    </a:cubicBezTo>
                    <a:lnTo>
                      <a:pt x="37917" y="139905"/>
                    </a:lnTo>
                    <a:lnTo>
                      <a:pt x="44001" y="112919"/>
                    </a:lnTo>
                    <a:cubicBezTo>
                      <a:pt x="36811" y="112379"/>
                      <a:pt x="30174" y="110220"/>
                      <a:pt x="24643" y="105902"/>
                    </a:cubicBezTo>
                    <a:cubicBezTo>
                      <a:pt x="9156" y="93489"/>
                      <a:pt x="21877" y="99426"/>
                      <a:pt x="13028" y="85932"/>
                    </a:cubicBezTo>
                    <a:cubicBezTo>
                      <a:pt x="9709" y="81075"/>
                      <a:pt x="2519" y="70281"/>
                      <a:pt x="1413" y="60026"/>
                    </a:cubicBezTo>
                    <a:cubicBezTo>
                      <a:pt x="860" y="56787"/>
                      <a:pt x="-246" y="51390"/>
                      <a:pt x="-799" y="48152"/>
                    </a:cubicBezTo>
                    <a:lnTo>
                      <a:pt x="14134" y="30881"/>
                    </a:lnTo>
                    <a:lnTo>
                      <a:pt x="28514" y="29262"/>
                    </a:lnTo>
                    <a:lnTo>
                      <a:pt x="56722" y="2275"/>
                    </a:lnTo>
                    <a:lnTo>
                      <a:pt x="73868" y="6053"/>
                    </a:lnTo>
                    <a:lnTo>
                      <a:pt x="94332" y="-423"/>
                    </a:lnTo>
                    <a:lnTo>
                      <a:pt x="113138" y="2275"/>
                    </a:lnTo>
                    <a:lnTo>
                      <a:pt x="119775" y="17388"/>
                    </a:lnTo>
                    <a:lnTo>
                      <a:pt x="130283" y="24944"/>
                    </a:lnTo>
                    <a:lnTo>
                      <a:pt x="151854" y="33579"/>
                    </a:lnTo>
                    <a:lnTo>
                      <a:pt x="155726" y="38437"/>
                    </a:lnTo>
                    <a:lnTo>
                      <a:pt x="161810" y="39516"/>
                    </a:lnTo>
                    <a:lnTo>
                      <a:pt x="162363" y="55708"/>
                    </a:lnTo>
                    <a:lnTo>
                      <a:pt x="166234" y="67042"/>
                    </a:lnTo>
                    <a:lnTo>
                      <a:pt x="179509" y="76757"/>
                    </a:lnTo>
                    <a:lnTo>
                      <a:pt x="199973" y="84313"/>
                    </a:lnTo>
                    <a:lnTo>
                      <a:pt x="228181" y="102124"/>
                    </a:lnTo>
                    <a:lnTo>
                      <a:pt x="234265" y="141524"/>
                    </a:lnTo>
                    <a:cubicBezTo>
                      <a:pt x="240902" y="144223"/>
                      <a:pt x="244773" y="147461"/>
                      <a:pt x="252517" y="149080"/>
                    </a:cubicBezTo>
                    <a:cubicBezTo>
                      <a:pt x="262472" y="150699"/>
                      <a:pt x="273534" y="148540"/>
                      <a:pt x="282937" y="154477"/>
                    </a:cubicBezTo>
                    <a:cubicBezTo>
                      <a:pt x="285702" y="156097"/>
                      <a:pt x="289021" y="163653"/>
                      <a:pt x="292339" y="162573"/>
                    </a:cubicBezTo>
                    <a:cubicBezTo>
                      <a:pt x="307273" y="158255"/>
                      <a:pt x="294552" y="135047"/>
                      <a:pt x="322206" y="135047"/>
                    </a:cubicBezTo>
                    <a:cubicBezTo>
                      <a:pt x="324972" y="135047"/>
                      <a:pt x="332162" y="136666"/>
                      <a:pt x="334374" y="138825"/>
                    </a:cubicBezTo>
                    <a:cubicBezTo>
                      <a:pt x="336587" y="140445"/>
                      <a:pt x="339352" y="146382"/>
                      <a:pt x="337140" y="148540"/>
                    </a:cubicBezTo>
                    <a:cubicBezTo>
                      <a:pt x="335481" y="150160"/>
                      <a:pt x="331056" y="151239"/>
                      <a:pt x="328843" y="152858"/>
                    </a:cubicBezTo>
                    <a:cubicBezTo>
                      <a:pt x="327737" y="154477"/>
                      <a:pt x="326078" y="162033"/>
                      <a:pt x="326631" y="163653"/>
                    </a:cubicBezTo>
                    <a:cubicBezTo>
                      <a:pt x="328843" y="167970"/>
                      <a:pt x="337140" y="178225"/>
                      <a:pt x="341565" y="180384"/>
                    </a:cubicBezTo>
                    <a:lnTo>
                      <a:pt x="345436" y="190639"/>
                    </a:lnTo>
                    <a:lnTo>
                      <a:pt x="345436" y="206831"/>
                    </a:lnTo>
                    <a:lnTo>
                      <a:pt x="333268" y="218165"/>
                    </a:lnTo>
                    <a:lnTo>
                      <a:pt x="332162" y="244611"/>
                    </a:lnTo>
                    <a:lnTo>
                      <a:pt x="345989" y="254326"/>
                    </a:lnTo>
                    <a:lnTo>
                      <a:pt x="355945" y="279153"/>
                    </a:lnTo>
                    <a:lnTo>
                      <a:pt x="377516" y="283471"/>
                    </a:lnTo>
                    <a:lnTo>
                      <a:pt x="383600" y="294266"/>
                    </a:lnTo>
                    <a:lnTo>
                      <a:pt x="401852" y="302362"/>
                    </a:lnTo>
                    <a:lnTo>
                      <a:pt x="376962" y="342841"/>
                    </a:lnTo>
                    <a:lnTo>
                      <a:pt x="367560" y="344460"/>
                    </a:lnTo>
                    <a:lnTo>
                      <a:pt x="360923" y="351476"/>
                    </a:lnTo>
                    <a:lnTo>
                      <a:pt x="364794" y="362811"/>
                    </a:lnTo>
                    <a:lnTo>
                      <a:pt x="364241" y="383860"/>
                    </a:lnTo>
                    <a:lnTo>
                      <a:pt x="376962" y="396813"/>
                    </a:lnTo>
                    <a:lnTo>
                      <a:pt x="368666" y="413545"/>
                    </a:lnTo>
                    <a:lnTo>
                      <a:pt x="366454" y="415164"/>
                    </a:lnTo>
                    <a:lnTo>
                      <a:pt x="358710" y="413545"/>
                    </a:lnTo>
                    <a:lnTo>
                      <a:pt x="337693" y="423799"/>
                    </a:lnTo>
                    <a:lnTo>
                      <a:pt x="310591" y="420561"/>
                    </a:lnTo>
                    <a:lnTo>
                      <a:pt x="298423" y="425958"/>
                    </a:lnTo>
                    <a:lnTo>
                      <a:pt x="297317" y="442690"/>
                    </a:lnTo>
                    <a:lnTo>
                      <a:pt x="269110" y="460500"/>
                    </a:lnTo>
                    <a:lnTo>
                      <a:pt x="261919" y="463199"/>
                    </a:lnTo>
                    <a:lnTo>
                      <a:pt x="247539" y="499900"/>
                    </a:lnTo>
                    <a:lnTo>
                      <a:pt x="237030" y="504758"/>
                    </a:lnTo>
                    <a:lnTo>
                      <a:pt x="222650" y="509076"/>
                    </a:lnTo>
                    <a:lnTo>
                      <a:pt x="213800" y="508536"/>
                    </a:lnTo>
                    <a:lnTo>
                      <a:pt x="219884" y="486407"/>
                    </a:lnTo>
                    <a:lnTo>
                      <a:pt x="199420" y="455643"/>
                    </a:lnTo>
                    <a:lnTo>
                      <a:pt x="187805" y="449166"/>
                    </a:lnTo>
                    <a:lnTo>
                      <a:pt x="178402" y="446468"/>
                    </a:lnTo>
                    <a:lnTo>
                      <a:pt x="169000" y="426498"/>
                    </a:lnTo>
                    <a:lnTo>
                      <a:pt x="157938" y="424339"/>
                    </a:lnTo>
                    <a:lnTo>
                      <a:pt x="149642" y="428657"/>
                    </a:lnTo>
                    <a:lnTo>
                      <a:pt x="143558" y="435673"/>
                    </a:lnTo>
                    <a:lnTo>
                      <a:pt x="133602" y="435133"/>
                    </a:lnTo>
                    <a:lnTo>
                      <a:pt x="129730" y="418942"/>
                    </a:lnTo>
                    <a:lnTo>
                      <a:pt x="122540" y="421640"/>
                    </a:lnTo>
                    <a:lnTo>
                      <a:pt x="98204" y="479931"/>
                    </a:lnTo>
                    <a:lnTo>
                      <a:pt x="107054" y="484788"/>
                    </a:lnTo>
                    <a:lnTo>
                      <a:pt x="109266" y="490725"/>
                    </a:lnTo>
                    <a:lnTo>
                      <a:pt x="109819" y="512854"/>
                    </a:lnTo>
                    <a:cubicBezTo>
                      <a:pt x="103735" y="511774"/>
                      <a:pt x="93779" y="507456"/>
                      <a:pt x="90461" y="502059"/>
                    </a:cubicBezTo>
                    <a:cubicBezTo>
                      <a:pt x="86589" y="496662"/>
                      <a:pt x="86589" y="491804"/>
                      <a:pt x="79952" y="488026"/>
                    </a:cubicBezTo>
                    <a:cubicBezTo>
                      <a:pt x="76080" y="485328"/>
                      <a:pt x="70549" y="485328"/>
                      <a:pt x="66678" y="482629"/>
                    </a:cubicBezTo>
                    <a:cubicBezTo>
                      <a:pt x="62253" y="479931"/>
                      <a:pt x="60041" y="469136"/>
                      <a:pt x="57275" y="467517"/>
                    </a:cubicBezTo>
                    <a:cubicBezTo>
                      <a:pt x="54510" y="465898"/>
                      <a:pt x="46766" y="467517"/>
                      <a:pt x="43448" y="465898"/>
                    </a:cubicBezTo>
                    <a:cubicBezTo>
                      <a:pt x="37917" y="463739"/>
                      <a:pt x="36258" y="455103"/>
                      <a:pt x="27961" y="456183"/>
                    </a:cubicBezTo>
                    <a:cubicBezTo>
                      <a:pt x="21877" y="457802"/>
                      <a:pt x="22984" y="462659"/>
                      <a:pt x="14687" y="458881"/>
                    </a:cubicBezTo>
                    <a:lnTo>
                      <a:pt x="13028" y="444848"/>
                    </a:lnTo>
                    <a:lnTo>
                      <a:pt x="17453" y="433514"/>
                    </a:lnTo>
                    <a:lnTo>
                      <a:pt x="28514" y="421101"/>
                    </a:lnTo>
                    <a:lnTo>
                      <a:pt x="24643" y="398432"/>
                    </a:lnTo>
                    <a:lnTo>
                      <a:pt x="25749" y="386019"/>
                    </a:lnTo>
                    <a:lnTo>
                      <a:pt x="36258" y="374145"/>
                    </a:lnTo>
                    <a:lnTo>
                      <a:pt x="20771" y="355254"/>
                    </a:lnTo>
                    <a:lnTo>
                      <a:pt x="14134" y="340142"/>
                    </a:lnTo>
                    <a:lnTo>
                      <a:pt x="10816" y="319633"/>
                    </a:lnTo>
                    <a:lnTo>
                      <a:pt x="34045" y="310457"/>
                    </a:lnTo>
                    <a:cubicBezTo>
                      <a:pt x="40129" y="313156"/>
                      <a:pt x="61147" y="321252"/>
                      <a:pt x="65019" y="324490"/>
                    </a:cubicBezTo>
                    <a:lnTo>
                      <a:pt x="67784" y="320712"/>
                    </a:lnTo>
                    <a:lnTo>
                      <a:pt x="45660" y="303981"/>
                    </a:lnTo>
                    <a:lnTo>
                      <a:pt x="68337" y="294266"/>
                    </a:lnTo>
                    <a:lnTo>
                      <a:pt x="57275" y="283471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13" name="Freeform 1049">
                <a:extLst>
                  <a:ext uri="{FF2B5EF4-FFF2-40B4-BE49-F238E27FC236}">
                    <a16:creationId xmlns:a16="http://schemas.microsoft.com/office/drawing/2014/main" id="{1CEAFD49-B4EA-4824-AABA-D8EB58D6A99B}"/>
                  </a:ext>
                </a:extLst>
              </p:cNvPr>
              <p:cNvSpPr/>
              <p:nvPr/>
            </p:nvSpPr>
            <p:spPr>
              <a:xfrm>
                <a:off x="5085506" y="2646326"/>
                <a:ext cx="663217" cy="1202560"/>
              </a:xfrm>
              <a:custGeom>
                <a:avLst/>
                <a:gdLst>
                  <a:gd name="connsiteX0" fmla="*/ 400431 w 663217"/>
                  <a:gd name="connsiteY0" fmla="*/ 1157990 h 1202560"/>
                  <a:gd name="connsiteX1" fmla="*/ 428639 w 663217"/>
                  <a:gd name="connsiteY1" fmla="*/ 1159609 h 1202560"/>
                  <a:gd name="connsiteX2" fmla="*/ 428086 w 663217"/>
                  <a:gd name="connsiteY2" fmla="*/ 1162847 h 1202560"/>
                  <a:gd name="connsiteX3" fmla="*/ 415918 w 663217"/>
                  <a:gd name="connsiteY3" fmla="*/ 1170943 h 1202560"/>
                  <a:gd name="connsiteX4" fmla="*/ 395453 w 663217"/>
                  <a:gd name="connsiteY4" fmla="*/ 1161768 h 1202560"/>
                  <a:gd name="connsiteX5" fmla="*/ 400431 w 663217"/>
                  <a:gd name="connsiteY5" fmla="*/ 1157990 h 1202560"/>
                  <a:gd name="connsiteX6" fmla="*/ 116142 w 663217"/>
                  <a:gd name="connsiteY6" fmla="*/ 711639 h 1202560"/>
                  <a:gd name="connsiteX7" fmla="*/ 92912 w 663217"/>
                  <a:gd name="connsiteY7" fmla="*/ 710559 h 1202560"/>
                  <a:gd name="connsiteX8" fmla="*/ 92359 w 663217"/>
                  <a:gd name="connsiteY8" fmla="*/ 692748 h 1202560"/>
                  <a:gd name="connsiteX9" fmla="*/ 81297 w 663217"/>
                  <a:gd name="connsiteY9" fmla="*/ 684113 h 1202560"/>
                  <a:gd name="connsiteX10" fmla="*/ 81850 w 663217"/>
                  <a:gd name="connsiteY10" fmla="*/ 675477 h 1202560"/>
                  <a:gd name="connsiteX11" fmla="*/ 70235 w 663217"/>
                  <a:gd name="connsiteY11" fmla="*/ 659825 h 1202560"/>
                  <a:gd name="connsiteX12" fmla="*/ 58620 w 663217"/>
                  <a:gd name="connsiteY12" fmla="*/ 670620 h 1202560"/>
                  <a:gd name="connsiteX13" fmla="*/ 58067 w 663217"/>
                  <a:gd name="connsiteY13" fmla="*/ 683573 h 1202560"/>
                  <a:gd name="connsiteX14" fmla="*/ 48665 w 663217"/>
                  <a:gd name="connsiteY14" fmla="*/ 692209 h 1202560"/>
                  <a:gd name="connsiteX15" fmla="*/ 40921 w 663217"/>
                  <a:gd name="connsiteY15" fmla="*/ 684653 h 1202560"/>
                  <a:gd name="connsiteX16" fmla="*/ 26541 w 663217"/>
                  <a:gd name="connsiteY16" fmla="*/ 682494 h 1202560"/>
                  <a:gd name="connsiteX17" fmla="*/ 21010 w 663217"/>
                  <a:gd name="connsiteY17" fmla="*/ 676557 h 1202560"/>
                  <a:gd name="connsiteX18" fmla="*/ 9948 w 663217"/>
                  <a:gd name="connsiteY18" fmla="*/ 671159 h 1202560"/>
                  <a:gd name="connsiteX19" fmla="*/ 546 w 663217"/>
                  <a:gd name="connsiteY19" fmla="*/ 650650 h 1202560"/>
                  <a:gd name="connsiteX20" fmla="*/ -561 w 663217"/>
                  <a:gd name="connsiteY20" fmla="*/ 641475 h 1202560"/>
                  <a:gd name="connsiteX21" fmla="*/ 12161 w 663217"/>
                  <a:gd name="connsiteY21" fmla="*/ 632839 h 1202560"/>
                  <a:gd name="connsiteX22" fmla="*/ 19351 w 663217"/>
                  <a:gd name="connsiteY22" fmla="*/ 637157 h 1202560"/>
                  <a:gd name="connsiteX23" fmla="*/ 27647 w 663217"/>
                  <a:gd name="connsiteY23" fmla="*/ 629061 h 1202560"/>
                  <a:gd name="connsiteX24" fmla="*/ 21010 w 663217"/>
                  <a:gd name="connsiteY24" fmla="*/ 623124 h 1202560"/>
                  <a:gd name="connsiteX25" fmla="*/ 21563 w 663217"/>
                  <a:gd name="connsiteY25" fmla="*/ 615568 h 1202560"/>
                  <a:gd name="connsiteX26" fmla="*/ 27647 w 663217"/>
                  <a:gd name="connsiteY26" fmla="*/ 615028 h 1202560"/>
                  <a:gd name="connsiteX27" fmla="*/ 33178 w 663217"/>
                  <a:gd name="connsiteY27" fmla="*/ 619346 h 1202560"/>
                  <a:gd name="connsiteX28" fmla="*/ 45899 w 663217"/>
                  <a:gd name="connsiteY28" fmla="*/ 614489 h 1202560"/>
                  <a:gd name="connsiteX29" fmla="*/ 58067 w 663217"/>
                  <a:gd name="connsiteY29" fmla="*/ 592360 h 1202560"/>
                  <a:gd name="connsiteX30" fmla="*/ 74660 w 663217"/>
                  <a:gd name="connsiteY30" fmla="*/ 583724 h 1202560"/>
                  <a:gd name="connsiteX31" fmla="*/ 86275 w 663217"/>
                  <a:gd name="connsiteY31" fmla="*/ 580486 h 1202560"/>
                  <a:gd name="connsiteX32" fmla="*/ 106739 w 663217"/>
                  <a:gd name="connsiteY32" fmla="*/ 577248 h 1202560"/>
                  <a:gd name="connsiteX33" fmla="*/ 120567 w 663217"/>
                  <a:gd name="connsiteY33" fmla="*/ 574009 h 1202560"/>
                  <a:gd name="connsiteX34" fmla="*/ 126098 w 663217"/>
                  <a:gd name="connsiteY34" fmla="*/ 574549 h 1202560"/>
                  <a:gd name="connsiteX35" fmla="*/ 127204 w 663217"/>
                  <a:gd name="connsiteY35" fmla="*/ 572930 h 1202560"/>
                  <a:gd name="connsiteX36" fmla="*/ 146009 w 663217"/>
                  <a:gd name="connsiteY36" fmla="*/ 578867 h 1202560"/>
                  <a:gd name="connsiteX37" fmla="*/ 160389 w 663217"/>
                  <a:gd name="connsiteY37" fmla="*/ 621505 h 1202560"/>
                  <a:gd name="connsiteX38" fmla="*/ 167579 w 663217"/>
                  <a:gd name="connsiteY38" fmla="*/ 633379 h 1202560"/>
                  <a:gd name="connsiteX39" fmla="*/ 157071 w 663217"/>
                  <a:gd name="connsiteY39" fmla="*/ 644713 h 1202560"/>
                  <a:gd name="connsiteX40" fmla="*/ 155965 w 663217"/>
                  <a:gd name="connsiteY40" fmla="*/ 646872 h 1202560"/>
                  <a:gd name="connsiteX41" fmla="*/ 173663 w 663217"/>
                  <a:gd name="connsiteY41" fmla="*/ 650110 h 1202560"/>
                  <a:gd name="connsiteX42" fmla="*/ 175876 w 663217"/>
                  <a:gd name="connsiteY42" fmla="*/ 684113 h 1202560"/>
                  <a:gd name="connsiteX43" fmla="*/ 174217 w 663217"/>
                  <a:gd name="connsiteY43" fmla="*/ 684113 h 1202560"/>
                  <a:gd name="connsiteX44" fmla="*/ 168686 w 663217"/>
                  <a:gd name="connsiteY44" fmla="*/ 669001 h 1202560"/>
                  <a:gd name="connsiteX45" fmla="*/ 167026 w 663217"/>
                  <a:gd name="connsiteY45" fmla="*/ 669540 h 1202560"/>
                  <a:gd name="connsiteX46" fmla="*/ 161495 w 663217"/>
                  <a:gd name="connsiteY46" fmla="*/ 683573 h 1202560"/>
                  <a:gd name="connsiteX47" fmla="*/ 165920 w 663217"/>
                  <a:gd name="connsiteY47" fmla="*/ 698146 h 1202560"/>
                  <a:gd name="connsiteX48" fmla="*/ 147668 w 663217"/>
                  <a:gd name="connsiteY48" fmla="*/ 699765 h 1202560"/>
                  <a:gd name="connsiteX49" fmla="*/ 132735 w 663217"/>
                  <a:gd name="connsiteY49" fmla="*/ 715417 h 1202560"/>
                  <a:gd name="connsiteX50" fmla="*/ 116142 w 663217"/>
                  <a:gd name="connsiteY50" fmla="*/ 711639 h 1202560"/>
                  <a:gd name="connsiteX51" fmla="*/ 226760 w 663217"/>
                  <a:gd name="connsiteY51" fmla="*/ 440158 h 1202560"/>
                  <a:gd name="connsiteX52" fmla="*/ 230632 w 663217"/>
                  <a:gd name="connsiteY52" fmla="*/ 432062 h 1202560"/>
                  <a:gd name="connsiteX53" fmla="*/ 243353 w 663217"/>
                  <a:gd name="connsiteY53" fmla="*/ 421807 h 1202560"/>
                  <a:gd name="connsiteX54" fmla="*/ 249990 w 663217"/>
                  <a:gd name="connsiteY54" fmla="*/ 412092 h 1202560"/>
                  <a:gd name="connsiteX55" fmla="*/ 254968 w 663217"/>
                  <a:gd name="connsiteY55" fmla="*/ 406695 h 1202560"/>
                  <a:gd name="connsiteX56" fmla="*/ 252756 w 663217"/>
                  <a:gd name="connsiteY56" fmla="*/ 404536 h 1202560"/>
                  <a:gd name="connsiteX57" fmla="*/ 215145 w 663217"/>
                  <a:gd name="connsiteY57" fmla="*/ 433141 h 1202560"/>
                  <a:gd name="connsiteX58" fmla="*/ 197999 w 663217"/>
                  <a:gd name="connsiteY58" fmla="*/ 425046 h 1202560"/>
                  <a:gd name="connsiteX59" fmla="*/ 190809 w 663217"/>
                  <a:gd name="connsiteY59" fmla="*/ 414251 h 1202560"/>
                  <a:gd name="connsiteX60" fmla="*/ 183619 w 663217"/>
                  <a:gd name="connsiteY60" fmla="*/ 409394 h 1202560"/>
                  <a:gd name="connsiteX61" fmla="*/ 183066 w 663217"/>
                  <a:gd name="connsiteY61" fmla="*/ 403996 h 1202560"/>
                  <a:gd name="connsiteX62" fmla="*/ 202424 w 663217"/>
                  <a:gd name="connsiteY62" fmla="*/ 402377 h 1202560"/>
                  <a:gd name="connsiteX63" fmla="*/ 211827 w 663217"/>
                  <a:gd name="connsiteY63" fmla="*/ 397520 h 1202560"/>
                  <a:gd name="connsiteX64" fmla="*/ 213486 w 663217"/>
                  <a:gd name="connsiteY64" fmla="*/ 391583 h 1202560"/>
                  <a:gd name="connsiteX65" fmla="*/ 210721 w 663217"/>
                  <a:gd name="connsiteY65" fmla="*/ 380249 h 1202560"/>
                  <a:gd name="connsiteX66" fmla="*/ 221782 w 663217"/>
                  <a:gd name="connsiteY66" fmla="*/ 378629 h 1202560"/>
                  <a:gd name="connsiteX67" fmla="*/ 223442 w 663217"/>
                  <a:gd name="connsiteY67" fmla="*/ 365676 h 1202560"/>
                  <a:gd name="connsiteX68" fmla="*/ 228420 w 663217"/>
                  <a:gd name="connsiteY68" fmla="*/ 367835 h 1202560"/>
                  <a:gd name="connsiteX69" fmla="*/ 234504 w 663217"/>
                  <a:gd name="connsiteY69" fmla="*/ 366216 h 1202560"/>
                  <a:gd name="connsiteX70" fmla="*/ 227866 w 663217"/>
                  <a:gd name="connsiteY70" fmla="*/ 357040 h 1202560"/>
                  <a:gd name="connsiteX71" fmla="*/ 235057 w 663217"/>
                  <a:gd name="connsiteY71" fmla="*/ 348945 h 1202560"/>
                  <a:gd name="connsiteX72" fmla="*/ 233397 w 663217"/>
                  <a:gd name="connsiteY72" fmla="*/ 343547 h 1202560"/>
                  <a:gd name="connsiteX73" fmla="*/ 231185 w 663217"/>
                  <a:gd name="connsiteY73" fmla="*/ 343008 h 1202560"/>
                  <a:gd name="connsiteX74" fmla="*/ 233950 w 663217"/>
                  <a:gd name="connsiteY74" fmla="*/ 341389 h 1202560"/>
                  <a:gd name="connsiteX75" fmla="*/ 238375 w 663217"/>
                  <a:gd name="connsiteY75" fmla="*/ 335991 h 1202560"/>
                  <a:gd name="connsiteX76" fmla="*/ 222336 w 663217"/>
                  <a:gd name="connsiteY76" fmla="*/ 329515 h 1202560"/>
                  <a:gd name="connsiteX77" fmla="*/ 222336 w 663217"/>
                  <a:gd name="connsiteY77" fmla="*/ 313323 h 1202560"/>
                  <a:gd name="connsiteX78" fmla="*/ 223995 w 663217"/>
                  <a:gd name="connsiteY78" fmla="*/ 312783 h 1202560"/>
                  <a:gd name="connsiteX79" fmla="*/ 230632 w 663217"/>
                  <a:gd name="connsiteY79" fmla="*/ 315482 h 1202560"/>
                  <a:gd name="connsiteX80" fmla="*/ 231185 w 663217"/>
                  <a:gd name="connsiteY80" fmla="*/ 317101 h 1202560"/>
                  <a:gd name="connsiteX81" fmla="*/ 238375 w 663217"/>
                  <a:gd name="connsiteY81" fmla="*/ 312783 h 1202560"/>
                  <a:gd name="connsiteX82" fmla="*/ 234504 w 663217"/>
                  <a:gd name="connsiteY82" fmla="*/ 309005 h 1202560"/>
                  <a:gd name="connsiteX83" fmla="*/ 234504 w 663217"/>
                  <a:gd name="connsiteY83" fmla="*/ 296591 h 1202560"/>
                  <a:gd name="connsiteX84" fmla="*/ 231738 w 663217"/>
                  <a:gd name="connsiteY84" fmla="*/ 292813 h 1202560"/>
                  <a:gd name="connsiteX85" fmla="*/ 234504 w 663217"/>
                  <a:gd name="connsiteY85" fmla="*/ 279860 h 1202560"/>
                  <a:gd name="connsiteX86" fmla="*/ 240588 w 663217"/>
                  <a:gd name="connsiteY86" fmla="*/ 285797 h 1202560"/>
                  <a:gd name="connsiteX87" fmla="*/ 246119 w 663217"/>
                  <a:gd name="connsiteY87" fmla="*/ 286337 h 1202560"/>
                  <a:gd name="connsiteX88" fmla="*/ 243353 w 663217"/>
                  <a:gd name="connsiteY88" fmla="*/ 280400 h 1202560"/>
                  <a:gd name="connsiteX89" fmla="*/ 247225 w 663217"/>
                  <a:gd name="connsiteY89" fmla="*/ 273923 h 1202560"/>
                  <a:gd name="connsiteX90" fmla="*/ 251649 w 663217"/>
                  <a:gd name="connsiteY90" fmla="*/ 278241 h 1202560"/>
                  <a:gd name="connsiteX91" fmla="*/ 258840 w 663217"/>
                  <a:gd name="connsiteY91" fmla="*/ 276622 h 1202560"/>
                  <a:gd name="connsiteX92" fmla="*/ 273220 w 663217"/>
                  <a:gd name="connsiteY92" fmla="*/ 274463 h 1202560"/>
                  <a:gd name="connsiteX93" fmla="*/ 273773 w 663217"/>
                  <a:gd name="connsiteY93" fmla="*/ 272844 h 1202560"/>
                  <a:gd name="connsiteX94" fmla="*/ 263264 w 663217"/>
                  <a:gd name="connsiteY94" fmla="*/ 257731 h 1202560"/>
                  <a:gd name="connsiteX95" fmla="*/ 272114 w 663217"/>
                  <a:gd name="connsiteY95" fmla="*/ 254493 h 1202560"/>
                  <a:gd name="connsiteX96" fmla="*/ 268795 w 663217"/>
                  <a:gd name="connsiteY96" fmla="*/ 238841 h 1202560"/>
                  <a:gd name="connsiteX97" fmla="*/ 286494 w 663217"/>
                  <a:gd name="connsiteY97" fmla="*/ 235603 h 1202560"/>
                  <a:gd name="connsiteX98" fmla="*/ 289813 w 663217"/>
                  <a:gd name="connsiteY98" fmla="*/ 222649 h 1202560"/>
                  <a:gd name="connsiteX99" fmla="*/ 296450 w 663217"/>
                  <a:gd name="connsiteY99" fmla="*/ 214554 h 1202560"/>
                  <a:gd name="connsiteX100" fmla="*/ 295344 w 663217"/>
                  <a:gd name="connsiteY100" fmla="*/ 213474 h 1202560"/>
                  <a:gd name="connsiteX101" fmla="*/ 293684 w 663217"/>
                  <a:gd name="connsiteY101" fmla="*/ 209156 h 1202560"/>
                  <a:gd name="connsiteX102" fmla="*/ 300875 w 663217"/>
                  <a:gd name="connsiteY102" fmla="*/ 197822 h 1202560"/>
                  <a:gd name="connsiteX103" fmla="*/ 319680 w 663217"/>
                  <a:gd name="connsiteY103" fmla="*/ 206997 h 1202560"/>
                  <a:gd name="connsiteX104" fmla="*/ 328529 w 663217"/>
                  <a:gd name="connsiteY104" fmla="*/ 206997 h 1202560"/>
                  <a:gd name="connsiteX105" fmla="*/ 334613 w 663217"/>
                  <a:gd name="connsiteY105" fmla="*/ 213474 h 1202560"/>
                  <a:gd name="connsiteX106" fmla="*/ 352312 w 663217"/>
                  <a:gd name="connsiteY106" fmla="*/ 213474 h 1202560"/>
                  <a:gd name="connsiteX107" fmla="*/ 356184 w 663217"/>
                  <a:gd name="connsiteY107" fmla="*/ 212934 h 1202560"/>
                  <a:gd name="connsiteX108" fmla="*/ 364480 w 663217"/>
                  <a:gd name="connsiteY108" fmla="*/ 215093 h 1202560"/>
                  <a:gd name="connsiteX109" fmla="*/ 379967 w 663217"/>
                  <a:gd name="connsiteY109" fmla="*/ 211315 h 1202560"/>
                  <a:gd name="connsiteX110" fmla="*/ 398772 w 663217"/>
                  <a:gd name="connsiteY110" fmla="*/ 212934 h 1202560"/>
                  <a:gd name="connsiteX111" fmla="*/ 407621 w 663217"/>
                  <a:gd name="connsiteY111" fmla="*/ 204839 h 1202560"/>
                  <a:gd name="connsiteX112" fmla="*/ 415365 w 663217"/>
                  <a:gd name="connsiteY112" fmla="*/ 206997 h 1202560"/>
                  <a:gd name="connsiteX113" fmla="*/ 420896 w 663217"/>
                  <a:gd name="connsiteY113" fmla="*/ 212395 h 1202560"/>
                  <a:gd name="connsiteX114" fmla="*/ 415365 w 663217"/>
                  <a:gd name="connsiteY114" fmla="*/ 230745 h 1202560"/>
                  <a:gd name="connsiteX115" fmla="*/ 417024 w 663217"/>
                  <a:gd name="connsiteY115" fmla="*/ 242079 h 1202560"/>
                  <a:gd name="connsiteX116" fmla="*/ 397113 w 663217"/>
                  <a:gd name="connsiteY116" fmla="*/ 251255 h 1202560"/>
                  <a:gd name="connsiteX117" fmla="*/ 376648 w 663217"/>
                  <a:gd name="connsiteY117" fmla="*/ 269066 h 1202560"/>
                  <a:gd name="connsiteX118" fmla="*/ 348994 w 663217"/>
                  <a:gd name="connsiteY118" fmla="*/ 283638 h 1202560"/>
                  <a:gd name="connsiteX119" fmla="*/ 345675 w 663217"/>
                  <a:gd name="connsiteY119" fmla="*/ 292813 h 1202560"/>
                  <a:gd name="connsiteX120" fmla="*/ 342357 w 663217"/>
                  <a:gd name="connsiteY120" fmla="*/ 296591 h 1202560"/>
                  <a:gd name="connsiteX121" fmla="*/ 343463 w 663217"/>
                  <a:gd name="connsiteY121" fmla="*/ 298750 h 1202560"/>
                  <a:gd name="connsiteX122" fmla="*/ 362821 w 663217"/>
                  <a:gd name="connsiteY122" fmla="*/ 300909 h 1202560"/>
                  <a:gd name="connsiteX123" fmla="*/ 351206 w 663217"/>
                  <a:gd name="connsiteY123" fmla="*/ 309545 h 1202560"/>
                  <a:gd name="connsiteX124" fmla="*/ 327423 w 663217"/>
                  <a:gd name="connsiteY124" fmla="*/ 317641 h 1202560"/>
                  <a:gd name="connsiteX125" fmla="*/ 339591 w 663217"/>
                  <a:gd name="connsiteY125" fmla="*/ 320879 h 1202560"/>
                  <a:gd name="connsiteX126" fmla="*/ 326870 w 663217"/>
                  <a:gd name="connsiteY126" fmla="*/ 329515 h 1202560"/>
                  <a:gd name="connsiteX127" fmla="*/ 318020 w 663217"/>
                  <a:gd name="connsiteY127" fmla="*/ 332213 h 1202560"/>
                  <a:gd name="connsiteX128" fmla="*/ 316914 w 663217"/>
                  <a:gd name="connsiteY128" fmla="*/ 334912 h 1202560"/>
                  <a:gd name="connsiteX129" fmla="*/ 322445 w 663217"/>
                  <a:gd name="connsiteY129" fmla="*/ 337071 h 1202560"/>
                  <a:gd name="connsiteX130" fmla="*/ 338485 w 663217"/>
                  <a:gd name="connsiteY130" fmla="*/ 330594 h 1202560"/>
                  <a:gd name="connsiteX131" fmla="*/ 351206 w 663217"/>
                  <a:gd name="connsiteY131" fmla="*/ 328975 h 1202560"/>
                  <a:gd name="connsiteX132" fmla="*/ 355631 w 663217"/>
                  <a:gd name="connsiteY132" fmla="*/ 326816 h 1202560"/>
                  <a:gd name="connsiteX133" fmla="*/ 367246 w 663217"/>
                  <a:gd name="connsiteY133" fmla="*/ 320339 h 1202560"/>
                  <a:gd name="connsiteX134" fmla="*/ 394900 w 663217"/>
                  <a:gd name="connsiteY134" fmla="*/ 318720 h 1202560"/>
                  <a:gd name="connsiteX135" fmla="*/ 402090 w 663217"/>
                  <a:gd name="connsiteY135" fmla="*/ 323578 h 1202560"/>
                  <a:gd name="connsiteX136" fmla="*/ 463484 w 663217"/>
                  <a:gd name="connsiteY136" fmla="*/ 333293 h 1202560"/>
                  <a:gd name="connsiteX137" fmla="*/ 480630 w 663217"/>
                  <a:gd name="connsiteY137" fmla="*/ 352183 h 1202560"/>
                  <a:gd name="connsiteX138" fmla="*/ 480076 w 663217"/>
                  <a:gd name="connsiteY138" fmla="*/ 360819 h 1202560"/>
                  <a:gd name="connsiteX139" fmla="*/ 472886 w 663217"/>
                  <a:gd name="connsiteY139" fmla="*/ 373772 h 1202560"/>
                  <a:gd name="connsiteX140" fmla="*/ 461271 w 663217"/>
                  <a:gd name="connsiteY140" fmla="*/ 389424 h 1202560"/>
                  <a:gd name="connsiteX141" fmla="*/ 454634 w 663217"/>
                  <a:gd name="connsiteY141" fmla="*/ 409394 h 1202560"/>
                  <a:gd name="connsiteX142" fmla="*/ 432511 w 663217"/>
                  <a:gd name="connsiteY142" fmla="*/ 438539 h 1202560"/>
                  <a:gd name="connsiteX143" fmla="*/ 404856 w 663217"/>
                  <a:gd name="connsiteY143" fmla="*/ 470382 h 1202560"/>
                  <a:gd name="connsiteX144" fmla="*/ 379414 w 663217"/>
                  <a:gd name="connsiteY144" fmla="*/ 469843 h 1202560"/>
                  <a:gd name="connsiteX145" fmla="*/ 370564 w 663217"/>
                  <a:gd name="connsiteY145" fmla="*/ 474160 h 1202560"/>
                  <a:gd name="connsiteX146" fmla="*/ 387157 w 663217"/>
                  <a:gd name="connsiteY146" fmla="*/ 475240 h 1202560"/>
                  <a:gd name="connsiteX147" fmla="*/ 395453 w 663217"/>
                  <a:gd name="connsiteY147" fmla="*/ 483336 h 1202560"/>
                  <a:gd name="connsiteX148" fmla="*/ 410387 w 663217"/>
                  <a:gd name="connsiteY148" fmla="*/ 491971 h 1202560"/>
                  <a:gd name="connsiteX149" fmla="*/ 409281 w 663217"/>
                  <a:gd name="connsiteY149" fmla="*/ 497908 h 1202560"/>
                  <a:gd name="connsiteX150" fmla="*/ 381073 w 663217"/>
                  <a:gd name="connsiteY150" fmla="*/ 500607 h 1202560"/>
                  <a:gd name="connsiteX151" fmla="*/ 358949 w 663217"/>
                  <a:gd name="connsiteY151" fmla="*/ 518418 h 1202560"/>
                  <a:gd name="connsiteX152" fmla="*/ 342357 w 663217"/>
                  <a:gd name="connsiteY152" fmla="*/ 513560 h 1202560"/>
                  <a:gd name="connsiteX153" fmla="*/ 334613 w 663217"/>
                  <a:gd name="connsiteY153" fmla="*/ 516259 h 1202560"/>
                  <a:gd name="connsiteX154" fmla="*/ 342357 w 663217"/>
                  <a:gd name="connsiteY154" fmla="*/ 522196 h 1202560"/>
                  <a:gd name="connsiteX155" fmla="*/ 374436 w 663217"/>
                  <a:gd name="connsiteY155" fmla="*/ 528673 h 1202560"/>
                  <a:gd name="connsiteX156" fmla="*/ 400984 w 663217"/>
                  <a:gd name="connsiteY156" fmla="*/ 517338 h 1202560"/>
                  <a:gd name="connsiteX157" fmla="*/ 406515 w 663217"/>
                  <a:gd name="connsiteY157" fmla="*/ 525974 h 1202560"/>
                  <a:gd name="connsiteX158" fmla="*/ 414812 w 663217"/>
                  <a:gd name="connsiteY158" fmla="*/ 532990 h 1202560"/>
                  <a:gd name="connsiteX159" fmla="*/ 436382 w 663217"/>
                  <a:gd name="connsiteY159" fmla="*/ 547563 h 1202560"/>
                  <a:gd name="connsiteX160" fmla="*/ 445785 w 663217"/>
                  <a:gd name="connsiteY160" fmla="*/ 564834 h 1202560"/>
                  <a:gd name="connsiteX161" fmla="*/ 459612 w 663217"/>
                  <a:gd name="connsiteY161" fmla="*/ 581565 h 1202560"/>
                  <a:gd name="connsiteX162" fmla="*/ 461824 w 663217"/>
                  <a:gd name="connsiteY162" fmla="*/ 588582 h 1202560"/>
                  <a:gd name="connsiteX163" fmla="*/ 464590 w 663217"/>
                  <a:gd name="connsiteY163" fmla="*/ 634458 h 1202560"/>
                  <a:gd name="connsiteX164" fmla="*/ 470121 w 663217"/>
                  <a:gd name="connsiteY164" fmla="*/ 649571 h 1202560"/>
                  <a:gd name="connsiteX165" fmla="*/ 471227 w 663217"/>
                  <a:gd name="connsiteY165" fmla="*/ 666842 h 1202560"/>
                  <a:gd name="connsiteX166" fmla="*/ 477864 w 663217"/>
                  <a:gd name="connsiteY166" fmla="*/ 686272 h 1202560"/>
                  <a:gd name="connsiteX167" fmla="*/ 479523 w 663217"/>
                  <a:gd name="connsiteY167" fmla="*/ 697066 h 1202560"/>
                  <a:gd name="connsiteX168" fmla="*/ 483395 w 663217"/>
                  <a:gd name="connsiteY168" fmla="*/ 701384 h 1202560"/>
                  <a:gd name="connsiteX169" fmla="*/ 501647 w 663217"/>
                  <a:gd name="connsiteY169" fmla="*/ 707861 h 1202560"/>
                  <a:gd name="connsiteX170" fmla="*/ 517134 w 663217"/>
                  <a:gd name="connsiteY170" fmla="*/ 720274 h 1202560"/>
                  <a:gd name="connsiteX171" fmla="*/ 526536 w 663217"/>
                  <a:gd name="connsiteY171" fmla="*/ 741863 h 1202560"/>
                  <a:gd name="connsiteX172" fmla="*/ 532067 w 663217"/>
                  <a:gd name="connsiteY172" fmla="*/ 748880 h 1202560"/>
                  <a:gd name="connsiteX173" fmla="*/ 534279 w 663217"/>
                  <a:gd name="connsiteY173" fmla="*/ 753197 h 1202560"/>
                  <a:gd name="connsiteX174" fmla="*/ 543682 w 663217"/>
                  <a:gd name="connsiteY174" fmla="*/ 762912 h 1202560"/>
                  <a:gd name="connsiteX175" fmla="*/ 543682 w 663217"/>
                  <a:gd name="connsiteY175" fmla="*/ 766151 h 1202560"/>
                  <a:gd name="connsiteX176" fmla="*/ 538704 w 663217"/>
                  <a:gd name="connsiteY176" fmla="*/ 779104 h 1202560"/>
                  <a:gd name="connsiteX177" fmla="*/ 547001 w 663217"/>
                  <a:gd name="connsiteY177" fmla="*/ 807709 h 1202560"/>
                  <a:gd name="connsiteX178" fmla="*/ 557509 w 663217"/>
                  <a:gd name="connsiteY178" fmla="*/ 821203 h 1202560"/>
                  <a:gd name="connsiteX179" fmla="*/ 556403 w 663217"/>
                  <a:gd name="connsiteY179" fmla="*/ 824981 h 1202560"/>
                  <a:gd name="connsiteX180" fmla="*/ 532067 w 663217"/>
                  <a:gd name="connsiteY180" fmla="*/ 816885 h 1202560"/>
                  <a:gd name="connsiteX181" fmla="*/ 511603 w 663217"/>
                  <a:gd name="connsiteY181" fmla="*/ 813107 h 1202560"/>
                  <a:gd name="connsiteX182" fmla="*/ 504412 w 663217"/>
                  <a:gd name="connsiteY182" fmla="*/ 813107 h 1202560"/>
                  <a:gd name="connsiteX183" fmla="*/ 513815 w 663217"/>
                  <a:gd name="connsiteY183" fmla="*/ 818504 h 1202560"/>
                  <a:gd name="connsiteX184" fmla="*/ 530408 w 663217"/>
                  <a:gd name="connsiteY184" fmla="*/ 821742 h 1202560"/>
                  <a:gd name="connsiteX185" fmla="*/ 534833 w 663217"/>
                  <a:gd name="connsiteY185" fmla="*/ 825520 h 1202560"/>
                  <a:gd name="connsiteX186" fmla="*/ 545341 w 663217"/>
                  <a:gd name="connsiteY186" fmla="*/ 833616 h 1202560"/>
                  <a:gd name="connsiteX187" fmla="*/ 555850 w 663217"/>
                  <a:gd name="connsiteY187" fmla="*/ 846570 h 1202560"/>
                  <a:gd name="connsiteX188" fmla="*/ 558062 w 663217"/>
                  <a:gd name="connsiteY188" fmla="*/ 848189 h 1202560"/>
                  <a:gd name="connsiteX189" fmla="*/ 567465 w 663217"/>
                  <a:gd name="connsiteY189" fmla="*/ 881652 h 1202560"/>
                  <a:gd name="connsiteX190" fmla="*/ 559722 w 663217"/>
                  <a:gd name="connsiteY190" fmla="*/ 899462 h 1202560"/>
                  <a:gd name="connsiteX191" fmla="*/ 544235 w 663217"/>
                  <a:gd name="connsiteY191" fmla="*/ 907558 h 1202560"/>
                  <a:gd name="connsiteX192" fmla="*/ 555297 w 663217"/>
                  <a:gd name="connsiteY192" fmla="*/ 922131 h 1202560"/>
                  <a:gd name="connsiteX193" fmla="*/ 564700 w 663217"/>
                  <a:gd name="connsiteY193" fmla="*/ 925909 h 1202560"/>
                  <a:gd name="connsiteX194" fmla="*/ 577421 w 663217"/>
                  <a:gd name="connsiteY194" fmla="*/ 910257 h 1202560"/>
                  <a:gd name="connsiteX195" fmla="*/ 605075 w 663217"/>
                  <a:gd name="connsiteY195" fmla="*/ 910797 h 1202560"/>
                  <a:gd name="connsiteX196" fmla="*/ 616690 w 663217"/>
                  <a:gd name="connsiteY196" fmla="*/ 909177 h 1202560"/>
                  <a:gd name="connsiteX197" fmla="*/ 629411 w 663217"/>
                  <a:gd name="connsiteY197" fmla="*/ 916194 h 1202560"/>
                  <a:gd name="connsiteX198" fmla="*/ 641026 w 663217"/>
                  <a:gd name="connsiteY198" fmla="*/ 921591 h 1202560"/>
                  <a:gd name="connsiteX199" fmla="*/ 655960 w 663217"/>
                  <a:gd name="connsiteY199" fmla="*/ 933465 h 1202560"/>
                  <a:gd name="connsiteX200" fmla="*/ 662597 w 663217"/>
                  <a:gd name="connsiteY200" fmla="*/ 958292 h 1202560"/>
                  <a:gd name="connsiteX201" fmla="*/ 649876 w 663217"/>
                  <a:gd name="connsiteY201" fmla="*/ 1010106 h 1202560"/>
                  <a:gd name="connsiteX202" fmla="*/ 628305 w 663217"/>
                  <a:gd name="connsiteY202" fmla="*/ 1030075 h 1202560"/>
                  <a:gd name="connsiteX203" fmla="*/ 618903 w 663217"/>
                  <a:gd name="connsiteY203" fmla="*/ 1037092 h 1202560"/>
                  <a:gd name="connsiteX204" fmla="*/ 621115 w 663217"/>
                  <a:gd name="connsiteY204" fmla="*/ 1043569 h 1202560"/>
                  <a:gd name="connsiteX205" fmla="*/ 611712 w 663217"/>
                  <a:gd name="connsiteY205" fmla="*/ 1047347 h 1202560"/>
                  <a:gd name="connsiteX206" fmla="*/ 596226 w 663217"/>
                  <a:gd name="connsiteY206" fmla="*/ 1046807 h 1202560"/>
                  <a:gd name="connsiteX207" fmla="*/ 587376 w 663217"/>
                  <a:gd name="connsiteY207" fmla="*/ 1051125 h 1202560"/>
                  <a:gd name="connsiteX208" fmla="*/ 594566 w 663217"/>
                  <a:gd name="connsiteY208" fmla="*/ 1058141 h 1202560"/>
                  <a:gd name="connsiteX209" fmla="*/ 593460 w 663217"/>
                  <a:gd name="connsiteY209" fmla="*/ 1060300 h 1202560"/>
                  <a:gd name="connsiteX210" fmla="*/ 589589 w 663217"/>
                  <a:gd name="connsiteY210" fmla="*/ 1071634 h 1202560"/>
                  <a:gd name="connsiteX211" fmla="*/ 567465 w 663217"/>
                  <a:gd name="connsiteY211" fmla="*/ 1074873 h 1202560"/>
                  <a:gd name="connsiteX212" fmla="*/ 548660 w 663217"/>
                  <a:gd name="connsiteY212" fmla="*/ 1082429 h 1202560"/>
                  <a:gd name="connsiteX213" fmla="*/ 566912 w 663217"/>
                  <a:gd name="connsiteY213" fmla="*/ 1084048 h 1202560"/>
                  <a:gd name="connsiteX214" fmla="*/ 572443 w 663217"/>
                  <a:gd name="connsiteY214" fmla="*/ 1087286 h 1202560"/>
                  <a:gd name="connsiteX215" fmla="*/ 581845 w 663217"/>
                  <a:gd name="connsiteY215" fmla="*/ 1091064 h 1202560"/>
                  <a:gd name="connsiteX216" fmla="*/ 589589 w 663217"/>
                  <a:gd name="connsiteY216" fmla="*/ 1096461 h 1202560"/>
                  <a:gd name="connsiteX217" fmla="*/ 621668 w 663217"/>
                  <a:gd name="connsiteY217" fmla="*/ 1097541 h 1202560"/>
                  <a:gd name="connsiteX218" fmla="*/ 627752 w 663217"/>
                  <a:gd name="connsiteY218" fmla="*/ 1099700 h 1202560"/>
                  <a:gd name="connsiteX219" fmla="*/ 621668 w 663217"/>
                  <a:gd name="connsiteY219" fmla="*/ 1123987 h 1202560"/>
                  <a:gd name="connsiteX220" fmla="*/ 598991 w 663217"/>
                  <a:gd name="connsiteY220" fmla="*/ 1134782 h 1202560"/>
                  <a:gd name="connsiteX221" fmla="*/ 588482 w 663217"/>
                  <a:gd name="connsiteY221" fmla="*/ 1149894 h 1202560"/>
                  <a:gd name="connsiteX222" fmla="*/ 574655 w 663217"/>
                  <a:gd name="connsiteY222" fmla="*/ 1146116 h 1202560"/>
                  <a:gd name="connsiteX223" fmla="*/ 551425 w 663217"/>
                  <a:gd name="connsiteY223" fmla="*/ 1153672 h 1202560"/>
                  <a:gd name="connsiteX224" fmla="*/ 529302 w 663217"/>
                  <a:gd name="connsiteY224" fmla="*/ 1163927 h 1202560"/>
                  <a:gd name="connsiteX225" fmla="*/ 520452 w 663217"/>
                  <a:gd name="connsiteY225" fmla="*/ 1159609 h 1202560"/>
                  <a:gd name="connsiteX226" fmla="*/ 511603 w 663217"/>
                  <a:gd name="connsiteY226" fmla="*/ 1155291 h 1202560"/>
                  <a:gd name="connsiteX227" fmla="*/ 465143 w 663217"/>
                  <a:gd name="connsiteY227" fmla="*/ 1153132 h 1202560"/>
                  <a:gd name="connsiteX228" fmla="*/ 454634 w 663217"/>
                  <a:gd name="connsiteY228" fmla="*/ 1156910 h 1202560"/>
                  <a:gd name="connsiteX229" fmla="*/ 441360 w 663217"/>
                  <a:gd name="connsiteY229" fmla="*/ 1149354 h 1202560"/>
                  <a:gd name="connsiteX230" fmla="*/ 413705 w 663217"/>
                  <a:gd name="connsiteY230" fmla="*/ 1148275 h 1202560"/>
                  <a:gd name="connsiteX231" fmla="*/ 390476 w 663217"/>
                  <a:gd name="connsiteY231" fmla="*/ 1152053 h 1202560"/>
                  <a:gd name="connsiteX232" fmla="*/ 367799 w 663217"/>
                  <a:gd name="connsiteY232" fmla="*/ 1155291 h 1202560"/>
                  <a:gd name="connsiteX233" fmla="*/ 362821 w 663217"/>
                  <a:gd name="connsiteY233" fmla="*/ 1162308 h 1202560"/>
                  <a:gd name="connsiteX234" fmla="*/ 354525 w 663217"/>
                  <a:gd name="connsiteY234" fmla="*/ 1166086 h 1202560"/>
                  <a:gd name="connsiteX235" fmla="*/ 335719 w 663217"/>
                  <a:gd name="connsiteY235" fmla="*/ 1158530 h 1202560"/>
                  <a:gd name="connsiteX236" fmla="*/ 315255 w 663217"/>
                  <a:gd name="connsiteY236" fmla="*/ 1152593 h 1202560"/>
                  <a:gd name="connsiteX237" fmla="*/ 288707 w 663217"/>
                  <a:gd name="connsiteY237" fmla="*/ 1142878 h 1202560"/>
                  <a:gd name="connsiteX238" fmla="*/ 263817 w 663217"/>
                  <a:gd name="connsiteY238" fmla="*/ 1147195 h 1202560"/>
                  <a:gd name="connsiteX239" fmla="*/ 255521 w 663217"/>
                  <a:gd name="connsiteY239" fmla="*/ 1147735 h 1202560"/>
                  <a:gd name="connsiteX240" fmla="*/ 246672 w 663217"/>
                  <a:gd name="connsiteY240" fmla="*/ 1153672 h 1202560"/>
                  <a:gd name="connsiteX241" fmla="*/ 238375 w 663217"/>
                  <a:gd name="connsiteY241" fmla="*/ 1176880 h 1202560"/>
                  <a:gd name="connsiteX242" fmla="*/ 225654 w 663217"/>
                  <a:gd name="connsiteY242" fmla="*/ 1189834 h 1202560"/>
                  <a:gd name="connsiteX243" fmla="*/ 219017 w 663217"/>
                  <a:gd name="connsiteY243" fmla="*/ 1188214 h 1202560"/>
                  <a:gd name="connsiteX244" fmla="*/ 198553 w 663217"/>
                  <a:gd name="connsiteY244" fmla="*/ 1174182 h 1202560"/>
                  <a:gd name="connsiteX245" fmla="*/ 193022 w 663217"/>
                  <a:gd name="connsiteY245" fmla="*/ 1173642 h 1202560"/>
                  <a:gd name="connsiteX246" fmla="*/ 149327 w 663217"/>
                  <a:gd name="connsiteY246" fmla="*/ 1169324 h 1202560"/>
                  <a:gd name="connsiteX247" fmla="*/ 143796 w 663217"/>
                  <a:gd name="connsiteY247" fmla="*/ 1171483 h 1202560"/>
                  <a:gd name="connsiteX248" fmla="*/ 133288 w 663217"/>
                  <a:gd name="connsiteY248" fmla="*/ 1177960 h 1202560"/>
                  <a:gd name="connsiteX249" fmla="*/ 115589 w 663217"/>
                  <a:gd name="connsiteY249" fmla="*/ 1185516 h 1202560"/>
                  <a:gd name="connsiteX250" fmla="*/ 106186 w 663217"/>
                  <a:gd name="connsiteY250" fmla="*/ 1202247 h 1202560"/>
                  <a:gd name="connsiteX251" fmla="*/ 91253 w 663217"/>
                  <a:gd name="connsiteY251" fmla="*/ 1185516 h 1202560"/>
                  <a:gd name="connsiteX252" fmla="*/ 70788 w 663217"/>
                  <a:gd name="connsiteY252" fmla="*/ 1186056 h 1202560"/>
                  <a:gd name="connsiteX253" fmla="*/ 71895 w 663217"/>
                  <a:gd name="connsiteY253" fmla="*/ 1175801 h 1202560"/>
                  <a:gd name="connsiteX254" fmla="*/ 78532 w 663217"/>
                  <a:gd name="connsiteY254" fmla="*/ 1172562 h 1202560"/>
                  <a:gd name="connsiteX255" fmla="*/ 96784 w 663217"/>
                  <a:gd name="connsiteY255" fmla="*/ 1167165 h 1202560"/>
                  <a:gd name="connsiteX256" fmla="*/ 118354 w 663217"/>
                  <a:gd name="connsiteY256" fmla="*/ 1155831 h 1202560"/>
                  <a:gd name="connsiteX257" fmla="*/ 121120 w 663217"/>
                  <a:gd name="connsiteY257" fmla="*/ 1152053 h 1202560"/>
                  <a:gd name="connsiteX258" fmla="*/ 136053 w 663217"/>
                  <a:gd name="connsiteY258" fmla="*/ 1138020 h 1202560"/>
                  <a:gd name="connsiteX259" fmla="*/ 147668 w 663217"/>
                  <a:gd name="connsiteY259" fmla="*/ 1132623 h 1202560"/>
                  <a:gd name="connsiteX260" fmla="*/ 164261 w 663217"/>
                  <a:gd name="connsiteY260" fmla="*/ 1119670 h 1202560"/>
                  <a:gd name="connsiteX261" fmla="*/ 172004 w 663217"/>
                  <a:gd name="connsiteY261" fmla="*/ 1104557 h 1202560"/>
                  <a:gd name="connsiteX262" fmla="*/ 175876 w 663217"/>
                  <a:gd name="connsiteY262" fmla="*/ 1093763 h 1202560"/>
                  <a:gd name="connsiteX263" fmla="*/ 197999 w 663217"/>
                  <a:gd name="connsiteY263" fmla="*/ 1090524 h 1202560"/>
                  <a:gd name="connsiteX264" fmla="*/ 201318 w 663217"/>
                  <a:gd name="connsiteY264" fmla="*/ 1074873 h 1202560"/>
                  <a:gd name="connsiteX265" fmla="*/ 238375 w 663217"/>
                  <a:gd name="connsiteY265" fmla="*/ 1074873 h 1202560"/>
                  <a:gd name="connsiteX266" fmla="*/ 249990 w 663217"/>
                  <a:gd name="connsiteY266" fmla="*/ 1076492 h 1202560"/>
                  <a:gd name="connsiteX267" fmla="*/ 265477 w 663217"/>
                  <a:gd name="connsiteY267" fmla="*/ 1081349 h 1202560"/>
                  <a:gd name="connsiteX268" fmla="*/ 297003 w 663217"/>
                  <a:gd name="connsiteY268" fmla="*/ 1081889 h 1202560"/>
                  <a:gd name="connsiteX269" fmla="*/ 299215 w 663217"/>
                  <a:gd name="connsiteY269" fmla="*/ 1072714 h 1202560"/>
                  <a:gd name="connsiteX270" fmla="*/ 300322 w 663217"/>
                  <a:gd name="connsiteY270" fmla="*/ 1068936 h 1202560"/>
                  <a:gd name="connsiteX271" fmla="*/ 324658 w 663217"/>
                  <a:gd name="connsiteY271" fmla="*/ 1048966 h 1202560"/>
                  <a:gd name="connsiteX272" fmla="*/ 342910 w 663217"/>
                  <a:gd name="connsiteY272" fmla="*/ 1025758 h 1202560"/>
                  <a:gd name="connsiteX273" fmla="*/ 342910 w 663217"/>
                  <a:gd name="connsiteY273" fmla="*/ 1024138 h 1202560"/>
                  <a:gd name="connsiteX274" fmla="*/ 340697 w 663217"/>
                  <a:gd name="connsiteY274" fmla="*/ 1024138 h 1202560"/>
                  <a:gd name="connsiteX275" fmla="*/ 322998 w 663217"/>
                  <a:gd name="connsiteY275" fmla="*/ 1036012 h 1202560"/>
                  <a:gd name="connsiteX276" fmla="*/ 311383 w 663217"/>
                  <a:gd name="connsiteY276" fmla="*/ 1041949 h 1202560"/>
                  <a:gd name="connsiteX277" fmla="*/ 293131 w 663217"/>
                  <a:gd name="connsiteY277" fmla="*/ 1045188 h 1202560"/>
                  <a:gd name="connsiteX278" fmla="*/ 265477 w 663217"/>
                  <a:gd name="connsiteY278" fmla="*/ 1059760 h 1202560"/>
                  <a:gd name="connsiteX279" fmla="*/ 234504 w 663217"/>
                  <a:gd name="connsiteY279" fmla="*/ 1028456 h 1202560"/>
                  <a:gd name="connsiteX280" fmla="*/ 206296 w 663217"/>
                  <a:gd name="connsiteY280" fmla="*/ 1030075 h 1202560"/>
                  <a:gd name="connsiteX281" fmla="*/ 215145 w 663217"/>
                  <a:gd name="connsiteY281" fmla="*/ 1020900 h 1202560"/>
                  <a:gd name="connsiteX282" fmla="*/ 205190 w 663217"/>
                  <a:gd name="connsiteY282" fmla="*/ 1012804 h 1202560"/>
                  <a:gd name="connsiteX283" fmla="*/ 201871 w 663217"/>
                  <a:gd name="connsiteY283" fmla="*/ 1002550 h 1202560"/>
                  <a:gd name="connsiteX284" fmla="*/ 189703 w 663217"/>
                  <a:gd name="connsiteY284" fmla="*/ 1006328 h 1202560"/>
                  <a:gd name="connsiteX285" fmla="*/ 176982 w 663217"/>
                  <a:gd name="connsiteY285" fmla="*/ 1007947 h 1202560"/>
                  <a:gd name="connsiteX286" fmla="*/ 164261 w 663217"/>
                  <a:gd name="connsiteY286" fmla="*/ 1014963 h 1202560"/>
                  <a:gd name="connsiteX287" fmla="*/ 150434 w 663217"/>
                  <a:gd name="connsiteY287" fmla="*/ 1012804 h 1202560"/>
                  <a:gd name="connsiteX288" fmla="*/ 143243 w 663217"/>
                  <a:gd name="connsiteY288" fmla="*/ 1001470 h 1202560"/>
                  <a:gd name="connsiteX289" fmla="*/ 149880 w 663217"/>
                  <a:gd name="connsiteY289" fmla="*/ 985818 h 1202560"/>
                  <a:gd name="connsiteX290" fmla="*/ 139372 w 663217"/>
                  <a:gd name="connsiteY290" fmla="*/ 979881 h 1202560"/>
                  <a:gd name="connsiteX291" fmla="*/ 141584 w 663217"/>
                  <a:gd name="connsiteY291" fmla="*/ 973944 h 1202560"/>
                  <a:gd name="connsiteX292" fmla="*/ 155965 w 663217"/>
                  <a:gd name="connsiteY292" fmla="*/ 968007 h 1202560"/>
                  <a:gd name="connsiteX293" fmla="*/ 159283 w 663217"/>
                  <a:gd name="connsiteY293" fmla="*/ 965309 h 1202560"/>
                  <a:gd name="connsiteX294" fmla="*/ 175323 w 663217"/>
                  <a:gd name="connsiteY294" fmla="*/ 963150 h 1202560"/>
                  <a:gd name="connsiteX295" fmla="*/ 207402 w 663217"/>
                  <a:gd name="connsiteY295" fmla="*/ 954514 h 1202560"/>
                  <a:gd name="connsiteX296" fmla="*/ 233397 w 663217"/>
                  <a:gd name="connsiteY296" fmla="*/ 935084 h 1202560"/>
                  <a:gd name="connsiteX297" fmla="*/ 239481 w 663217"/>
                  <a:gd name="connsiteY297" fmla="*/ 912955 h 1202560"/>
                  <a:gd name="connsiteX298" fmla="*/ 240034 w 663217"/>
                  <a:gd name="connsiteY298" fmla="*/ 904860 h 1202560"/>
                  <a:gd name="connsiteX299" fmla="*/ 243353 w 663217"/>
                  <a:gd name="connsiteY299" fmla="*/ 890827 h 1202560"/>
                  <a:gd name="connsiteX300" fmla="*/ 232844 w 663217"/>
                  <a:gd name="connsiteY300" fmla="*/ 875715 h 1202560"/>
                  <a:gd name="connsiteX301" fmla="*/ 220123 w 663217"/>
                  <a:gd name="connsiteY301" fmla="*/ 874635 h 1202560"/>
                  <a:gd name="connsiteX302" fmla="*/ 212933 w 663217"/>
                  <a:gd name="connsiteY302" fmla="*/ 878413 h 1202560"/>
                  <a:gd name="connsiteX303" fmla="*/ 198553 w 663217"/>
                  <a:gd name="connsiteY303" fmla="*/ 877334 h 1202560"/>
                  <a:gd name="connsiteX304" fmla="*/ 197999 w 663217"/>
                  <a:gd name="connsiteY304" fmla="*/ 875175 h 1202560"/>
                  <a:gd name="connsiteX305" fmla="*/ 228420 w 663217"/>
                  <a:gd name="connsiteY305" fmla="*/ 854665 h 1202560"/>
                  <a:gd name="connsiteX306" fmla="*/ 234504 w 663217"/>
                  <a:gd name="connsiteY306" fmla="*/ 844950 h 1202560"/>
                  <a:gd name="connsiteX307" fmla="*/ 242247 w 663217"/>
                  <a:gd name="connsiteY307" fmla="*/ 838474 h 1202560"/>
                  <a:gd name="connsiteX308" fmla="*/ 300875 w 663217"/>
                  <a:gd name="connsiteY308" fmla="*/ 831457 h 1202560"/>
                  <a:gd name="connsiteX309" fmla="*/ 306959 w 663217"/>
                  <a:gd name="connsiteY309" fmla="*/ 831997 h 1202560"/>
                  <a:gd name="connsiteX310" fmla="*/ 320786 w 663217"/>
                  <a:gd name="connsiteY310" fmla="*/ 841712 h 1202560"/>
                  <a:gd name="connsiteX311" fmla="*/ 321339 w 663217"/>
                  <a:gd name="connsiteY311" fmla="*/ 833076 h 1202560"/>
                  <a:gd name="connsiteX312" fmla="*/ 326870 w 663217"/>
                  <a:gd name="connsiteY312" fmla="*/ 821742 h 1202560"/>
                  <a:gd name="connsiteX313" fmla="*/ 329082 w 663217"/>
                  <a:gd name="connsiteY313" fmla="*/ 807709 h 1202560"/>
                  <a:gd name="connsiteX314" fmla="*/ 335166 w 663217"/>
                  <a:gd name="connsiteY314" fmla="*/ 799614 h 1202560"/>
                  <a:gd name="connsiteX315" fmla="*/ 344016 w 663217"/>
                  <a:gd name="connsiteY315" fmla="*/ 793137 h 1202560"/>
                  <a:gd name="connsiteX316" fmla="*/ 338485 w 663217"/>
                  <a:gd name="connsiteY316" fmla="*/ 784501 h 1202560"/>
                  <a:gd name="connsiteX317" fmla="*/ 338485 w 663217"/>
                  <a:gd name="connsiteY317" fmla="*/ 771548 h 1202560"/>
                  <a:gd name="connsiteX318" fmla="*/ 348994 w 663217"/>
                  <a:gd name="connsiteY318" fmla="*/ 761293 h 1202560"/>
                  <a:gd name="connsiteX319" fmla="*/ 352312 w 663217"/>
                  <a:gd name="connsiteY319" fmla="*/ 752118 h 1202560"/>
                  <a:gd name="connsiteX320" fmla="*/ 356184 w 663217"/>
                  <a:gd name="connsiteY320" fmla="*/ 745641 h 1202560"/>
                  <a:gd name="connsiteX321" fmla="*/ 356184 w 663217"/>
                  <a:gd name="connsiteY321" fmla="*/ 739165 h 1202560"/>
                  <a:gd name="connsiteX322" fmla="*/ 355078 w 663217"/>
                  <a:gd name="connsiteY322" fmla="*/ 736466 h 1202560"/>
                  <a:gd name="connsiteX323" fmla="*/ 346781 w 663217"/>
                  <a:gd name="connsiteY323" fmla="*/ 735926 h 1202560"/>
                  <a:gd name="connsiteX324" fmla="*/ 325764 w 663217"/>
                  <a:gd name="connsiteY324" fmla="*/ 748340 h 1202560"/>
                  <a:gd name="connsiteX325" fmla="*/ 325211 w 663217"/>
                  <a:gd name="connsiteY325" fmla="*/ 732148 h 1202560"/>
                  <a:gd name="connsiteX326" fmla="*/ 322998 w 663217"/>
                  <a:gd name="connsiteY326" fmla="*/ 727830 h 1202560"/>
                  <a:gd name="connsiteX327" fmla="*/ 314702 w 663217"/>
                  <a:gd name="connsiteY327" fmla="*/ 702463 h 1202560"/>
                  <a:gd name="connsiteX328" fmla="*/ 309171 w 663217"/>
                  <a:gd name="connsiteY328" fmla="*/ 690589 h 1202560"/>
                  <a:gd name="connsiteX329" fmla="*/ 308618 w 663217"/>
                  <a:gd name="connsiteY329" fmla="*/ 687891 h 1202560"/>
                  <a:gd name="connsiteX330" fmla="*/ 322998 w 663217"/>
                  <a:gd name="connsiteY330" fmla="*/ 663603 h 1202560"/>
                  <a:gd name="connsiteX331" fmla="*/ 327976 w 663217"/>
                  <a:gd name="connsiteY331" fmla="*/ 654428 h 1202560"/>
                  <a:gd name="connsiteX332" fmla="*/ 335719 w 663217"/>
                  <a:gd name="connsiteY332" fmla="*/ 649031 h 1202560"/>
                  <a:gd name="connsiteX333" fmla="*/ 352312 w 663217"/>
                  <a:gd name="connsiteY333" fmla="*/ 642014 h 1202560"/>
                  <a:gd name="connsiteX334" fmla="*/ 318574 w 663217"/>
                  <a:gd name="connsiteY334" fmla="*/ 637157 h 1202560"/>
                  <a:gd name="connsiteX335" fmla="*/ 316361 w 663217"/>
                  <a:gd name="connsiteY335" fmla="*/ 645792 h 1202560"/>
                  <a:gd name="connsiteX336" fmla="*/ 303087 w 663217"/>
                  <a:gd name="connsiteY336" fmla="*/ 649031 h 1202560"/>
                  <a:gd name="connsiteX337" fmla="*/ 288707 w 663217"/>
                  <a:gd name="connsiteY337" fmla="*/ 653888 h 1202560"/>
                  <a:gd name="connsiteX338" fmla="*/ 274879 w 663217"/>
                  <a:gd name="connsiteY338" fmla="*/ 645253 h 1202560"/>
                  <a:gd name="connsiteX339" fmla="*/ 267689 w 663217"/>
                  <a:gd name="connsiteY339" fmla="*/ 642014 h 1202560"/>
                  <a:gd name="connsiteX340" fmla="*/ 263264 w 663217"/>
                  <a:gd name="connsiteY340" fmla="*/ 639316 h 1202560"/>
                  <a:gd name="connsiteX341" fmla="*/ 262158 w 663217"/>
                  <a:gd name="connsiteY341" fmla="*/ 653888 h 1202560"/>
                  <a:gd name="connsiteX342" fmla="*/ 258287 w 663217"/>
                  <a:gd name="connsiteY342" fmla="*/ 659286 h 1202560"/>
                  <a:gd name="connsiteX343" fmla="*/ 230079 w 663217"/>
                  <a:gd name="connsiteY343" fmla="*/ 640935 h 1202560"/>
                  <a:gd name="connsiteX344" fmla="*/ 218464 w 663217"/>
                  <a:gd name="connsiteY344" fmla="*/ 659825 h 1202560"/>
                  <a:gd name="connsiteX345" fmla="*/ 215698 w 663217"/>
                  <a:gd name="connsiteY345" fmla="*/ 657127 h 1202560"/>
                  <a:gd name="connsiteX346" fmla="*/ 205190 w 663217"/>
                  <a:gd name="connsiteY346" fmla="*/ 633919 h 1202560"/>
                  <a:gd name="connsiteX347" fmla="*/ 208508 w 663217"/>
                  <a:gd name="connsiteY347" fmla="*/ 622045 h 1202560"/>
                  <a:gd name="connsiteX348" fmla="*/ 219017 w 663217"/>
                  <a:gd name="connsiteY348" fmla="*/ 612330 h 1202560"/>
                  <a:gd name="connsiteX349" fmla="*/ 226760 w 663217"/>
                  <a:gd name="connsiteY349" fmla="*/ 600456 h 1202560"/>
                  <a:gd name="connsiteX350" fmla="*/ 236163 w 663217"/>
                  <a:gd name="connsiteY350" fmla="*/ 590741 h 1202560"/>
                  <a:gd name="connsiteX351" fmla="*/ 242800 w 663217"/>
                  <a:gd name="connsiteY351" fmla="*/ 577787 h 1202560"/>
                  <a:gd name="connsiteX352" fmla="*/ 254968 w 663217"/>
                  <a:gd name="connsiteY352" fmla="*/ 564834 h 1202560"/>
                  <a:gd name="connsiteX353" fmla="*/ 246672 w 663217"/>
                  <a:gd name="connsiteY353" fmla="*/ 541086 h 1202560"/>
                  <a:gd name="connsiteX354" fmla="*/ 251096 w 663217"/>
                  <a:gd name="connsiteY354" fmla="*/ 519497 h 1202560"/>
                  <a:gd name="connsiteX355" fmla="*/ 261052 w 663217"/>
                  <a:gd name="connsiteY355" fmla="*/ 506004 h 1202560"/>
                  <a:gd name="connsiteX356" fmla="*/ 257180 w 663217"/>
                  <a:gd name="connsiteY356" fmla="*/ 488733 h 1202560"/>
                  <a:gd name="connsiteX357" fmla="*/ 251649 w 663217"/>
                  <a:gd name="connsiteY357" fmla="*/ 490352 h 1202560"/>
                  <a:gd name="connsiteX358" fmla="*/ 252203 w 663217"/>
                  <a:gd name="connsiteY358" fmla="*/ 493590 h 1202560"/>
                  <a:gd name="connsiteX359" fmla="*/ 251649 w 663217"/>
                  <a:gd name="connsiteY359" fmla="*/ 502766 h 1202560"/>
                  <a:gd name="connsiteX360" fmla="*/ 246119 w 663217"/>
                  <a:gd name="connsiteY360" fmla="*/ 513021 h 1202560"/>
                  <a:gd name="connsiteX361" fmla="*/ 240588 w 663217"/>
                  <a:gd name="connsiteY361" fmla="*/ 511941 h 1202560"/>
                  <a:gd name="connsiteX362" fmla="*/ 234504 w 663217"/>
                  <a:gd name="connsiteY362" fmla="*/ 503845 h 1202560"/>
                  <a:gd name="connsiteX363" fmla="*/ 227866 w 663217"/>
                  <a:gd name="connsiteY363" fmla="*/ 511401 h 1202560"/>
                  <a:gd name="connsiteX364" fmla="*/ 222336 w 663217"/>
                  <a:gd name="connsiteY364" fmla="*/ 508163 h 1202560"/>
                  <a:gd name="connsiteX365" fmla="*/ 223995 w 663217"/>
                  <a:gd name="connsiteY365" fmla="*/ 496829 h 1202560"/>
                  <a:gd name="connsiteX366" fmla="*/ 213486 w 663217"/>
                  <a:gd name="connsiteY366" fmla="*/ 496829 h 1202560"/>
                  <a:gd name="connsiteX367" fmla="*/ 211827 w 663217"/>
                  <a:gd name="connsiteY367" fmla="*/ 519497 h 1202560"/>
                  <a:gd name="connsiteX368" fmla="*/ 197999 w 663217"/>
                  <a:gd name="connsiteY368" fmla="*/ 517338 h 1202560"/>
                  <a:gd name="connsiteX369" fmla="*/ 195787 w 663217"/>
                  <a:gd name="connsiteY369" fmla="*/ 513560 h 1202560"/>
                  <a:gd name="connsiteX370" fmla="*/ 197999 w 663217"/>
                  <a:gd name="connsiteY370" fmla="*/ 502226 h 1202560"/>
                  <a:gd name="connsiteX371" fmla="*/ 210721 w 663217"/>
                  <a:gd name="connsiteY371" fmla="*/ 480637 h 1202560"/>
                  <a:gd name="connsiteX372" fmla="*/ 210168 w 663217"/>
                  <a:gd name="connsiteY372" fmla="*/ 472541 h 1202560"/>
                  <a:gd name="connsiteX373" fmla="*/ 214039 w 663217"/>
                  <a:gd name="connsiteY373" fmla="*/ 460667 h 1202560"/>
                  <a:gd name="connsiteX374" fmla="*/ 226760 w 663217"/>
                  <a:gd name="connsiteY374" fmla="*/ 440158 h 1202560"/>
                  <a:gd name="connsiteX375" fmla="*/ 550872 w 663217"/>
                  <a:gd name="connsiteY375" fmla="*/ 44001 h 1202560"/>
                  <a:gd name="connsiteX376" fmla="*/ 543682 w 663217"/>
                  <a:gd name="connsiteY376" fmla="*/ 46700 h 1202560"/>
                  <a:gd name="connsiteX377" fmla="*/ 537598 w 663217"/>
                  <a:gd name="connsiteY377" fmla="*/ 31048 h 1202560"/>
                  <a:gd name="connsiteX378" fmla="*/ 548660 w 663217"/>
                  <a:gd name="connsiteY378" fmla="*/ 26730 h 1202560"/>
                  <a:gd name="connsiteX379" fmla="*/ 550319 w 663217"/>
                  <a:gd name="connsiteY379" fmla="*/ 15396 h 1202560"/>
                  <a:gd name="connsiteX380" fmla="*/ 548107 w 663217"/>
                  <a:gd name="connsiteY380" fmla="*/ 11618 h 1202560"/>
                  <a:gd name="connsiteX381" fmla="*/ 557509 w 663217"/>
                  <a:gd name="connsiteY381" fmla="*/ -256 h 1202560"/>
                  <a:gd name="connsiteX382" fmla="*/ 559169 w 663217"/>
                  <a:gd name="connsiteY382" fmla="*/ 1363 h 1202560"/>
                  <a:gd name="connsiteX383" fmla="*/ 569677 w 663217"/>
                  <a:gd name="connsiteY383" fmla="*/ 26730 h 1202560"/>
                  <a:gd name="connsiteX384" fmla="*/ 566359 w 663217"/>
                  <a:gd name="connsiteY384" fmla="*/ 37524 h 1202560"/>
                  <a:gd name="connsiteX385" fmla="*/ 565806 w 663217"/>
                  <a:gd name="connsiteY385" fmla="*/ 48858 h 1202560"/>
                  <a:gd name="connsiteX386" fmla="*/ 559722 w 663217"/>
                  <a:gd name="connsiteY386" fmla="*/ 57494 h 1202560"/>
                  <a:gd name="connsiteX387" fmla="*/ 553638 w 663217"/>
                  <a:gd name="connsiteY387" fmla="*/ 79623 h 1202560"/>
                  <a:gd name="connsiteX388" fmla="*/ 547554 w 663217"/>
                  <a:gd name="connsiteY388" fmla="*/ 82861 h 1202560"/>
                  <a:gd name="connsiteX389" fmla="*/ 550872 w 663217"/>
                  <a:gd name="connsiteY389" fmla="*/ 44001 h 1202560"/>
                  <a:gd name="connsiteX390" fmla="*/ 427533 w 663217"/>
                  <a:gd name="connsiteY390" fmla="*/ 157883 h 1202560"/>
                  <a:gd name="connsiteX391" fmla="*/ 428639 w 663217"/>
                  <a:gd name="connsiteY391" fmla="*/ 160581 h 1202560"/>
                  <a:gd name="connsiteX392" fmla="*/ 429192 w 663217"/>
                  <a:gd name="connsiteY392" fmla="*/ 167058 h 1202560"/>
                  <a:gd name="connsiteX393" fmla="*/ 446338 w 663217"/>
                  <a:gd name="connsiteY393" fmla="*/ 178392 h 1202560"/>
                  <a:gd name="connsiteX394" fmla="*/ 436935 w 663217"/>
                  <a:gd name="connsiteY394" fmla="*/ 182170 h 1202560"/>
                  <a:gd name="connsiteX395" fmla="*/ 433617 w 663217"/>
                  <a:gd name="connsiteY395" fmla="*/ 178392 h 1202560"/>
                  <a:gd name="connsiteX396" fmla="*/ 419789 w 663217"/>
                  <a:gd name="connsiteY396" fmla="*/ 177313 h 1202560"/>
                  <a:gd name="connsiteX397" fmla="*/ 417577 w 663217"/>
                  <a:gd name="connsiteY397" fmla="*/ 169756 h 1202560"/>
                  <a:gd name="connsiteX398" fmla="*/ 409834 w 663217"/>
                  <a:gd name="connsiteY398" fmla="*/ 167598 h 1202560"/>
                  <a:gd name="connsiteX399" fmla="*/ 415918 w 663217"/>
                  <a:gd name="connsiteY399" fmla="*/ 155724 h 1202560"/>
                  <a:gd name="connsiteX400" fmla="*/ 426427 w 663217"/>
                  <a:gd name="connsiteY400" fmla="*/ 156263 h 1202560"/>
                  <a:gd name="connsiteX401" fmla="*/ 427533 w 663217"/>
                  <a:gd name="connsiteY401" fmla="*/ 157883 h 1202560"/>
                  <a:gd name="connsiteX402" fmla="*/ 212933 w 663217"/>
                  <a:gd name="connsiteY402" fmla="*/ 226427 h 1202560"/>
                  <a:gd name="connsiteX403" fmla="*/ 217358 w 663217"/>
                  <a:gd name="connsiteY403" fmla="*/ 227507 h 1202560"/>
                  <a:gd name="connsiteX404" fmla="*/ 221782 w 663217"/>
                  <a:gd name="connsiteY404" fmla="*/ 228047 h 1202560"/>
                  <a:gd name="connsiteX405" fmla="*/ 219570 w 663217"/>
                  <a:gd name="connsiteY405" fmla="*/ 233444 h 1202560"/>
                  <a:gd name="connsiteX406" fmla="*/ 205190 w 663217"/>
                  <a:gd name="connsiteY406" fmla="*/ 233444 h 1202560"/>
                  <a:gd name="connsiteX407" fmla="*/ 203530 w 663217"/>
                  <a:gd name="connsiteY407" fmla="*/ 239381 h 1202560"/>
                  <a:gd name="connsiteX408" fmla="*/ 200765 w 663217"/>
                  <a:gd name="connsiteY408" fmla="*/ 242619 h 1202560"/>
                  <a:gd name="connsiteX409" fmla="*/ 198553 w 663217"/>
                  <a:gd name="connsiteY409" fmla="*/ 250175 h 1202560"/>
                  <a:gd name="connsiteX410" fmla="*/ 191915 w 663217"/>
                  <a:gd name="connsiteY410" fmla="*/ 253414 h 1202560"/>
                  <a:gd name="connsiteX411" fmla="*/ 186385 w 663217"/>
                  <a:gd name="connsiteY411" fmla="*/ 257731 h 1202560"/>
                  <a:gd name="connsiteX412" fmla="*/ 181960 w 663217"/>
                  <a:gd name="connsiteY412" fmla="*/ 253953 h 1202560"/>
                  <a:gd name="connsiteX413" fmla="*/ 173663 w 663217"/>
                  <a:gd name="connsiteY413" fmla="*/ 264208 h 1202560"/>
                  <a:gd name="connsiteX414" fmla="*/ 167026 w 663217"/>
                  <a:gd name="connsiteY414" fmla="*/ 267446 h 1202560"/>
                  <a:gd name="connsiteX415" fmla="*/ 156518 w 663217"/>
                  <a:gd name="connsiteY415" fmla="*/ 272844 h 1202560"/>
                  <a:gd name="connsiteX416" fmla="*/ 153752 w 663217"/>
                  <a:gd name="connsiteY416" fmla="*/ 271764 h 1202560"/>
                  <a:gd name="connsiteX417" fmla="*/ 152093 w 663217"/>
                  <a:gd name="connsiteY417" fmla="*/ 269605 h 1202560"/>
                  <a:gd name="connsiteX418" fmla="*/ 160389 w 663217"/>
                  <a:gd name="connsiteY418" fmla="*/ 256112 h 1202560"/>
                  <a:gd name="connsiteX419" fmla="*/ 155411 w 663217"/>
                  <a:gd name="connsiteY419" fmla="*/ 245857 h 1202560"/>
                  <a:gd name="connsiteX420" fmla="*/ 158177 w 663217"/>
                  <a:gd name="connsiteY420" fmla="*/ 226427 h 1202560"/>
                  <a:gd name="connsiteX421" fmla="*/ 167026 w 663217"/>
                  <a:gd name="connsiteY421" fmla="*/ 222649 h 1202560"/>
                  <a:gd name="connsiteX422" fmla="*/ 179194 w 663217"/>
                  <a:gd name="connsiteY422" fmla="*/ 229126 h 1202560"/>
                  <a:gd name="connsiteX423" fmla="*/ 182513 w 663217"/>
                  <a:gd name="connsiteY423" fmla="*/ 226427 h 1202560"/>
                  <a:gd name="connsiteX424" fmla="*/ 183619 w 663217"/>
                  <a:gd name="connsiteY424" fmla="*/ 214554 h 1202560"/>
                  <a:gd name="connsiteX425" fmla="*/ 199106 w 663217"/>
                  <a:gd name="connsiteY425" fmla="*/ 210236 h 1202560"/>
                  <a:gd name="connsiteX426" fmla="*/ 215698 w 663217"/>
                  <a:gd name="connsiteY426" fmla="*/ 197822 h 1202560"/>
                  <a:gd name="connsiteX427" fmla="*/ 220123 w 663217"/>
                  <a:gd name="connsiteY427" fmla="*/ 199981 h 1202560"/>
                  <a:gd name="connsiteX428" fmla="*/ 220676 w 663217"/>
                  <a:gd name="connsiteY428" fmla="*/ 213474 h 1202560"/>
                  <a:gd name="connsiteX429" fmla="*/ 213486 w 663217"/>
                  <a:gd name="connsiteY429" fmla="*/ 223189 h 1202560"/>
                  <a:gd name="connsiteX430" fmla="*/ 212933 w 663217"/>
                  <a:gd name="connsiteY430" fmla="*/ 226427 h 1202560"/>
                  <a:gd name="connsiteX431" fmla="*/ 205743 w 663217"/>
                  <a:gd name="connsiteY431" fmla="*/ 352183 h 1202560"/>
                  <a:gd name="connsiteX432" fmla="*/ 202977 w 663217"/>
                  <a:gd name="connsiteY432" fmla="*/ 350564 h 1202560"/>
                  <a:gd name="connsiteX433" fmla="*/ 199106 w 663217"/>
                  <a:gd name="connsiteY433" fmla="*/ 354342 h 1202560"/>
                  <a:gd name="connsiteX434" fmla="*/ 188044 w 663217"/>
                  <a:gd name="connsiteY434" fmla="*/ 352183 h 1202560"/>
                  <a:gd name="connsiteX435" fmla="*/ 179747 w 663217"/>
                  <a:gd name="connsiteY435" fmla="*/ 339230 h 1202560"/>
                  <a:gd name="connsiteX436" fmla="*/ 180301 w 663217"/>
                  <a:gd name="connsiteY436" fmla="*/ 330594 h 1202560"/>
                  <a:gd name="connsiteX437" fmla="*/ 174770 w 663217"/>
                  <a:gd name="connsiteY437" fmla="*/ 324117 h 1202560"/>
                  <a:gd name="connsiteX438" fmla="*/ 162602 w 663217"/>
                  <a:gd name="connsiteY438" fmla="*/ 315482 h 1202560"/>
                  <a:gd name="connsiteX439" fmla="*/ 163155 w 663217"/>
                  <a:gd name="connsiteY439" fmla="*/ 313323 h 1202560"/>
                  <a:gd name="connsiteX440" fmla="*/ 172004 w 663217"/>
                  <a:gd name="connsiteY440" fmla="*/ 311704 h 1202560"/>
                  <a:gd name="connsiteX441" fmla="*/ 176429 w 663217"/>
                  <a:gd name="connsiteY441" fmla="*/ 310085 h 1202560"/>
                  <a:gd name="connsiteX442" fmla="*/ 189703 w 663217"/>
                  <a:gd name="connsiteY442" fmla="*/ 312243 h 1202560"/>
                  <a:gd name="connsiteX443" fmla="*/ 190256 w 663217"/>
                  <a:gd name="connsiteY443" fmla="*/ 297671 h 1202560"/>
                  <a:gd name="connsiteX444" fmla="*/ 195787 w 663217"/>
                  <a:gd name="connsiteY444" fmla="*/ 294972 h 1202560"/>
                  <a:gd name="connsiteX445" fmla="*/ 199106 w 663217"/>
                  <a:gd name="connsiteY445" fmla="*/ 301989 h 1202560"/>
                  <a:gd name="connsiteX446" fmla="*/ 197446 w 663217"/>
                  <a:gd name="connsiteY446" fmla="*/ 321419 h 1202560"/>
                  <a:gd name="connsiteX447" fmla="*/ 200765 w 663217"/>
                  <a:gd name="connsiteY447" fmla="*/ 330594 h 1202560"/>
                  <a:gd name="connsiteX448" fmla="*/ 205743 w 663217"/>
                  <a:gd name="connsiteY448" fmla="*/ 334912 h 1202560"/>
                  <a:gd name="connsiteX449" fmla="*/ 212933 w 663217"/>
                  <a:gd name="connsiteY449" fmla="*/ 342468 h 1202560"/>
                  <a:gd name="connsiteX450" fmla="*/ 217911 w 663217"/>
                  <a:gd name="connsiteY450" fmla="*/ 344627 h 1202560"/>
                  <a:gd name="connsiteX451" fmla="*/ 219017 w 663217"/>
                  <a:gd name="connsiteY451" fmla="*/ 347865 h 1202560"/>
                  <a:gd name="connsiteX452" fmla="*/ 217358 w 663217"/>
                  <a:gd name="connsiteY452" fmla="*/ 357580 h 1202560"/>
                  <a:gd name="connsiteX453" fmla="*/ 203530 w 663217"/>
                  <a:gd name="connsiteY453" fmla="*/ 372153 h 1202560"/>
                  <a:gd name="connsiteX454" fmla="*/ 199659 w 663217"/>
                  <a:gd name="connsiteY454" fmla="*/ 369454 h 1202560"/>
                  <a:gd name="connsiteX455" fmla="*/ 204084 w 663217"/>
                  <a:gd name="connsiteY455" fmla="*/ 364057 h 1202560"/>
                  <a:gd name="connsiteX456" fmla="*/ 205743 w 663217"/>
                  <a:gd name="connsiteY456" fmla="*/ 352183 h 1202560"/>
                  <a:gd name="connsiteX457" fmla="*/ 199106 w 663217"/>
                  <a:gd name="connsiteY457" fmla="*/ 437459 h 1202560"/>
                  <a:gd name="connsiteX458" fmla="*/ 204084 w 663217"/>
                  <a:gd name="connsiteY458" fmla="*/ 443396 h 1202560"/>
                  <a:gd name="connsiteX459" fmla="*/ 202977 w 663217"/>
                  <a:gd name="connsiteY459" fmla="*/ 449873 h 1202560"/>
                  <a:gd name="connsiteX460" fmla="*/ 200765 w 663217"/>
                  <a:gd name="connsiteY460" fmla="*/ 451492 h 1202560"/>
                  <a:gd name="connsiteX461" fmla="*/ 189150 w 663217"/>
                  <a:gd name="connsiteY461" fmla="*/ 451492 h 1202560"/>
                  <a:gd name="connsiteX462" fmla="*/ 172557 w 663217"/>
                  <a:gd name="connsiteY462" fmla="*/ 456889 h 1202560"/>
                  <a:gd name="connsiteX463" fmla="*/ 163708 w 663217"/>
                  <a:gd name="connsiteY463" fmla="*/ 455270 h 1202560"/>
                  <a:gd name="connsiteX464" fmla="*/ 162602 w 663217"/>
                  <a:gd name="connsiteY464" fmla="*/ 452572 h 1202560"/>
                  <a:gd name="connsiteX465" fmla="*/ 165367 w 663217"/>
                  <a:gd name="connsiteY465" fmla="*/ 449333 h 1202560"/>
                  <a:gd name="connsiteX466" fmla="*/ 176982 w 663217"/>
                  <a:gd name="connsiteY466" fmla="*/ 445015 h 1202560"/>
                  <a:gd name="connsiteX467" fmla="*/ 179747 w 663217"/>
                  <a:gd name="connsiteY467" fmla="*/ 441777 h 1202560"/>
                  <a:gd name="connsiteX468" fmla="*/ 179194 w 663217"/>
                  <a:gd name="connsiteY468" fmla="*/ 438539 h 1202560"/>
                  <a:gd name="connsiteX469" fmla="*/ 172004 w 663217"/>
                  <a:gd name="connsiteY469" fmla="*/ 430983 h 1202560"/>
                  <a:gd name="connsiteX470" fmla="*/ 169792 w 663217"/>
                  <a:gd name="connsiteY470" fmla="*/ 426665 h 1202560"/>
                  <a:gd name="connsiteX471" fmla="*/ 169792 w 663217"/>
                  <a:gd name="connsiteY471" fmla="*/ 423966 h 1202560"/>
                  <a:gd name="connsiteX472" fmla="*/ 172004 w 663217"/>
                  <a:gd name="connsiteY472" fmla="*/ 420188 h 1202560"/>
                  <a:gd name="connsiteX473" fmla="*/ 175876 w 663217"/>
                  <a:gd name="connsiteY473" fmla="*/ 418029 h 1202560"/>
                  <a:gd name="connsiteX474" fmla="*/ 177535 w 663217"/>
                  <a:gd name="connsiteY474" fmla="*/ 416410 h 1202560"/>
                  <a:gd name="connsiteX475" fmla="*/ 179747 w 663217"/>
                  <a:gd name="connsiteY475" fmla="*/ 416950 h 1202560"/>
                  <a:gd name="connsiteX476" fmla="*/ 181960 w 663217"/>
                  <a:gd name="connsiteY476" fmla="*/ 419109 h 1202560"/>
                  <a:gd name="connsiteX477" fmla="*/ 188044 w 663217"/>
                  <a:gd name="connsiteY477" fmla="*/ 430443 h 1202560"/>
                  <a:gd name="connsiteX478" fmla="*/ 199106 w 663217"/>
                  <a:gd name="connsiteY478" fmla="*/ 437459 h 1202560"/>
                  <a:gd name="connsiteX479" fmla="*/ 205743 w 663217"/>
                  <a:gd name="connsiteY479" fmla="*/ 536768 h 1202560"/>
                  <a:gd name="connsiteX480" fmla="*/ 198553 w 663217"/>
                  <a:gd name="connsiteY480" fmla="*/ 551881 h 1202560"/>
                  <a:gd name="connsiteX481" fmla="*/ 191362 w 663217"/>
                  <a:gd name="connsiteY481" fmla="*/ 570771 h 1202560"/>
                  <a:gd name="connsiteX482" fmla="*/ 175323 w 663217"/>
                  <a:gd name="connsiteY482" fmla="*/ 574009 h 1202560"/>
                  <a:gd name="connsiteX483" fmla="*/ 174217 w 663217"/>
                  <a:gd name="connsiteY483" fmla="*/ 570231 h 1202560"/>
                  <a:gd name="connsiteX484" fmla="*/ 174770 w 663217"/>
                  <a:gd name="connsiteY484" fmla="*/ 566453 h 1202560"/>
                  <a:gd name="connsiteX485" fmla="*/ 182513 w 663217"/>
                  <a:gd name="connsiteY485" fmla="*/ 555659 h 1202560"/>
                  <a:gd name="connsiteX486" fmla="*/ 196893 w 663217"/>
                  <a:gd name="connsiteY486" fmla="*/ 529212 h 1202560"/>
                  <a:gd name="connsiteX487" fmla="*/ 200765 w 663217"/>
                  <a:gd name="connsiteY487" fmla="*/ 525974 h 1202560"/>
                  <a:gd name="connsiteX488" fmla="*/ 210168 w 663217"/>
                  <a:gd name="connsiteY488" fmla="*/ 525974 h 1202560"/>
                  <a:gd name="connsiteX489" fmla="*/ 205743 w 663217"/>
                  <a:gd name="connsiteY489" fmla="*/ 536768 h 1202560"/>
                  <a:gd name="connsiteX490" fmla="*/ 151540 w 663217"/>
                  <a:gd name="connsiteY490" fmla="*/ 535149 h 1202560"/>
                  <a:gd name="connsiteX491" fmla="*/ 146009 w 663217"/>
                  <a:gd name="connsiteY491" fmla="*/ 530292 h 1202560"/>
                  <a:gd name="connsiteX492" fmla="*/ 148221 w 663217"/>
                  <a:gd name="connsiteY492" fmla="*/ 525974 h 1202560"/>
                  <a:gd name="connsiteX493" fmla="*/ 149880 w 663217"/>
                  <a:gd name="connsiteY493" fmla="*/ 521116 h 1202560"/>
                  <a:gd name="connsiteX494" fmla="*/ 150987 w 663217"/>
                  <a:gd name="connsiteY494" fmla="*/ 514640 h 1202560"/>
                  <a:gd name="connsiteX495" fmla="*/ 148221 w 663217"/>
                  <a:gd name="connsiteY495" fmla="*/ 512481 h 1202560"/>
                  <a:gd name="connsiteX496" fmla="*/ 142690 w 663217"/>
                  <a:gd name="connsiteY496" fmla="*/ 519497 h 1202560"/>
                  <a:gd name="connsiteX497" fmla="*/ 137712 w 663217"/>
                  <a:gd name="connsiteY497" fmla="*/ 520037 h 1202560"/>
                  <a:gd name="connsiteX498" fmla="*/ 144903 w 663217"/>
                  <a:gd name="connsiteY498" fmla="*/ 503845 h 1202560"/>
                  <a:gd name="connsiteX499" fmla="*/ 158730 w 663217"/>
                  <a:gd name="connsiteY499" fmla="*/ 500067 h 1202560"/>
                  <a:gd name="connsiteX500" fmla="*/ 160389 w 663217"/>
                  <a:gd name="connsiteY500" fmla="*/ 510862 h 1202560"/>
                  <a:gd name="connsiteX501" fmla="*/ 163708 w 663217"/>
                  <a:gd name="connsiteY501" fmla="*/ 528133 h 1202560"/>
                  <a:gd name="connsiteX502" fmla="*/ 153752 w 663217"/>
                  <a:gd name="connsiteY502" fmla="*/ 532451 h 1202560"/>
                  <a:gd name="connsiteX503" fmla="*/ 151540 w 663217"/>
                  <a:gd name="connsiteY503" fmla="*/ 535149 h 1202560"/>
                  <a:gd name="connsiteX504" fmla="*/ 253862 w 663217"/>
                  <a:gd name="connsiteY504" fmla="*/ 697066 h 1202560"/>
                  <a:gd name="connsiteX505" fmla="*/ 252756 w 663217"/>
                  <a:gd name="connsiteY505" fmla="*/ 706241 h 1202560"/>
                  <a:gd name="connsiteX506" fmla="*/ 226760 w 663217"/>
                  <a:gd name="connsiteY506" fmla="*/ 732688 h 1202560"/>
                  <a:gd name="connsiteX507" fmla="*/ 224548 w 663217"/>
                  <a:gd name="connsiteY507" fmla="*/ 732688 h 1202560"/>
                  <a:gd name="connsiteX508" fmla="*/ 218464 w 663217"/>
                  <a:gd name="connsiteY508" fmla="*/ 727291 h 1202560"/>
                  <a:gd name="connsiteX509" fmla="*/ 219017 w 663217"/>
                  <a:gd name="connsiteY509" fmla="*/ 720814 h 1202560"/>
                  <a:gd name="connsiteX510" fmla="*/ 232291 w 663217"/>
                  <a:gd name="connsiteY510" fmla="*/ 709480 h 1202560"/>
                  <a:gd name="connsiteX511" fmla="*/ 239481 w 663217"/>
                  <a:gd name="connsiteY511" fmla="*/ 700844 h 1202560"/>
                  <a:gd name="connsiteX512" fmla="*/ 253862 w 663217"/>
                  <a:gd name="connsiteY512" fmla="*/ 697066 h 1202560"/>
                  <a:gd name="connsiteX513" fmla="*/ 227313 w 663217"/>
                  <a:gd name="connsiteY513" fmla="*/ 840633 h 1202560"/>
                  <a:gd name="connsiteX514" fmla="*/ 224548 w 663217"/>
                  <a:gd name="connsiteY514" fmla="*/ 840093 h 1202560"/>
                  <a:gd name="connsiteX515" fmla="*/ 217358 w 663217"/>
                  <a:gd name="connsiteY515" fmla="*/ 830378 h 1202560"/>
                  <a:gd name="connsiteX516" fmla="*/ 221782 w 663217"/>
                  <a:gd name="connsiteY516" fmla="*/ 809868 h 1202560"/>
                  <a:gd name="connsiteX517" fmla="*/ 227313 w 663217"/>
                  <a:gd name="connsiteY517" fmla="*/ 807170 h 1202560"/>
                  <a:gd name="connsiteX518" fmla="*/ 233950 w 663217"/>
                  <a:gd name="connsiteY518" fmla="*/ 807709 h 1202560"/>
                  <a:gd name="connsiteX519" fmla="*/ 240588 w 663217"/>
                  <a:gd name="connsiteY519" fmla="*/ 818504 h 1202560"/>
                  <a:gd name="connsiteX520" fmla="*/ 248884 w 663217"/>
                  <a:gd name="connsiteY520" fmla="*/ 823901 h 1202560"/>
                  <a:gd name="connsiteX521" fmla="*/ 248331 w 663217"/>
                  <a:gd name="connsiteY521" fmla="*/ 825520 h 1202560"/>
                  <a:gd name="connsiteX522" fmla="*/ 245012 w 663217"/>
                  <a:gd name="connsiteY522" fmla="*/ 827139 h 1202560"/>
                  <a:gd name="connsiteX523" fmla="*/ 227313 w 663217"/>
                  <a:gd name="connsiteY523" fmla="*/ 840633 h 1202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</a:cxnLst>
                <a:rect l="l" t="t" r="r" b="b"/>
                <a:pathLst>
                  <a:path w="663217" h="1202560">
                    <a:moveTo>
                      <a:pt x="400431" y="1157990"/>
                    </a:moveTo>
                    <a:cubicBezTo>
                      <a:pt x="404303" y="1156910"/>
                      <a:pt x="428086" y="1154212"/>
                      <a:pt x="428639" y="1159609"/>
                    </a:cubicBezTo>
                    <a:cubicBezTo>
                      <a:pt x="429192" y="1160149"/>
                      <a:pt x="428639" y="1162308"/>
                      <a:pt x="428086" y="1162847"/>
                    </a:cubicBezTo>
                    <a:cubicBezTo>
                      <a:pt x="426427" y="1165006"/>
                      <a:pt x="418683" y="1170404"/>
                      <a:pt x="415918" y="1170943"/>
                    </a:cubicBezTo>
                    <a:cubicBezTo>
                      <a:pt x="412046" y="1171483"/>
                      <a:pt x="392688" y="1168784"/>
                      <a:pt x="395453" y="1161768"/>
                    </a:cubicBezTo>
                    <a:cubicBezTo>
                      <a:pt x="396006" y="1160149"/>
                      <a:pt x="398772" y="1158530"/>
                      <a:pt x="400431" y="1157990"/>
                    </a:cubicBezTo>
                    <a:close/>
                    <a:moveTo>
                      <a:pt x="116142" y="711639"/>
                    </a:moveTo>
                    <a:lnTo>
                      <a:pt x="92912" y="710559"/>
                    </a:lnTo>
                    <a:lnTo>
                      <a:pt x="92359" y="692748"/>
                    </a:lnTo>
                    <a:lnTo>
                      <a:pt x="81297" y="684113"/>
                    </a:lnTo>
                    <a:lnTo>
                      <a:pt x="81850" y="675477"/>
                    </a:lnTo>
                    <a:lnTo>
                      <a:pt x="70235" y="659825"/>
                    </a:lnTo>
                    <a:lnTo>
                      <a:pt x="58620" y="670620"/>
                    </a:lnTo>
                    <a:lnTo>
                      <a:pt x="58067" y="683573"/>
                    </a:lnTo>
                    <a:lnTo>
                      <a:pt x="48665" y="692209"/>
                    </a:lnTo>
                    <a:lnTo>
                      <a:pt x="40921" y="684653"/>
                    </a:lnTo>
                    <a:lnTo>
                      <a:pt x="26541" y="682494"/>
                    </a:lnTo>
                    <a:lnTo>
                      <a:pt x="21010" y="676557"/>
                    </a:lnTo>
                    <a:lnTo>
                      <a:pt x="9948" y="671159"/>
                    </a:lnTo>
                    <a:lnTo>
                      <a:pt x="546" y="650650"/>
                    </a:lnTo>
                    <a:lnTo>
                      <a:pt x="-561" y="641475"/>
                    </a:lnTo>
                    <a:lnTo>
                      <a:pt x="12161" y="632839"/>
                    </a:lnTo>
                    <a:lnTo>
                      <a:pt x="19351" y="637157"/>
                    </a:lnTo>
                    <a:lnTo>
                      <a:pt x="27647" y="629061"/>
                    </a:lnTo>
                    <a:lnTo>
                      <a:pt x="21010" y="623124"/>
                    </a:lnTo>
                    <a:lnTo>
                      <a:pt x="21563" y="615568"/>
                    </a:lnTo>
                    <a:lnTo>
                      <a:pt x="27647" y="615028"/>
                    </a:lnTo>
                    <a:lnTo>
                      <a:pt x="33178" y="619346"/>
                    </a:lnTo>
                    <a:lnTo>
                      <a:pt x="45899" y="614489"/>
                    </a:lnTo>
                    <a:lnTo>
                      <a:pt x="58067" y="592360"/>
                    </a:lnTo>
                    <a:lnTo>
                      <a:pt x="74660" y="583724"/>
                    </a:lnTo>
                    <a:cubicBezTo>
                      <a:pt x="82956" y="585343"/>
                      <a:pt x="81297" y="582645"/>
                      <a:pt x="86275" y="580486"/>
                    </a:cubicBezTo>
                    <a:cubicBezTo>
                      <a:pt x="96784" y="575089"/>
                      <a:pt x="100102" y="579406"/>
                      <a:pt x="106739" y="577248"/>
                    </a:cubicBezTo>
                    <a:cubicBezTo>
                      <a:pt x="111164" y="576168"/>
                      <a:pt x="115589" y="574549"/>
                      <a:pt x="120567" y="574009"/>
                    </a:cubicBezTo>
                    <a:cubicBezTo>
                      <a:pt x="122226" y="574009"/>
                      <a:pt x="123885" y="574549"/>
                      <a:pt x="126098" y="574549"/>
                    </a:cubicBezTo>
                    <a:lnTo>
                      <a:pt x="127204" y="572930"/>
                    </a:lnTo>
                    <a:cubicBezTo>
                      <a:pt x="132182" y="573470"/>
                      <a:pt x="141584" y="576168"/>
                      <a:pt x="146009" y="578867"/>
                    </a:cubicBezTo>
                    <a:cubicBezTo>
                      <a:pt x="159836" y="587502"/>
                      <a:pt x="156518" y="608012"/>
                      <a:pt x="160389" y="621505"/>
                    </a:cubicBezTo>
                    <a:cubicBezTo>
                      <a:pt x="161495" y="624743"/>
                      <a:pt x="167026" y="630140"/>
                      <a:pt x="167579" y="633379"/>
                    </a:cubicBezTo>
                    <a:cubicBezTo>
                      <a:pt x="169239" y="639856"/>
                      <a:pt x="160389" y="642014"/>
                      <a:pt x="157071" y="644713"/>
                    </a:cubicBezTo>
                    <a:lnTo>
                      <a:pt x="155965" y="646872"/>
                    </a:lnTo>
                    <a:cubicBezTo>
                      <a:pt x="160389" y="648491"/>
                      <a:pt x="171451" y="649031"/>
                      <a:pt x="173663" y="650110"/>
                    </a:cubicBezTo>
                    <a:cubicBezTo>
                      <a:pt x="181407" y="652809"/>
                      <a:pt x="179747" y="678716"/>
                      <a:pt x="175876" y="684113"/>
                    </a:cubicBezTo>
                    <a:lnTo>
                      <a:pt x="174217" y="684113"/>
                    </a:lnTo>
                    <a:cubicBezTo>
                      <a:pt x="172004" y="678716"/>
                      <a:pt x="175323" y="671159"/>
                      <a:pt x="168686" y="669001"/>
                    </a:cubicBezTo>
                    <a:lnTo>
                      <a:pt x="167026" y="669540"/>
                    </a:lnTo>
                    <a:cubicBezTo>
                      <a:pt x="165920" y="671699"/>
                      <a:pt x="161495" y="681954"/>
                      <a:pt x="161495" y="683573"/>
                    </a:cubicBezTo>
                    <a:cubicBezTo>
                      <a:pt x="162049" y="687351"/>
                      <a:pt x="173110" y="685732"/>
                      <a:pt x="165920" y="698146"/>
                    </a:cubicBezTo>
                    <a:cubicBezTo>
                      <a:pt x="162049" y="700305"/>
                      <a:pt x="152093" y="699225"/>
                      <a:pt x="147668" y="699765"/>
                    </a:cubicBezTo>
                    <a:cubicBezTo>
                      <a:pt x="142137" y="703543"/>
                      <a:pt x="139925" y="714877"/>
                      <a:pt x="132735" y="715417"/>
                    </a:cubicBezTo>
                    <a:cubicBezTo>
                      <a:pt x="129969" y="715417"/>
                      <a:pt x="117248" y="709480"/>
                      <a:pt x="116142" y="711639"/>
                    </a:cubicBezTo>
                    <a:close/>
                    <a:moveTo>
                      <a:pt x="226760" y="440158"/>
                    </a:moveTo>
                    <a:cubicBezTo>
                      <a:pt x="230632" y="437459"/>
                      <a:pt x="228420" y="434221"/>
                      <a:pt x="230632" y="432062"/>
                    </a:cubicBezTo>
                    <a:cubicBezTo>
                      <a:pt x="234504" y="427744"/>
                      <a:pt x="240034" y="427744"/>
                      <a:pt x="243353" y="421807"/>
                    </a:cubicBezTo>
                    <a:cubicBezTo>
                      <a:pt x="245565" y="418569"/>
                      <a:pt x="247778" y="414791"/>
                      <a:pt x="249990" y="412092"/>
                    </a:cubicBezTo>
                    <a:cubicBezTo>
                      <a:pt x="251096" y="410473"/>
                      <a:pt x="254415" y="407774"/>
                      <a:pt x="254968" y="406695"/>
                    </a:cubicBezTo>
                    <a:lnTo>
                      <a:pt x="252756" y="404536"/>
                    </a:lnTo>
                    <a:cubicBezTo>
                      <a:pt x="250543" y="404536"/>
                      <a:pt x="223442" y="430443"/>
                      <a:pt x="215145" y="433141"/>
                    </a:cubicBezTo>
                    <a:cubicBezTo>
                      <a:pt x="210168" y="434761"/>
                      <a:pt x="201318" y="428824"/>
                      <a:pt x="197999" y="425046"/>
                    </a:cubicBezTo>
                    <a:cubicBezTo>
                      <a:pt x="195234" y="421807"/>
                      <a:pt x="193575" y="417489"/>
                      <a:pt x="190809" y="414251"/>
                    </a:cubicBezTo>
                    <a:cubicBezTo>
                      <a:pt x="188597" y="412632"/>
                      <a:pt x="184725" y="411013"/>
                      <a:pt x="183619" y="409394"/>
                    </a:cubicBezTo>
                    <a:cubicBezTo>
                      <a:pt x="183066" y="408314"/>
                      <a:pt x="181960" y="405076"/>
                      <a:pt x="183066" y="403996"/>
                    </a:cubicBezTo>
                    <a:cubicBezTo>
                      <a:pt x="185831" y="400758"/>
                      <a:pt x="201871" y="402377"/>
                      <a:pt x="202424" y="402377"/>
                    </a:cubicBezTo>
                    <a:cubicBezTo>
                      <a:pt x="205190" y="399679"/>
                      <a:pt x="209614" y="399679"/>
                      <a:pt x="211827" y="397520"/>
                    </a:cubicBezTo>
                    <a:cubicBezTo>
                      <a:pt x="212380" y="396440"/>
                      <a:pt x="213486" y="393202"/>
                      <a:pt x="213486" y="391583"/>
                    </a:cubicBezTo>
                    <a:cubicBezTo>
                      <a:pt x="212380" y="388344"/>
                      <a:pt x="206296" y="391043"/>
                      <a:pt x="210721" y="380249"/>
                    </a:cubicBezTo>
                    <a:cubicBezTo>
                      <a:pt x="212933" y="374312"/>
                      <a:pt x="219570" y="380788"/>
                      <a:pt x="221782" y="378629"/>
                    </a:cubicBezTo>
                    <a:cubicBezTo>
                      <a:pt x="225654" y="375931"/>
                      <a:pt x="216805" y="366755"/>
                      <a:pt x="223442" y="365676"/>
                    </a:cubicBezTo>
                    <a:cubicBezTo>
                      <a:pt x="227866" y="364597"/>
                      <a:pt x="226207" y="366755"/>
                      <a:pt x="228420" y="367835"/>
                    </a:cubicBezTo>
                    <a:cubicBezTo>
                      <a:pt x="230079" y="368914"/>
                      <a:pt x="233397" y="368375"/>
                      <a:pt x="234504" y="366216"/>
                    </a:cubicBezTo>
                    <a:cubicBezTo>
                      <a:pt x="236716" y="362438"/>
                      <a:pt x="228420" y="359739"/>
                      <a:pt x="227866" y="357040"/>
                    </a:cubicBezTo>
                    <a:cubicBezTo>
                      <a:pt x="227313" y="352723"/>
                      <a:pt x="233397" y="351643"/>
                      <a:pt x="235057" y="348945"/>
                    </a:cubicBezTo>
                    <a:cubicBezTo>
                      <a:pt x="236163" y="346786"/>
                      <a:pt x="235610" y="344087"/>
                      <a:pt x="233397" y="343547"/>
                    </a:cubicBezTo>
                    <a:cubicBezTo>
                      <a:pt x="232291" y="343547"/>
                      <a:pt x="231738" y="344087"/>
                      <a:pt x="231185" y="343008"/>
                    </a:cubicBezTo>
                    <a:cubicBezTo>
                      <a:pt x="231738" y="342468"/>
                      <a:pt x="232844" y="341928"/>
                      <a:pt x="233950" y="341389"/>
                    </a:cubicBezTo>
                    <a:cubicBezTo>
                      <a:pt x="235610" y="340849"/>
                      <a:pt x="238375" y="338150"/>
                      <a:pt x="238375" y="335991"/>
                    </a:cubicBezTo>
                    <a:cubicBezTo>
                      <a:pt x="237269" y="329515"/>
                      <a:pt x="226207" y="332753"/>
                      <a:pt x="222336" y="329515"/>
                    </a:cubicBezTo>
                    <a:lnTo>
                      <a:pt x="222336" y="313323"/>
                    </a:lnTo>
                    <a:lnTo>
                      <a:pt x="223995" y="312783"/>
                    </a:lnTo>
                    <a:lnTo>
                      <a:pt x="230632" y="315482"/>
                    </a:lnTo>
                    <a:lnTo>
                      <a:pt x="231185" y="317101"/>
                    </a:lnTo>
                    <a:cubicBezTo>
                      <a:pt x="233397" y="319800"/>
                      <a:pt x="238928" y="317101"/>
                      <a:pt x="238375" y="312783"/>
                    </a:cubicBezTo>
                    <a:cubicBezTo>
                      <a:pt x="237269" y="311704"/>
                      <a:pt x="235057" y="310624"/>
                      <a:pt x="234504" y="309005"/>
                    </a:cubicBezTo>
                    <a:cubicBezTo>
                      <a:pt x="230079" y="301449"/>
                      <a:pt x="235057" y="299290"/>
                      <a:pt x="234504" y="296591"/>
                    </a:cubicBezTo>
                    <a:cubicBezTo>
                      <a:pt x="233950" y="294972"/>
                      <a:pt x="232291" y="294433"/>
                      <a:pt x="231738" y="292813"/>
                    </a:cubicBezTo>
                    <a:cubicBezTo>
                      <a:pt x="230632" y="290655"/>
                      <a:pt x="232291" y="280400"/>
                      <a:pt x="234504" y="279860"/>
                    </a:cubicBezTo>
                    <a:cubicBezTo>
                      <a:pt x="240588" y="277701"/>
                      <a:pt x="240034" y="284178"/>
                      <a:pt x="240588" y="285797"/>
                    </a:cubicBezTo>
                    <a:cubicBezTo>
                      <a:pt x="241141" y="287416"/>
                      <a:pt x="244459" y="287956"/>
                      <a:pt x="246119" y="286337"/>
                    </a:cubicBezTo>
                    <a:cubicBezTo>
                      <a:pt x="247225" y="284178"/>
                      <a:pt x="243906" y="282019"/>
                      <a:pt x="243353" y="280400"/>
                    </a:cubicBezTo>
                    <a:cubicBezTo>
                      <a:pt x="242247" y="277701"/>
                      <a:pt x="243353" y="272844"/>
                      <a:pt x="247225" y="273923"/>
                    </a:cubicBezTo>
                    <a:cubicBezTo>
                      <a:pt x="249437" y="274463"/>
                      <a:pt x="251096" y="276082"/>
                      <a:pt x="251649" y="278241"/>
                    </a:cubicBezTo>
                    <a:cubicBezTo>
                      <a:pt x="254415" y="278241"/>
                      <a:pt x="256074" y="277161"/>
                      <a:pt x="258840" y="276622"/>
                    </a:cubicBezTo>
                    <a:cubicBezTo>
                      <a:pt x="262711" y="275542"/>
                      <a:pt x="271008" y="277161"/>
                      <a:pt x="273220" y="274463"/>
                    </a:cubicBezTo>
                    <a:lnTo>
                      <a:pt x="273773" y="272844"/>
                    </a:lnTo>
                    <a:cubicBezTo>
                      <a:pt x="271561" y="268526"/>
                      <a:pt x="262158" y="262589"/>
                      <a:pt x="263264" y="257731"/>
                    </a:cubicBezTo>
                    <a:cubicBezTo>
                      <a:pt x="264371" y="257192"/>
                      <a:pt x="269348" y="258811"/>
                      <a:pt x="272114" y="254493"/>
                    </a:cubicBezTo>
                    <a:cubicBezTo>
                      <a:pt x="274879" y="250715"/>
                      <a:pt x="266583" y="242079"/>
                      <a:pt x="268795" y="238841"/>
                    </a:cubicBezTo>
                    <a:cubicBezTo>
                      <a:pt x="270455" y="236142"/>
                      <a:pt x="283176" y="240460"/>
                      <a:pt x="286494" y="235603"/>
                    </a:cubicBezTo>
                    <a:cubicBezTo>
                      <a:pt x="288707" y="231825"/>
                      <a:pt x="287600" y="226427"/>
                      <a:pt x="289813" y="222649"/>
                    </a:cubicBezTo>
                    <a:cubicBezTo>
                      <a:pt x="291472" y="219411"/>
                      <a:pt x="295897" y="218332"/>
                      <a:pt x="296450" y="214554"/>
                    </a:cubicBezTo>
                    <a:lnTo>
                      <a:pt x="295344" y="213474"/>
                    </a:lnTo>
                    <a:cubicBezTo>
                      <a:pt x="294791" y="212395"/>
                      <a:pt x="294238" y="210236"/>
                      <a:pt x="293684" y="209156"/>
                    </a:cubicBezTo>
                    <a:cubicBezTo>
                      <a:pt x="293131" y="206997"/>
                      <a:pt x="299215" y="198362"/>
                      <a:pt x="300875" y="197822"/>
                    </a:cubicBezTo>
                    <a:cubicBezTo>
                      <a:pt x="306406" y="194584"/>
                      <a:pt x="311936" y="205378"/>
                      <a:pt x="319680" y="206997"/>
                    </a:cubicBezTo>
                    <a:cubicBezTo>
                      <a:pt x="322445" y="206997"/>
                      <a:pt x="326870" y="206458"/>
                      <a:pt x="328529" y="206997"/>
                    </a:cubicBezTo>
                    <a:cubicBezTo>
                      <a:pt x="330742" y="208077"/>
                      <a:pt x="332401" y="212395"/>
                      <a:pt x="334613" y="213474"/>
                    </a:cubicBezTo>
                    <a:cubicBezTo>
                      <a:pt x="336826" y="214554"/>
                      <a:pt x="349547" y="214014"/>
                      <a:pt x="352312" y="213474"/>
                    </a:cubicBezTo>
                    <a:cubicBezTo>
                      <a:pt x="353418" y="213474"/>
                      <a:pt x="354525" y="212934"/>
                      <a:pt x="356184" y="212934"/>
                    </a:cubicBezTo>
                    <a:cubicBezTo>
                      <a:pt x="358949" y="212934"/>
                      <a:pt x="361162" y="215093"/>
                      <a:pt x="364480" y="215093"/>
                    </a:cubicBezTo>
                    <a:cubicBezTo>
                      <a:pt x="369458" y="215093"/>
                      <a:pt x="374436" y="211855"/>
                      <a:pt x="379967" y="211315"/>
                    </a:cubicBezTo>
                    <a:cubicBezTo>
                      <a:pt x="386051" y="211315"/>
                      <a:pt x="392688" y="213474"/>
                      <a:pt x="398772" y="212934"/>
                    </a:cubicBezTo>
                    <a:cubicBezTo>
                      <a:pt x="402644" y="212395"/>
                      <a:pt x="403197" y="204839"/>
                      <a:pt x="407621" y="204839"/>
                    </a:cubicBezTo>
                    <a:cubicBezTo>
                      <a:pt x="408728" y="204839"/>
                      <a:pt x="414258" y="206458"/>
                      <a:pt x="415365" y="206997"/>
                    </a:cubicBezTo>
                    <a:cubicBezTo>
                      <a:pt x="417024" y="208077"/>
                      <a:pt x="420342" y="210775"/>
                      <a:pt x="420896" y="212395"/>
                    </a:cubicBezTo>
                    <a:cubicBezTo>
                      <a:pt x="422002" y="216712"/>
                      <a:pt x="415918" y="225888"/>
                      <a:pt x="415365" y="230745"/>
                    </a:cubicBezTo>
                    <a:cubicBezTo>
                      <a:pt x="415365" y="235603"/>
                      <a:pt x="419236" y="237222"/>
                      <a:pt x="417024" y="242079"/>
                    </a:cubicBezTo>
                    <a:cubicBezTo>
                      <a:pt x="411493" y="246397"/>
                      <a:pt x="403197" y="246937"/>
                      <a:pt x="397113" y="251255"/>
                    </a:cubicBezTo>
                    <a:cubicBezTo>
                      <a:pt x="389369" y="256112"/>
                      <a:pt x="384392" y="264208"/>
                      <a:pt x="376648" y="269066"/>
                    </a:cubicBezTo>
                    <a:cubicBezTo>
                      <a:pt x="368905" y="273923"/>
                      <a:pt x="353971" y="276082"/>
                      <a:pt x="348994" y="283638"/>
                    </a:cubicBezTo>
                    <a:cubicBezTo>
                      <a:pt x="347334" y="286337"/>
                      <a:pt x="347334" y="290115"/>
                      <a:pt x="345675" y="292813"/>
                    </a:cubicBezTo>
                    <a:cubicBezTo>
                      <a:pt x="344569" y="293893"/>
                      <a:pt x="342910" y="294972"/>
                      <a:pt x="342357" y="296591"/>
                    </a:cubicBezTo>
                    <a:lnTo>
                      <a:pt x="343463" y="298750"/>
                    </a:lnTo>
                    <a:cubicBezTo>
                      <a:pt x="346228" y="298211"/>
                      <a:pt x="366693" y="294972"/>
                      <a:pt x="362821" y="300909"/>
                    </a:cubicBezTo>
                    <a:cubicBezTo>
                      <a:pt x="362268" y="302528"/>
                      <a:pt x="352865" y="309005"/>
                      <a:pt x="351206" y="309545"/>
                    </a:cubicBezTo>
                    <a:cubicBezTo>
                      <a:pt x="344569" y="312243"/>
                      <a:pt x="325211" y="309005"/>
                      <a:pt x="327423" y="317641"/>
                    </a:cubicBezTo>
                    <a:cubicBezTo>
                      <a:pt x="331295" y="320879"/>
                      <a:pt x="342910" y="314402"/>
                      <a:pt x="339591" y="320879"/>
                    </a:cubicBezTo>
                    <a:cubicBezTo>
                      <a:pt x="339591" y="320879"/>
                      <a:pt x="327976" y="328975"/>
                      <a:pt x="326870" y="329515"/>
                    </a:cubicBezTo>
                    <a:cubicBezTo>
                      <a:pt x="325764" y="330054"/>
                      <a:pt x="318574" y="331673"/>
                      <a:pt x="318020" y="332213"/>
                    </a:cubicBezTo>
                    <a:cubicBezTo>
                      <a:pt x="317467" y="333293"/>
                      <a:pt x="317467" y="334372"/>
                      <a:pt x="316914" y="334912"/>
                    </a:cubicBezTo>
                    <a:cubicBezTo>
                      <a:pt x="316361" y="338150"/>
                      <a:pt x="320786" y="337610"/>
                      <a:pt x="322445" y="337071"/>
                    </a:cubicBezTo>
                    <a:cubicBezTo>
                      <a:pt x="327976" y="335991"/>
                      <a:pt x="332954" y="331673"/>
                      <a:pt x="338485" y="330594"/>
                    </a:cubicBezTo>
                    <a:cubicBezTo>
                      <a:pt x="342910" y="329515"/>
                      <a:pt x="347334" y="330054"/>
                      <a:pt x="351206" y="328975"/>
                    </a:cubicBezTo>
                    <a:cubicBezTo>
                      <a:pt x="352865" y="328435"/>
                      <a:pt x="354525" y="327356"/>
                      <a:pt x="355631" y="326816"/>
                    </a:cubicBezTo>
                    <a:cubicBezTo>
                      <a:pt x="359502" y="324657"/>
                      <a:pt x="363374" y="321958"/>
                      <a:pt x="367246" y="320339"/>
                    </a:cubicBezTo>
                    <a:cubicBezTo>
                      <a:pt x="373330" y="318180"/>
                      <a:pt x="389369" y="316022"/>
                      <a:pt x="394900" y="318720"/>
                    </a:cubicBezTo>
                    <a:cubicBezTo>
                      <a:pt x="397113" y="319800"/>
                      <a:pt x="399878" y="323038"/>
                      <a:pt x="402090" y="323578"/>
                    </a:cubicBezTo>
                    <a:cubicBezTo>
                      <a:pt x="419789" y="328435"/>
                      <a:pt x="445232" y="328975"/>
                      <a:pt x="463484" y="333293"/>
                    </a:cubicBezTo>
                    <a:cubicBezTo>
                      <a:pt x="472333" y="334912"/>
                      <a:pt x="478970" y="344087"/>
                      <a:pt x="480630" y="352183"/>
                    </a:cubicBezTo>
                    <a:cubicBezTo>
                      <a:pt x="481183" y="354342"/>
                      <a:pt x="480630" y="358660"/>
                      <a:pt x="480076" y="360819"/>
                    </a:cubicBezTo>
                    <a:cubicBezTo>
                      <a:pt x="478970" y="364597"/>
                      <a:pt x="476205" y="369454"/>
                      <a:pt x="472886" y="373772"/>
                    </a:cubicBezTo>
                    <a:cubicBezTo>
                      <a:pt x="469015" y="378629"/>
                      <a:pt x="464037" y="383487"/>
                      <a:pt x="461271" y="389424"/>
                    </a:cubicBezTo>
                    <a:cubicBezTo>
                      <a:pt x="457953" y="395361"/>
                      <a:pt x="456847" y="402917"/>
                      <a:pt x="454634" y="409394"/>
                    </a:cubicBezTo>
                    <a:cubicBezTo>
                      <a:pt x="450763" y="421807"/>
                      <a:pt x="444679" y="432602"/>
                      <a:pt x="432511" y="438539"/>
                    </a:cubicBezTo>
                    <a:cubicBezTo>
                      <a:pt x="423108" y="443936"/>
                      <a:pt x="422555" y="467144"/>
                      <a:pt x="404856" y="470382"/>
                    </a:cubicBezTo>
                    <a:cubicBezTo>
                      <a:pt x="396560" y="471462"/>
                      <a:pt x="385498" y="468763"/>
                      <a:pt x="379414" y="469843"/>
                    </a:cubicBezTo>
                    <a:cubicBezTo>
                      <a:pt x="377754" y="470382"/>
                      <a:pt x="371117" y="473081"/>
                      <a:pt x="370564" y="474160"/>
                    </a:cubicBezTo>
                    <a:cubicBezTo>
                      <a:pt x="373883" y="481177"/>
                      <a:pt x="381626" y="475240"/>
                      <a:pt x="387157" y="475240"/>
                    </a:cubicBezTo>
                    <a:cubicBezTo>
                      <a:pt x="394900" y="475240"/>
                      <a:pt x="392688" y="481177"/>
                      <a:pt x="395453" y="483336"/>
                    </a:cubicBezTo>
                    <a:cubicBezTo>
                      <a:pt x="398772" y="486574"/>
                      <a:pt x="409834" y="486574"/>
                      <a:pt x="410387" y="491971"/>
                    </a:cubicBezTo>
                    <a:cubicBezTo>
                      <a:pt x="410940" y="493590"/>
                      <a:pt x="409834" y="496829"/>
                      <a:pt x="409281" y="497908"/>
                    </a:cubicBezTo>
                    <a:cubicBezTo>
                      <a:pt x="403750" y="503305"/>
                      <a:pt x="387710" y="497908"/>
                      <a:pt x="381073" y="500607"/>
                    </a:cubicBezTo>
                    <a:cubicBezTo>
                      <a:pt x="374436" y="503305"/>
                      <a:pt x="367246" y="517878"/>
                      <a:pt x="358949" y="518418"/>
                    </a:cubicBezTo>
                    <a:cubicBezTo>
                      <a:pt x="354525" y="518957"/>
                      <a:pt x="346781" y="514100"/>
                      <a:pt x="342357" y="513560"/>
                    </a:cubicBezTo>
                    <a:cubicBezTo>
                      <a:pt x="340697" y="513021"/>
                      <a:pt x="332954" y="513560"/>
                      <a:pt x="334613" y="516259"/>
                    </a:cubicBezTo>
                    <a:cubicBezTo>
                      <a:pt x="334613" y="517338"/>
                      <a:pt x="341250" y="521656"/>
                      <a:pt x="342357" y="522196"/>
                    </a:cubicBezTo>
                    <a:cubicBezTo>
                      <a:pt x="348994" y="525974"/>
                      <a:pt x="367246" y="531371"/>
                      <a:pt x="374436" y="528673"/>
                    </a:cubicBezTo>
                    <a:cubicBezTo>
                      <a:pt x="382732" y="525434"/>
                      <a:pt x="391029" y="514100"/>
                      <a:pt x="400984" y="517338"/>
                    </a:cubicBezTo>
                    <a:cubicBezTo>
                      <a:pt x="404303" y="518957"/>
                      <a:pt x="404303" y="523275"/>
                      <a:pt x="406515" y="525974"/>
                    </a:cubicBezTo>
                    <a:cubicBezTo>
                      <a:pt x="407621" y="528133"/>
                      <a:pt x="412599" y="531371"/>
                      <a:pt x="414812" y="532990"/>
                    </a:cubicBezTo>
                    <a:cubicBezTo>
                      <a:pt x="419789" y="536229"/>
                      <a:pt x="434723" y="542166"/>
                      <a:pt x="436382" y="547563"/>
                    </a:cubicBezTo>
                    <a:cubicBezTo>
                      <a:pt x="439148" y="553500"/>
                      <a:pt x="441913" y="559976"/>
                      <a:pt x="445785" y="564834"/>
                    </a:cubicBezTo>
                    <a:cubicBezTo>
                      <a:pt x="450209" y="570771"/>
                      <a:pt x="455740" y="575628"/>
                      <a:pt x="459612" y="581565"/>
                    </a:cubicBezTo>
                    <a:cubicBezTo>
                      <a:pt x="460718" y="583185"/>
                      <a:pt x="461824" y="586423"/>
                      <a:pt x="461824" y="588582"/>
                    </a:cubicBezTo>
                    <a:cubicBezTo>
                      <a:pt x="464037" y="603694"/>
                      <a:pt x="462931" y="619346"/>
                      <a:pt x="464590" y="634458"/>
                    </a:cubicBezTo>
                    <a:cubicBezTo>
                      <a:pt x="465143" y="640935"/>
                      <a:pt x="468462" y="644173"/>
                      <a:pt x="470121" y="649571"/>
                    </a:cubicBezTo>
                    <a:cubicBezTo>
                      <a:pt x="471227" y="654968"/>
                      <a:pt x="471227" y="661444"/>
                      <a:pt x="471227" y="666842"/>
                    </a:cubicBezTo>
                    <a:cubicBezTo>
                      <a:pt x="471227" y="677096"/>
                      <a:pt x="475652" y="678176"/>
                      <a:pt x="477864" y="686272"/>
                    </a:cubicBezTo>
                    <a:cubicBezTo>
                      <a:pt x="478970" y="689510"/>
                      <a:pt x="478417" y="693828"/>
                      <a:pt x="479523" y="697066"/>
                    </a:cubicBezTo>
                    <a:cubicBezTo>
                      <a:pt x="480076" y="698685"/>
                      <a:pt x="481736" y="700844"/>
                      <a:pt x="483395" y="701384"/>
                    </a:cubicBezTo>
                    <a:cubicBezTo>
                      <a:pt x="488373" y="704083"/>
                      <a:pt x="497222" y="704083"/>
                      <a:pt x="501647" y="707861"/>
                    </a:cubicBezTo>
                    <a:cubicBezTo>
                      <a:pt x="506625" y="711639"/>
                      <a:pt x="512709" y="715956"/>
                      <a:pt x="517134" y="720274"/>
                    </a:cubicBezTo>
                    <a:cubicBezTo>
                      <a:pt x="523218" y="727291"/>
                      <a:pt x="522665" y="734307"/>
                      <a:pt x="526536" y="741863"/>
                    </a:cubicBezTo>
                    <a:cubicBezTo>
                      <a:pt x="527642" y="744562"/>
                      <a:pt x="530408" y="746721"/>
                      <a:pt x="532067" y="748880"/>
                    </a:cubicBezTo>
                    <a:cubicBezTo>
                      <a:pt x="533173" y="750499"/>
                      <a:pt x="533726" y="751578"/>
                      <a:pt x="534279" y="753197"/>
                    </a:cubicBezTo>
                    <a:cubicBezTo>
                      <a:pt x="537045" y="756436"/>
                      <a:pt x="541470" y="759674"/>
                      <a:pt x="543682" y="762912"/>
                    </a:cubicBezTo>
                    <a:lnTo>
                      <a:pt x="543682" y="766151"/>
                    </a:lnTo>
                    <a:cubicBezTo>
                      <a:pt x="542023" y="768849"/>
                      <a:pt x="538704" y="775866"/>
                      <a:pt x="538704" y="779104"/>
                    </a:cubicBezTo>
                    <a:cubicBezTo>
                      <a:pt x="537598" y="789359"/>
                      <a:pt x="541470" y="799074"/>
                      <a:pt x="547001" y="807709"/>
                    </a:cubicBezTo>
                    <a:cubicBezTo>
                      <a:pt x="548660" y="810408"/>
                      <a:pt x="556956" y="820123"/>
                      <a:pt x="557509" y="821203"/>
                    </a:cubicBezTo>
                    <a:cubicBezTo>
                      <a:pt x="558062" y="822822"/>
                      <a:pt x="558062" y="824441"/>
                      <a:pt x="556403" y="824981"/>
                    </a:cubicBezTo>
                    <a:cubicBezTo>
                      <a:pt x="548107" y="822822"/>
                      <a:pt x="540363" y="819044"/>
                      <a:pt x="532067" y="816885"/>
                    </a:cubicBezTo>
                    <a:cubicBezTo>
                      <a:pt x="525430" y="815266"/>
                      <a:pt x="518240" y="814186"/>
                      <a:pt x="511603" y="813107"/>
                    </a:cubicBezTo>
                    <a:lnTo>
                      <a:pt x="504412" y="813107"/>
                    </a:lnTo>
                    <a:cubicBezTo>
                      <a:pt x="506072" y="814186"/>
                      <a:pt x="512156" y="817964"/>
                      <a:pt x="513815" y="818504"/>
                    </a:cubicBezTo>
                    <a:cubicBezTo>
                      <a:pt x="517134" y="819583"/>
                      <a:pt x="527089" y="820663"/>
                      <a:pt x="530408" y="821742"/>
                    </a:cubicBezTo>
                    <a:lnTo>
                      <a:pt x="534833" y="825520"/>
                    </a:lnTo>
                    <a:cubicBezTo>
                      <a:pt x="538151" y="828759"/>
                      <a:pt x="541470" y="831457"/>
                      <a:pt x="545341" y="833616"/>
                    </a:cubicBezTo>
                    <a:cubicBezTo>
                      <a:pt x="552532" y="836855"/>
                      <a:pt x="551425" y="842252"/>
                      <a:pt x="555850" y="846570"/>
                    </a:cubicBezTo>
                    <a:cubicBezTo>
                      <a:pt x="556403" y="847109"/>
                      <a:pt x="557509" y="847649"/>
                      <a:pt x="558062" y="848189"/>
                    </a:cubicBezTo>
                    <a:cubicBezTo>
                      <a:pt x="563040" y="852506"/>
                      <a:pt x="569124" y="875175"/>
                      <a:pt x="567465" y="881652"/>
                    </a:cubicBezTo>
                    <a:cubicBezTo>
                      <a:pt x="566912" y="884350"/>
                      <a:pt x="560828" y="897843"/>
                      <a:pt x="559722" y="899462"/>
                    </a:cubicBezTo>
                    <a:cubicBezTo>
                      <a:pt x="556403" y="903240"/>
                      <a:pt x="545894" y="902161"/>
                      <a:pt x="544235" y="907558"/>
                    </a:cubicBezTo>
                    <a:cubicBezTo>
                      <a:pt x="542576" y="912416"/>
                      <a:pt x="550319" y="921051"/>
                      <a:pt x="555297" y="922131"/>
                    </a:cubicBezTo>
                    <a:cubicBezTo>
                      <a:pt x="556403" y="923210"/>
                      <a:pt x="563593" y="925909"/>
                      <a:pt x="564700" y="925909"/>
                    </a:cubicBezTo>
                    <a:cubicBezTo>
                      <a:pt x="568018" y="925369"/>
                      <a:pt x="574102" y="912955"/>
                      <a:pt x="577421" y="910257"/>
                    </a:cubicBezTo>
                    <a:cubicBezTo>
                      <a:pt x="585717" y="902701"/>
                      <a:pt x="597332" y="909177"/>
                      <a:pt x="605075" y="910797"/>
                    </a:cubicBezTo>
                    <a:cubicBezTo>
                      <a:pt x="609500" y="911336"/>
                      <a:pt x="612819" y="908098"/>
                      <a:pt x="616690" y="909177"/>
                    </a:cubicBezTo>
                    <a:cubicBezTo>
                      <a:pt x="620009" y="909717"/>
                      <a:pt x="627199" y="913495"/>
                      <a:pt x="629411" y="916194"/>
                    </a:cubicBezTo>
                    <a:cubicBezTo>
                      <a:pt x="631071" y="917813"/>
                      <a:pt x="638261" y="919972"/>
                      <a:pt x="641026" y="921591"/>
                    </a:cubicBezTo>
                    <a:cubicBezTo>
                      <a:pt x="645451" y="924290"/>
                      <a:pt x="652641" y="929687"/>
                      <a:pt x="655960" y="933465"/>
                    </a:cubicBezTo>
                    <a:cubicBezTo>
                      <a:pt x="659831" y="938322"/>
                      <a:pt x="663150" y="952355"/>
                      <a:pt x="662597" y="958292"/>
                    </a:cubicBezTo>
                    <a:cubicBezTo>
                      <a:pt x="660938" y="971785"/>
                      <a:pt x="654854" y="997692"/>
                      <a:pt x="649876" y="1010106"/>
                    </a:cubicBezTo>
                    <a:cubicBezTo>
                      <a:pt x="647663" y="1014963"/>
                      <a:pt x="633836" y="1027917"/>
                      <a:pt x="628305" y="1030075"/>
                    </a:cubicBezTo>
                    <a:cubicBezTo>
                      <a:pt x="626646" y="1031155"/>
                      <a:pt x="618349" y="1034933"/>
                      <a:pt x="618903" y="1037092"/>
                    </a:cubicBezTo>
                    <a:cubicBezTo>
                      <a:pt x="619456" y="1039251"/>
                      <a:pt x="623327" y="1040870"/>
                      <a:pt x="621115" y="1043569"/>
                    </a:cubicBezTo>
                    <a:cubicBezTo>
                      <a:pt x="620562" y="1044108"/>
                      <a:pt x="612819" y="1047347"/>
                      <a:pt x="611712" y="1047347"/>
                    </a:cubicBezTo>
                    <a:cubicBezTo>
                      <a:pt x="606181" y="1047886"/>
                      <a:pt x="601204" y="1046267"/>
                      <a:pt x="596226" y="1046807"/>
                    </a:cubicBezTo>
                    <a:cubicBezTo>
                      <a:pt x="595120" y="1047347"/>
                      <a:pt x="587929" y="1050045"/>
                      <a:pt x="587376" y="1051125"/>
                    </a:cubicBezTo>
                    <a:cubicBezTo>
                      <a:pt x="585164" y="1054903"/>
                      <a:pt x="595120" y="1053823"/>
                      <a:pt x="594566" y="1058141"/>
                    </a:cubicBezTo>
                    <a:cubicBezTo>
                      <a:pt x="594566" y="1059221"/>
                      <a:pt x="594013" y="1059760"/>
                      <a:pt x="593460" y="1060300"/>
                    </a:cubicBezTo>
                    <a:cubicBezTo>
                      <a:pt x="591248" y="1063538"/>
                      <a:pt x="591801" y="1068396"/>
                      <a:pt x="589589" y="1071634"/>
                    </a:cubicBezTo>
                    <a:cubicBezTo>
                      <a:pt x="586270" y="1075952"/>
                      <a:pt x="572996" y="1073793"/>
                      <a:pt x="567465" y="1074873"/>
                    </a:cubicBezTo>
                    <a:cubicBezTo>
                      <a:pt x="563040" y="1075412"/>
                      <a:pt x="553085" y="1080270"/>
                      <a:pt x="548660" y="1082429"/>
                    </a:cubicBezTo>
                    <a:cubicBezTo>
                      <a:pt x="551425" y="1084588"/>
                      <a:pt x="561934" y="1082429"/>
                      <a:pt x="566912" y="1084048"/>
                    </a:cubicBezTo>
                    <a:cubicBezTo>
                      <a:pt x="569124" y="1084588"/>
                      <a:pt x="570230" y="1086207"/>
                      <a:pt x="572443" y="1087286"/>
                    </a:cubicBezTo>
                    <a:cubicBezTo>
                      <a:pt x="575761" y="1088905"/>
                      <a:pt x="579080" y="1089445"/>
                      <a:pt x="581845" y="1091064"/>
                    </a:cubicBezTo>
                    <a:cubicBezTo>
                      <a:pt x="584058" y="1092683"/>
                      <a:pt x="586823" y="1095922"/>
                      <a:pt x="589589" y="1096461"/>
                    </a:cubicBezTo>
                    <a:cubicBezTo>
                      <a:pt x="599544" y="1098620"/>
                      <a:pt x="611159" y="1097001"/>
                      <a:pt x="621668" y="1097541"/>
                    </a:cubicBezTo>
                    <a:cubicBezTo>
                      <a:pt x="623327" y="1097541"/>
                      <a:pt x="627199" y="1097541"/>
                      <a:pt x="627752" y="1099700"/>
                    </a:cubicBezTo>
                    <a:cubicBezTo>
                      <a:pt x="628305" y="1101319"/>
                      <a:pt x="622774" y="1122368"/>
                      <a:pt x="621668" y="1123987"/>
                    </a:cubicBezTo>
                    <a:cubicBezTo>
                      <a:pt x="617243" y="1130464"/>
                      <a:pt x="603969" y="1130464"/>
                      <a:pt x="598991" y="1134782"/>
                    </a:cubicBezTo>
                    <a:cubicBezTo>
                      <a:pt x="595120" y="1138020"/>
                      <a:pt x="592354" y="1148275"/>
                      <a:pt x="588482" y="1149894"/>
                    </a:cubicBezTo>
                    <a:cubicBezTo>
                      <a:pt x="585717" y="1150973"/>
                      <a:pt x="576868" y="1147735"/>
                      <a:pt x="574655" y="1146116"/>
                    </a:cubicBezTo>
                    <a:cubicBezTo>
                      <a:pt x="563040" y="1152053"/>
                      <a:pt x="560828" y="1150434"/>
                      <a:pt x="551425" y="1153672"/>
                    </a:cubicBezTo>
                    <a:cubicBezTo>
                      <a:pt x="544788" y="1156371"/>
                      <a:pt x="536492" y="1163387"/>
                      <a:pt x="529302" y="1163927"/>
                    </a:cubicBezTo>
                    <a:cubicBezTo>
                      <a:pt x="524324" y="1163927"/>
                      <a:pt x="522665" y="1162308"/>
                      <a:pt x="520452" y="1159609"/>
                    </a:cubicBezTo>
                    <a:cubicBezTo>
                      <a:pt x="519346" y="1158530"/>
                      <a:pt x="512709" y="1155291"/>
                      <a:pt x="511603" y="1155291"/>
                    </a:cubicBezTo>
                    <a:cubicBezTo>
                      <a:pt x="499435" y="1150973"/>
                      <a:pt x="477864" y="1149894"/>
                      <a:pt x="465143" y="1153132"/>
                    </a:cubicBezTo>
                    <a:cubicBezTo>
                      <a:pt x="461824" y="1154212"/>
                      <a:pt x="457953" y="1156910"/>
                      <a:pt x="454634" y="1156910"/>
                    </a:cubicBezTo>
                    <a:cubicBezTo>
                      <a:pt x="449656" y="1157450"/>
                      <a:pt x="444679" y="1152053"/>
                      <a:pt x="441360" y="1149354"/>
                    </a:cubicBezTo>
                    <a:cubicBezTo>
                      <a:pt x="432511" y="1148815"/>
                      <a:pt x="422555" y="1147735"/>
                      <a:pt x="413705" y="1148275"/>
                    </a:cubicBezTo>
                    <a:cubicBezTo>
                      <a:pt x="407068" y="1148815"/>
                      <a:pt x="396560" y="1153132"/>
                      <a:pt x="390476" y="1152053"/>
                    </a:cubicBezTo>
                    <a:cubicBezTo>
                      <a:pt x="383838" y="1151513"/>
                      <a:pt x="373330" y="1149354"/>
                      <a:pt x="367799" y="1155291"/>
                    </a:cubicBezTo>
                    <a:cubicBezTo>
                      <a:pt x="366139" y="1157450"/>
                      <a:pt x="365033" y="1160149"/>
                      <a:pt x="362821" y="1162308"/>
                    </a:cubicBezTo>
                    <a:cubicBezTo>
                      <a:pt x="361162" y="1163387"/>
                      <a:pt x="356184" y="1166086"/>
                      <a:pt x="354525" y="1166086"/>
                    </a:cubicBezTo>
                    <a:cubicBezTo>
                      <a:pt x="347334" y="1167165"/>
                      <a:pt x="341250" y="1160689"/>
                      <a:pt x="335719" y="1158530"/>
                    </a:cubicBezTo>
                    <a:cubicBezTo>
                      <a:pt x="329082" y="1155831"/>
                      <a:pt x="321892" y="1155291"/>
                      <a:pt x="315255" y="1152593"/>
                    </a:cubicBezTo>
                    <a:cubicBezTo>
                      <a:pt x="304193" y="1148275"/>
                      <a:pt x="302534" y="1143957"/>
                      <a:pt x="288707" y="1142878"/>
                    </a:cubicBezTo>
                    <a:cubicBezTo>
                      <a:pt x="279857" y="1141258"/>
                      <a:pt x="272114" y="1146116"/>
                      <a:pt x="263817" y="1147195"/>
                    </a:cubicBezTo>
                    <a:cubicBezTo>
                      <a:pt x="261052" y="1147735"/>
                      <a:pt x="257733" y="1147195"/>
                      <a:pt x="255521" y="1147735"/>
                    </a:cubicBezTo>
                    <a:cubicBezTo>
                      <a:pt x="253862" y="1148815"/>
                      <a:pt x="248331" y="1152053"/>
                      <a:pt x="246672" y="1153672"/>
                    </a:cubicBezTo>
                    <a:cubicBezTo>
                      <a:pt x="240034" y="1160689"/>
                      <a:pt x="242800" y="1169324"/>
                      <a:pt x="238375" y="1176880"/>
                    </a:cubicBezTo>
                    <a:cubicBezTo>
                      <a:pt x="237269" y="1179579"/>
                      <a:pt x="227866" y="1188754"/>
                      <a:pt x="225654" y="1189834"/>
                    </a:cubicBezTo>
                    <a:cubicBezTo>
                      <a:pt x="223995" y="1190913"/>
                      <a:pt x="220123" y="1188754"/>
                      <a:pt x="219017" y="1188214"/>
                    </a:cubicBezTo>
                    <a:cubicBezTo>
                      <a:pt x="211274" y="1184976"/>
                      <a:pt x="205743" y="1177420"/>
                      <a:pt x="198553" y="1174182"/>
                    </a:cubicBezTo>
                    <a:cubicBezTo>
                      <a:pt x="196893" y="1173642"/>
                      <a:pt x="194681" y="1173642"/>
                      <a:pt x="193022" y="1173642"/>
                    </a:cubicBezTo>
                    <a:cubicBezTo>
                      <a:pt x="176429" y="1170943"/>
                      <a:pt x="167579" y="1166086"/>
                      <a:pt x="149327" y="1169324"/>
                    </a:cubicBezTo>
                    <a:cubicBezTo>
                      <a:pt x="147668" y="1169324"/>
                      <a:pt x="144903" y="1170943"/>
                      <a:pt x="143796" y="1171483"/>
                    </a:cubicBezTo>
                    <a:cubicBezTo>
                      <a:pt x="139925" y="1173642"/>
                      <a:pt x="136606" y="1176340"/>
                      <a:pt x="133288" y="1177960"/>
                    </a:cubicBezTo>
                    <a:cubicBezTo>
                      <a:pt x="127757" y="1180658"/>
                      <a:pt x="120567" y="1181738"/>
                      <a:pt x="115589" y="1185516"/>
                    </a:cubicBezTo>
                    <a:cubicBezTo>
                      <a:pt x="110611" y="1189294"/>
                      <a:pt x="113376" y="1201168"/>
                      <a:pt x="106186" y="1202247"/>
                    </a:cubicBezTo>
                    <a:cubicBezTo>
                      <a:pt x="97890" y="1203327"/>
                      <a:pt x="98443" y="1188754"/>
                      <a:pt x="91253" y="1185516"/>
                    </a:cubicBezTo>
                    <a:cubicBezTo>
                      <a:pt x="82956" y="1181738"/>
                      <a:pt x="75213" y="1189834"/>
                      <a:pt x="70788" y="1186056"/>
                    </a:cubicBezTo>
                    <a:cubicBezTo>
                      <a:pt x="68023" y="1183357"/>
                      <a:pt x="69682" y="1177960"/>
                      <a:pt x="71895" y="1175801"/>
                    </a:cubicBezTo>
                    <a:cubicBezTo>
                      <a:pt x="73001" y="1174721"/>
                      <a:pt x="76872" y="1173102"/>
                      <a:pt x="78532" y="1172562"/>
                    </a:cubicBezTo>
                    <a:cubicBezTo>
                      <a:pt x="84616" y="1170943"/>
                      <a:pt x="90700" y="1169864"/>
                      <a:pt x="96784" y="1167165"/>
                    </a:cubicBezTo>
                    <a:cubicBezTo>
                      <a:pt x="103421" y="1164467"/>
                      <a:pt x="112270" y="1160149"/>
                      <a:pt x="118354" y="1155831"/>
                    </a:cubicBezTo>
                    <a:cubicBezTo>
                      <a:pt x="119460" y="1154752"/>
                      <a:pt x="120014" y="1153132"/>
                      <a:pt x="121120" y="1152053"/>
                    </a:cubicBezTo>
                    <a:cubicBezTo>
                      <a:pt x="125544" y="1147195"/>
                      <a:pt x="130522" y="1141798"/>
                      <a:pt x="136053" y="1138020"/>
                    </a:cubicBezTo>
                    <a:cubicBezTo>
                      <a:pt x="139372" y="1135861"/>
                      <a:pt x="143796" y="1134782"/>
                      <a:pt x="147668" y="1132623"/>
                    </a:cubicBezTo>
                    <a:cubicBezTo>
                      <a:pt x="152646" y="1129924"/>
                      <a:pt x="160942" y="1124527"/>
                      <a:pt x="164261" y="1119670"/>
                    </a:cubicBezTo>
                    <a:cubicBezTo>
                      <a:pt x="167026" y="1115352"/>
                      <a:pt x="170345" y="1109415"/>
                      <a:pt x="172004" y="1104557"/>
                    </a:cubicBezTo>
                    <a:cubicBezTo>
                      <a:pt x="173110" y="1102398"/>
                      <a:pt x="173663" y="1094842"/>
                      <a:pt x="175876" y="1093763"/>
                    </a:cubicBezTo>
                    <a:cubicBezTo>
                      <a:pt x="179194" y="1091064"/>
                      <a:pt x="193575" y="1097001"/>
                      <a:pt x="197999" y="1090524"/>
                    </a:cubicBezTo>
                    <a:cubicBezTo>
                      <a:pt x="199659" y="1087826"/>
                      <a:pt x="200212" y="1077031"/>
                      <a:pt x="201318" y="1074873"/>
                    </a:cubicBezTo>
                    <a:cubicBezTo>
                      <a:pt x="204084" y="1070555"/>
                      <a:pt x="232844" y="1073793"/>
                      <a:pt x="238375" y="1074873"/>
                    </a:cubicBezTo>
                    <a:cubicBezTo>
                      <a:pt x="242247" y="1074873"/>
                      <a:pt x="246119" y="1075412"/>
                      <a:pt x="249990" y="1076492"/>
                    </a:cubicBezTo>
                    <a:cubicBezTo>
                      <a:pt x="255521" y="1077571"/>
                      <a:pt x="260499" y="1080270"/>
                      <a:pt x="265477" y="1081349"/>
                    </a:cubicBezTo>
                    <a:cubicBezTo>
                      <a:pt x="271561" y="1082968"/>
                      <a:pt x="292578" y="1087826"/>
                      <a:pt x="297003" y="1081889"/>
                    </a:cubicBezTo>
                    <a:cubicBezTo>
                      <a:pt x="298109" y="1080270"/>
                      <a:pt x="298662" y="1074873"/>
                      <a:pt x="299215" y="1072714"/>
                    </a:cubicBezTo>
                    <a:cubicBezTo>
                      <a:pt x="299215" y="1071634"/>
                      <a:pt x="299215" y="1070015"/>
                      <a:pt x="300322" y="1068936"/>
                    </a:cubicBezTo>
                    <a:cubicBezTo>
                      <a:pt x="303640" y="1064618"/>
                      <a:pt x="319127" y="1054363"/>
                      <a:pt x="324658" y="1048966"/>
                    </a:cubicBezTo>
                    <a:cubicBezTo>
                      <a:pt x="331295" y="1041949"/>
                      <a:pt x="337379" y="1033314"/>
                      <a:pt x="342910" y="1025758"/>
                    </a:cubicBezTo>
                    <a:lnTo>
                      <a:pt x="342910" y="1024138"/>
                    </a:lnTo>
                    <a:lnTo>
                      <a:pt x="340697" y="1024138"/>
                    </a:lnTo>
                    <a:cubicBezTo>
                      <a:pt x="338485" y="1025218"/>
                      <a:pt x="327423" y="1033314"/>
                      <a:pt x="322998" y="1036012"/>
                    </a:cubicBezTo>
                    <a:cubicBezTo>
                      <a:pt x="319680" y="1038171"/>
                      <a:pt x="315255" y="1040870"/>
                      <a:pt x="311383" y="1041949"/>
                    </a:cubicBezTo>
                    <a:cubicBezTo>
                      <a:pt x="305299" y="1044108"/>
                      <a:pt x="298662" y="1043029"/>
                      <a:pt x="293131" y="1045188"/>
                    </a:cubicBezTo>
                    <a:cubicBezTo>
                      <a:pt x="282069" y="1048966"/>
                      <a:pt x="284282" y="1065697"/>
                      <a:pt x="265477" y="1059760"/>
                    </a:cubicBezTo>
                    <a:cubicBezTo>
                      <a:pt x="238928" y="1051664"/>
                      <a:pt x="244459" y="1034393"/>
                      <a:pt x="234504" y="1028456"/>
                    </a:cubicBezTo>
                    <a:cubicBezTo>
                      <a:pt x="230079" y="1025758"/>
                      <a:pt x="209061" y="1036552"/>
                      <a:pt x="206296" y="1030075"/>
                    </a:cubicBezTo>
                    <a:cubicBezTo>
                      <a:pt x="203530" y="1024678"/>
                      <a:pt x="211274" y="1021980"/>
                      <a:pt x="215145" y="1020900"/>
                    </a:cubicBezTo>
                    <a:cubicBezTo>
                      <a:pt x="216252" y="1016043"/>
                      <a:pt x="207402" y="1016043"/>
                      <a:pt x="205190" y="1012804"/>
                    </a:cubicBezTo>
                    <a:cubicBezTo>
                      <a:pt x="203530" y="1010645"/>
                      <a:pt x="204637" y="1003629"/>
                      <a:pt x="201871" y="1002550"/>
                    </a:cubicBezTo>
                    <a:cubicBezTo>
                      <a:pt x="199106" y="1001470"/>
                      <a:pt x="192469" y="1005248"/>
                      <a:pt x="189703" y="1006328"/>
                    </a:cubicBezTo>
                    <a:cubicBezTo>
                      <a:pt x="185278" y="1007407"/>
                      <a:pt x="180854" y="1006867"/>
                      <a:pt x="176982" y="1007947"/>
                    </a:cubicBezTo>
                    <a:cubicBezTo>
                      <a:pt x="172557" y="1009026"/>
                      <a:pt x="165920" y="1014423"/>
                      <a:pt x="164261" y="1014963"/>
                    </a:cubicBezTo>
                    <a:cubicBezTo>
                      <a:pt x="161495" y="1015503"/>
                      <a:pt x="152646" y="1014423"/>
                      <a:pt x="150434" y="1012804"/>
                    </a:cubicBezTo>
                    <a:cubicBezTo>
                      <a:pt x="148774" y="1011725"/>
                      <a:pt x="143796" y="1003629"/>
                      <a:pt x="143243" y="1001470"/>
                    </a:cubicBezTo>
                    <a:cubicBezTo>
                      <a:pt x="142137" y="993914"/>
                      <a:pt x="150987" y="992835"/>
                      <a:pt x="149880" y="985818"/>
                    </a:cubicBezTo>
                    <a:cubicBezTo>
                      <a:pt x="149327" y="983120"/>
                      <a:pt x="140478" y="982040"/>
                      <a:pt x="139372" y="979881"/>
                    </a:cubicBezTo>
                    <a:cubicBezTo>
                      <a:pt x="138819" y="978262"/>
                      <a:pt x="140478" y="975024"/>
                      <a:pt x="141584" y="973944"/>
                    </a:cubicBezTo>
                    <a:cubicBezTo>
                      <a:pt x="144903" y="970706"/>
                      <a:pt x="152093" y="970166"/>
                      <a:pt x="155965" y="968007"/>
                    </a:cubicBezTo>
                    <a:cubicBezTo>
                      <a:pt x="157071" y="966928"/>
                      <a:pt x="158177" y="965848"/>
                      <a:pt x="159283" y="965309"/>
                    </a:cubicBezTo>
                    <a:cubicBezTo>
                      <a:pt x="162049" y="964229"/>
                      <a:pt x="171451" y="964229"/>
                      <a:pt x="175323" y="963150"/>
                    </a:cubicBezTo>
                    <a:cubicBezTo>
                      <a:pt x="185831" y="960991"/>
                      <a:pt x="196893" y="958832"/>
                      <a:pt x="207402" y="954514"/>
                    </a:cubicBezTo>
                    <a:cubicBezTo>
                      <a:pt x="214592" y="951816"/>
                      <a:pt x="228973" y="941561"/>
                      <a:pt x="233397" y="935084"/>
                    </a:cubicBezTo>
                    <a:cubicBezTo>
                      <a:pt x="237269" y="928607"/>
                      <a:pt x="239481" y="920512"/>
                      <a:pt x="239481" y="912955"/>
                    </a:cubicBezTo>
                    <a:cubicBezTo>
                      <a:pt x="240034" y="910257"/>
                      <a:pt x="239481" y="907558"/>
                      <a:pt x="240034" y="904860"/>
                    </a:cubicBezTo>
                    <a:cubicBezTo>
                      <a:pt x="240588" y="900542"/>
                      <a:pt x="245012" y="895145"/>
                      <a:pt x="243353" y="890827"/>
                    </a:cubicBezTo>
                    <a:cubicBezTo>
                      <a:pt x="242247" y="888128"/>
                      <a:pt x="235057" y="876794"/>
                      <a:pt x="232844" y="875715"/>
                    </a:cubicBezTo>
                    <a:cubicBezTo>
                      <a:pt x="230632" y="874095"/>
                      <a:pt x="222889" y="874095"/>
                      <a:pt x="220123" y="874635"/>
                    </a:cubicBezTo>
                    <a:cubicBezTo>
                      <a:pt x="217911" y="875175"/>
                      <a:pt x="215698" y="877873"/>
                      <a:pt x="212933" y="878413"/>
                    </a:cubicBezTo>
                    <a:cubicBezTo>
                      <a:pt x="211827" y="878953"/>
                      <a:pt x="199106" y="877873"/>
                      <a:pt x="198553" y="877334"/>
                    </a:cubicBezTo>
                    <a:cubicBezTo>
                      <a:pt x="197999" y="876794"/>
                      <a:pt x="197999" y="875715"/>
                      <a:pt x="197999" y="875175"/>
                    </a:cubicBezTo>
                    <a:cubicBezTo>
                      <a:pt x="199106" y="866000"/>
                      <a:pt x="221229" y="860602"/>
                      <a:pt x="228420" y="854665"/>
                    </a:cubicBezTo>
                    <a:cubicBezTo>
                      <a:pt x="230632" y="852506"/>
                      <a:pt x="232291" y="847649"/>
                      <a:pt x="234504" y="844950"/>
                    </a:cubicBezTo>
                    <a:cubicBezTo>
                      <a:pt x="236163" y="842791"/>
                      <a:pt x="240588" y="839553"/>
                      <a:pt x="242247" y="838474"/>
                    </a:cubicBezTo>
                    <a:cubicBezTo>
                      <a:pt x="262158" y="829298"/>
                      <a:pt x="279857" y="830378"/>
                      <a:pt x="300875" y="831457"/>
                    </a:cubicBezTo>
                    <a:cubicBezTo>
                      <a:pt x="302534" y="831457"/>
                      <a:pt x="305299" y="831457"/>
                      <a:pt x="306959" y="831997"/>
                    </a:cubicBezTo>
                    <a:cubicBezTo>
                      <a:pt x="309724" y="833616"/>
                      <a:pt x="316361" y="846030"/>
                      <a:pt x="320786" y="841712"/>
                    </a:cubicBezTo>
                    <a:lnTo>
                      <a:pt x="321339" y="833076"/>
                    </a:lnTo>
                    <a:cubicBezTo>
                      <a:pt x="320786" y="822822"/>
                      <a:pt x="324658" y="826060"/>
                      <a:pt x="326870" y="821742"/>
                    </a:cubicBezTo>
                    <a:cubicBezTo>
                      <a:pt x="327423" y="819583"/>
                      <a:pt x="329082" y="810948"/>
                      <a:pt x="329082" y="807709"/>
                    </a:cubicBezTo>
                    <a:cubicBezTo>
                      <a:pt x="330742" y="805011"/>
                      <a:pt x="332954" y="801772"/>
                      <a:pt x="335166" y="799614"/>
                    </a:cubicBezTo>
                    <a:cubicBezTo>
                      <a:pt x="336826" y="797994"/>
                      <a:pt x="344016" y="793677"/>
                      <a:pt x="344016" y="793137"/>
                    </a:cubicBezTo>
                    <a:cubicBezTo>
                      <a:pt x="345675" y="790438"/>
                      <a:pt x="339038" y="787200"/>
                      <a:pt x="338485" y="784501"/>
                    </a:cubicBezTo>
                    <a:cubicBezTo>
                      <a:pt x="337379" y="782342"/>
                      <a:pt x="337932" y="773707"/>
                      <a:pt x="338485" y="771548"/>
                    </a:cubicBezTo>
                    <a:cubicBezTo>
                      <a:pt x="340144" y="761833"/>
                      <a:pt x="345675" y="765071"/>
                      <a:pt x="348994" y="761293"/>
                    </a:cubicBezTo>
                    <a:cubicBezTo>
                      <a:pt x="350100" y="759674"/>
                      <a:pt x="351206" y="754277"/>
                      <a:pt x="352312" y="752118"/>
                    </a:cubicBezTo>
                    <a:cubicBezTo>
                      <a:pt x="353418" y="749959"/>
                      <a:pt x="355078" y="747800"/>
                      <a:pt x="356184" y="745641"/>
                    </a:cubicBezTo>
                    <a:lnTo>
                      <a:pt x="356184" y="739165"/>
                    </a:lnTo>
                    <a:cubicBezTo>
                      <a:pt x="356184" y="738625"/>
                      <a:pt x="355631" y="737006"/>
                      <a:pt x="355078" y="736466"/>
                    </a:cubicBezTo>
                    <a:cubicBezTo>
                      <a:pt x="353971" y="736466"/>
                      <a:pt x="347887" y="735926"/>
                      <a:pt x="346781" y="735926"/>
                    </a:cubicBezTo>
                    <a:cubicBezTo>
                      <a:pt x="340144" y="737006"/>
                      <a:pt x="332401" y="752658"/>
                      <a:pt x="325764" y="748340"/>
                    </a:cubicBezTo>
                    <a:cubicBezTo>
                      <a:pt x="321892" y="745641"/>
                      <a:pt x="326317" y="736466"/>
                      <a:pt x="325211" y="732148"/>
                    </a:cubicBezTo>
                    <a:cubicBezTo>
                      <a:pt x="325211" y="730529"/>
                      <a:pt x="323551" y="729450"/>
                      <a:pt x="322998" y="727830"/>
                    </a:cubicBezTo>
                    <a:cubicBezTo>
                      <a:pt x="319680" y="719735"/>
                      <a:pt x="318020" y="710559"/>
                      <a:pt x="314702" y="702463"/>
                    </a:cubicBezTo>
                    <a:cubicBezTo>
                      <a:pt x="313043" y="698146"/>
                      <a:pt x="310277" y="694368"/>
                      <a:pt x="309171" y="690589"/>
                    </a:cubicBezTo>
                    <a:cubicBezTo>
                      <a:pt x="308618" y="689510"/>
                      <a:pt x="308618" y="688970"/>
                      <a:pt x="308618" y="687891"/>
                    </a:cubicBezTo>
                    <a:cubicBezTo>
                      <a:pt x="309724" y="678176"/>
                      <a:pt x="318020" y="671159"/>
                      <a:pt x="322998" y="663603"/>
                    </a:cubicBezTo>
                    <a:cubicBezTo>
                      <a:pt x="324658" y="660365"/>
                      <a:pt x="325764" y="657127"/>
                      <a:pt x="327976" y="654428"/>
                    </a:cubicBezTo>
                    <a:cubicBezTo>
                      <a:pt x="329635" y="652809"/>
                      <a:pt x="333507" y="650110"/>
                      <a:pt x="335719" y="649031"/>
                    </a:cubicBezTo>
                    <a:cubicBezTo>
                      <a:pt x="339591" y="647951"/>
                      <a:pt x="356737" y="648491"/>
                      <a:pt x="352312" y="642014"/>
                    </a:cubicBezTo>
                    <a:cubicBezTo>
                      <a:pt x="351759" y="640935"/>
                      <a:pt x="322998" y="630680"/>
                      <a:pt x="318574" y="637157"/>
                    </a:cubicBezTo>
                    <a:cubicBezTo>
                      <a:pt x="316914" y="639316"/>
                      <a:pt x="318020" y="643634"/>
                      <a:pt x="316361" y="645792"/>
                    </a:cubicBezTo>
                    <a:cubicBezTo>
                      <a:pt x="314702" y="647951"/>
                      <a:pt x="305852" y="648491"/>
                      <a:pt x="303087" y="649031"/>
                    </a:cubicBezTo>
                    <a:cubicBezTo>
                      <a:pt x="299215" y="650110"/>
                      <a:pt x="292578" y="654428"/>
                      <a:pt x="288707" y="653888"/>
                    </a:cubicBezTo>
                    <a:cubicBezTo>
                      <a:pt x="278751" y="653349"/>
                      <a:pt x="279857" y="649571"/>
                      <a:pt x="274879" y="645253"/>
                    </a:cubicBezTo>
                    <a:cubicBezTo>
                      <a:pt x="272667" y="643634"/>
                      <a:pt x="269901" y="643634"/>
                      <a:pt x="267689" y="642014"/>
                    </a:cubicBezTo>
                    <a:cubicBezTo>
                      <a:pt x="267136" y="641475"/>
                      <a:pt x="265477" y="638236"/>
                      <a:pt x="263264" y="639316"/>
                    </a:cubicBezTo>
                    <a:cubicBezTo>
                      <a:pt x="259946" y="640935"/>
                      <a:pt x="262711" y="651190"/>
                      <a:pt x="262158" y="653888"/>
                    </a:cubicBezTo>
                    <a:cubicBezTo>
                      <a:pt x="262158" y="654968"/>
                      <a:pt x="259393" y="658746"/>
                      <a:pt x="258287" y="659286"/>
                    </a:cubicBezTo>
                    <a:cubicBezTo>
                      <a:pt x="249437" y="663064"/>
                      <a:pt x="242800" y="640395"/>
                      <a:pt x="230079" y="640935"/>
                    </a:cubicBezTo>
                    <a:cubicBezTo>
                      <a:pt x="217911" y="641475"/>
                      <a:pt x="230632" y="665762"/>
                      <a:pt x="218464" y="659825"/>
                    </a:cubicBezTo>
                    <a:cubicBezTo>
                      <a:pt x="217358" y="659286"/>
                      <a:pt x="216252" y="658206"/>
                      <a:pt x="215698" y="657127"/>
                    </a:cubicBezTo>
                    <a:cubicBezTo>
                      <a:pt x="212933" y="652269"/>
                      <a:pt x="206849" y="638776"/>
                      <a:pt x="205190" y="633919"/>
                    </a:cubicBezTo>
                    <a:cubicBezTo>
                      <a:pt x="204084" y="630680"/>
                      <a:pt x="206296" y="625283"/>
                      <a:pt x="208508" y="622045"/>
                    </a:cubicBezTo>
                    <a:cubicBezTo>
                      <a:pt x="211827" y="618267"/>
                      <a:pt x="216252" y="616108"/>
                      <a:pt x="219017" y="612330"/>
                    </a:cubicBezTo>
                    <a:cubicBezTo>
                      <a:pt x="222336" y="608552"/>
                      <a:pt x="223995" y="604234"/>
                      <a:pt x="226760" y="600456"/>
                    </a:cubicBezTo>
                    <a:cubicBezTo>
                      <a:pt x="229526" y="597217"/>
                      <a:pt x="233397" y="594519"/>
                      <a:pt x="236163" y="590741"/>
                    </a:cubicBezTo>
                    <a:cubicBezTo>
                      <a:pt x="238928" y="586423"/>
                      <a:pt x="240034" y="581565"/>
                      <a:pt x="242800" y="577787"/>
                    </a:cubicBezTo>
                    <a:cubicBezTo>
                      <a:pt x="246119" y="572930"/>
                      <a:pt x="251649" y="569691"/>
                      <a:pt x="254968" y="564834"/>
                    </a:cubicBezTo>
                    <a:cubicBezTo>
                      <a:pt x="261052" y="555659"/>
                      <a:pt x="246672" y="550261"/>
                      <a:pt x="246672" y="541086"/>
                    </a:cubicBezTo>
                    <a:cubicBezTo>
                      <a:pt x="247225" y="536229"/>
                      <a:pt x="249437" y="524355"/>
                      <a:pt x="251096" y="519497"/>
                    </a:cubicBezTo>
                    <a:cubicBezTo>
                      <a:pt x="253862" y="510862"/>
                      <a:pt x="261052" y="513021"/>
                      <a:pt x="261052" y="506004"/>
                    </a:cubicBezTo>
                    <a:cubicBezTo>
                      <a:pt x="261052" y="500607"/>
                      <a:pt x="258287" y="494130"/>
                      <a:pt x="257180" y="488733"/>
                    </a:cubicBezTo>
                    <a:cubicBezTo>
                      <a:pt x="256074" y="482796"/>
                      <a:pt x="252203" y="487114"/>
                      <a:pt x="251649" y="490352"/>
                    </a:cubicBezTo>
                    <a:cubicBezTo>
                      <a:pt x="251649" y="490892"/>
                      <a:pt x="252203" y="492511"/>
                      <a:pt x="252203" y="493590"/>
                    </a:cubicBezTo>
                    <a:cubicBezTo>
                      <a:pt x="252203" y="495210"/>
                      <a:pt x="252203" y="500607"/>
                      <a:pt x="251649" y="502766"/>
                    </a:cubicBezTo>
                    <a:cubicBezTo>
                      <a:pt x="250543" y="506004"/>
                      <a:pt x="247778" y="509782"/>
                      <a:pt x="246119" y="513021"/>
                    </a:cubicBezTo>
                    <a:cubicBezTo>
                      <a:pt x="243906" y="513560"/>
                      <a:pt x="241141" y="512481"/>
                      <a:pt x="240588" y="511941"/>
                    </a:cubicBezTo>
                    <a:cubicBezTo>
                      <a:pt x="238375" y="509242"/>
                      <a:pt x="239481" y="503305"/>
                      <a:pt x="234504" y="503845"/>
                    </a:cubicBezTo>
                    <a:cubicBezTo>
                      <a:pt x="231185" y="504385"/>
                      <a:pt x="229526" y="510862"/>
                      <a:pt x="227866" y="511401"/>
                    </a:cubicBezTo>
                    <a:cubicBezTo>
                      <a:pt x="225654" y="513021"/>
                      <a:pt x="223995" y="508703"/>
                      <a:pt x="222336" y="508163"/>
                    </a:cubicBezTo>
                    <a:cubicBezTo>
                      <a:pt x="221229" y="504925"/>
                      <a:pt x="224548" y="498988"/>
                      <a:pt x="223995" y="496829"/>
                    </a:cubicBezTo>
                    <a:cubicBezTo>
                      <a:pt x="223442" y="493051"/>
                      <a:pt x="214039" y="494130"/>
                      <a:pt x="213486" y="496829"/>
                    </a:cubicBezTo>
                    <a:cubicBezTo>
                      <a:pt x="212933" y="502226"/>
                      <a:pt x="215145" y="515179"/>
                      <a:pt x="211827" y="519497"/>
                    </a:cubicBezTo>
                    <a:cubicBezTo>
                      <a:pt x="210721" y="521656"/>
                      <a:pt x="200212" y="518418"/>
                      <a:pt x="197999" y="517338"/>
                    </a:cubicBezTo>
                    <a:cubicBezTo>
                      <a:pt x="197446" y="516799"/>
                      <a:pt x="195787" y="514640"/>
                      <a:pt x="195787" y="513560"/>
                    </a:cubicBezTo>
                    <a:cubicBezTo>
                      <a:pt x="195787" y="511401"/>
                      <a:pt x="196893" y="504385"/>
                      <a:pt x="197999" y="502226"/>
                    </a:cubicBezTo>
                    <a:cubicBezTo>
                      <a:pt x="201318" y="494670"/>
                      <a:pt x="206849" y="488193"/>
                      <a:pt x="210721" y="480637"/>
                    </a:cubicBezTo>
                    <a:cubicBezTo>
                      <a:pt x="212933" y="476319"/>
                      <a:pt x="209614" y="474160"/>
                      <a:pt x="210168" y="472541"/>
                    </a:cubicBezTo>
                    <a:cubicBezTo>
                      <a:pt x="210168" y="470922"/>
                      <a:pt x="213486" y="462287"/>
                      <a:pt x="214039" y="460667"/>
                    </a:cubicBezTo>
                    <a:cubicBezTo>
                      <a:pt x="217911" y="453651"/>
                      <a:pt x="222336" y="446635"/>
                      <a:pt x="226760" y="440158"/>
                    </a:cubicBezTo>
                    <a:close/>
                    <a:moveTo>
                      <a:pt x="550872" y="44001"/>
                    </a:moveTo>
                    <a:cubicBezTo>
                      <a:pt x="548660" y="43461"/>
                      <a:pt x="545894" y="46160"/>
                      <a:pt x="543682" y="46700"/>
                    </a:cubicBezTo>
                    <a:cubicBezTo>
                      <a:pt x="537598" y="46700"/>
                      <a:pt x="531514" y="34286"/>
                      <a:pt x="537598" y="31048"/>
                    </a:cubicBezTo>
                    <a:cubicBezTo>
                      <a:pt x="541470" y="28349"/>
                      <a:pt x="544235" y="31587"/>
                      <a:pt x="548660" y="26730"/>
                    </a:cubicBezTo>
                    <a:cubicBezTo>
                      <a:pt x="549213" y="24571"/>
                      <a:pt x="550319" y="17555"/>
                      <a:pt x="550319" y="15396"/>
                    </a:cubicBezTo>
                    <a:cubicBezTo>
                      <a:pt x="549766" y="13776"/>
                      <a:pt x="548660" y="12697"/>
                      <a:pt x="548107" y="11618"/>
                    </a:cubicBezTo>
                    <a:cubicBezTo>
                      <a:pt x="547554" y="6220"/>
                      <a:pt x="551978" y="-256"/>
                      <a:pt x="557509" y="-256"/>
                    </a:cubicBezTo>
                    <a:lnTo>
                      <a:pt x="559169" y="1363"/>
                    </a:lnTo>
                    <a:cubicBezTo>
                      <a:pt x="560828" y="13776"/>
                      <a:pt x="557509" y="17015"/>
                      <a:pt x="569677" y="26730"/>
                    </a:cubicBezTo>
                    <a:cubicBezTo>
                      <a:pt x="569124" y="30508"/>
                      <a:pt x="566912" y="33746"/>
                      <a:pt x="566359" y="37524"/>
                    </a:cubicBezTo>
                    <a:cubicBezTo>
                      <a:pt x="565806" y="41302"/>
                      <a:pt x="566912" y="45620"/>
                      <a:pt x="565806" y="48858"/>
                    </a:cubicBezTo>
                    <a:cubicBezTo>
                      <a:pt x="564700" y="52097"/>
                      <a:pt x="561381" y="54256"/>
                      <a:pt x="559722" y="57494"/>
                    </a:cubicBezTo>
                    <a:cubicBezTo>
                      <a:pt x="556956" y="64510"/>
                      <a:pt x="556403" y="72606"/>
                      <a:pt x="553638" y="79623"/>
                    </a:cubicBezTo>
                    <a:cubicBezTo>
                      <a:pt x="551978" y="82861"/>
                      <a:pt x="550872" y="82861"/>
                      <a:pt x="547554" y="82861"/>
                    </a:cubicBezTo>
                    <a:cubicBezTo>
                      <a:pt x="537598" y="74225"/>
                      <a:pt x="561381" y="58034"/>
                      <a:pt x="550872" y="44001"/>
                    </a:cubicBezTo>
                    <a:close/>
                    <a:moveTo>
                      <a:pt x="427533" y="157883"/>
                    </a:moveTo>
                    <a:cubicBezTo>
                      <a:pt x="428086" y="158422"/>
                      <a:pt x="428639" y="159502"/>
                      <a:pt x="428639" y="160581"/>
                    </a:cubicBezTo>
                    <a:cubicBezTo>
                      <a:pt x="429192" y="162200"/>
                      <a:pt x="428086" y="165439"/>
                      <a:pt x="429192" y="167058"/>
                    </a:cubicBezTo>
                    <a:cubicBezTo>
                      <a:pt x="431404" y="172995"/>
                      <a:pt x="445785" y="174614"/>
                      <a:pt x="446338" y="178392"/>
                    </a:cubicBezTo>
                    <a:cubicBezTo>
                      <a:pt x="446891" y="183789"/>
                      <a:pt x="440254" y="183789"/>
                      <a:pt x="436935" y="182170"/>
                    </a:cubicBezTo>
                    <a:cubicBezTo>
                      <a:pt x="435829" y="181630"/>
                      <a:pt x="434723" y="178932"/>
                      <a:pt x="433617" y="178392"/>
                    </a:cubicBezTo>
                    <a:cubicBezTo>
                      <a:pt x="430298" y="177313"/>
                      <a:pt x="422555" y="178932"/>
                      <a:pt x="419789" y="177313"/>
                    </a:cubicBezTo>
                    <a:cubicBezTo>
                      <a:pt x="418683" y="176233"/>
                      <a:pt x="418683" y="170836"/>
                      <a:pt x="417577" y="169756"/>
                    </a:cubicBezTo>
                    <a:cubicBezTo>
                      <a:pt x="415918" y="168677"/>
                      <a:pt x="410387" y="169756"/>
                      <a:pt x="409834" y="167598"/>
                    </a:cubicBezTo>
                    <a:cubicBezTo>
                      <a:pt x="409834" y="163820"/>
                      <a:pt x="412599" y="157343"/>
                      <a:pt x="415918" y="155724"/>
                    </a:cubicBezTo>
                    <a:cubicBezTo>
                      <a:pt x="417577" y="154644"/>
                      <a:pt x="425320" y="155184"/>
                      <a:pt x="426427" y="156263"/>
                    </a:cubicBezTo>
                    <a:cubicBezTo>
                      <a:pt x="426980" y="156263"/>
                      <a:pt x="427533" y="157343"/>
                      <a:pt x="427533" y="157883"/>
                    </a:cubicBezTo>
                    <a:close/>
                    <a:moveTo>
                      <a:pt x="212933" y="226427"/>
                    </a:moveTo>
                    <a:cubicBezTo>
                      <a:pt x="214592" y="226967"/>
                      <a:pt x="216252" y="227507"/>
                      <a:pt x="217358" y="227507"/>
                    </a:cubicBezTo>
                    <a:cubicBezTo>
                      <a:pt x="218464" y="227507"/>
                      <a:pt x="221229" y="227507"/>
                      <a:pt x="221782" y="228047"/>
                    </a:cubicBezTo>
                    <a:cubicBezTo>
                      <a:pt x="223995" y="229666"/>
                      <a:pt x="220676" y="232904"/>
                      <a:pt x="219570" y="233444"/>
                    </a:cubicBezTo>
                    <a:cubicBezTo>
                      <a:pt x="216805" y="233984"/>
                      <a:pt x="205743" y="232364"/>
                      <a:pt x="205190" y="233444"/>
                    </a:cubicBezTo>
                    <a:cubicBezTo>
                      <a:pt x="202977" y="235603"/>
                      <a:pt x="204637" y="237222"/>
                      <a:pt x="203530" y="239381"/>
                    </a:cubicBezTo>
                    <a:cubicBezTo>
                      <a:pt x="202977" y="240460"/>
                      <a:pt x="201318" y="241540"/>
                      <a:pt x="200765" y="242619"/>
                    </a:cubicBezTo>
                    <a:cubicBezTo>
                      <a:pt x="199659" y="244778"/>
                      <a:pt x="199659" y="248556"/>
                      <a:pt x="198553" y="250175"/>
                    </a:cubicBezTo>
                    <a:cubicBezTo>
                      <a:pt x="196893" y="251794"/>
                      <a:pt x="193575" y="251794"/>
                      <a:pt x="191915" y="253414"/>
                    </a:cubicBezTo>
                    <a:cubicBezTo>
                      <a:pt x="189703" y="255033"/>
                      <a:pt x="190809" y="258271"/>
                      <a:pt x="186385" y="257731"/>
                    </a:cubicBezTo>
                    <a:cubicBezTo>
                      <a:pt x="185278" y="257192"/>
                      <a:pt x="183066" y="254493"/>
                      <a:pt x="181960" y="253953"/>
                    </a:cubicBezTo>
                    <a:cubicBezTo>
                      <a:pt x="175876" y="252334"/>
                      <a:pt x="176429" y="261509"/>
                      <a:pt x="173663" y="264208"/>
                    </a:cubicBezTo>
                    <a:cubicBezTo>
                      <a:pt x="172557" y="265288"/>
                      <a:pt x="168686" y="266367"/>
                      <a:pt x="167026" y="267446"/>
                    </a:cubicBezTo>
                    <a:cubicBezTo>
                      <a:pt x="162049" y="270685"/>
                      <a:pt x="163708" y="273383"/>
                      <a:pt x="156518" y="272844"/>
                    </a:cubicBezTo>
                    <a:cubicBezTo>
                      <a:pt x="155411" y="272304"/>
                      <a:pt x="154305" y="272304"/>
                      <a:pt x="153752" y="271764"/>
                    </a:cubicBezTo>
                    <a:cubicBezTo>
                      <a:pt x="153199" y="271224"/>
                      <a:pt x="152093" y="270685"/>
                      <a:pt x="152093" y="269605"/>
                    </a:cubicBezTo>
                    <a:cubicBezTo>
                      <a:pt x="149880" y="263668"/>
                      <a:pt x="162049" y="262589"/>
                      <a:pt x="160389" y="256112"/>
                    </a:cubicBezTo>
                    <a:cubicBezTo>
                      <a:pt x="159283" y="252334"/>
                      <a:pt x="155965" y="250175"/>
                      <a:pt x="155411" y="245857"/>
                    </a:cubicBezTo>
                    <a:cubicBezTo>
                      <a:pt x="154858" y="245318"/>
                      <a:pt x="157624" y="228047"/>
                      <a:pt x="158177" y="226427"/>
                    </a:cubicBezTo>
                    <a:cubicBezTo>
                      <a:pt x="159283" y="223729"/>
                      <a:pt x="164261" y="221570"/>
                      <a:pt x="167026" y="222649"/>
                    </a:cubicBezTo>
                    <a:cubicBezTo>
                      <a:pt x="169792" y="223729"/>
                      <a:pt x="172004" y="230205"/>
                      <a:pt x="179194" y="229126"/>
                    </a:cubicBezTo>
                    <a:cubicBezTo>
                      <a:pt x="179747" y="229126"/>
                      <a:pt x="181960" y="226967"/>
                      <a:pt x="182513" y="226427"/>
                    </a:cubicBezTo>
                    <a:cubicBezTo>
                      <a:pt x="183066" y="225888"/>
                      <a:pt x="182513" y="217252"/>
                      <a:pt x="183619" y="214554"/>
                    </a:cubicBezTo>
                    <a:cubicBezTo>
                      <a:pt x="184725" y="212395"/>
                      <a:pt x="195787" y="211315"/>
                      <a:pt x="199106" y="210236"/>
                    </a:cubicBezTo>
                    <a:cubicBezTo>
                      <a:pt x="205190" y="206997"/>
                      <a:pt x="210168" y="201600"/>
                      <a:pt x="215698" y="197822"/>
                    </a:cubicBezTo>
                    <a:cubicBezTo>
                      <a:pt x="217358" y="197822"/>
                      <a:pt x="219570" y="198362"/>
                      <a:pt x="220123" y="199981"/>
                    </a:cubicBezTo>
                    <a:cubicBezTo>
                      <a:pt x="220676" y="202140"/>
                      <a:pt x="221229" y="211315"/>
                      <a:pt x="220676" y="213474"/>
                    </a:cubicBezTo>
                    <a:cubicBezTo>
                      <a:pt x="220123" y="216173"/>
                      <a:pt x="213486" y="222649"/>
                      <a:pt x="213486" y="223189"/>
                    </a:cubicBezTo>
                    <a:cubicBezTo>
                      <a:pt x="212933" y="224269"/>
                      <a:pt x="212380" y="225348"/>
                      <a:pt x="212933" y="226427"/>
                    </a:cubicBezTo>
                    <a:close/>
                    <a:moveTo>
                      <a:pt x="205743" y="352183"/>
                    </a:moveTo>
                    <a:cubicBezTo>
                      <a:pt x="205190" y="351643"/>
                      <a:pt x="203530" y="350564"/>
                      <a:pt x="202977" y="350564"/>
                    </a:cubicBezTo>
                    <a:cubicBezTo>
                      <a:pt x="201871" y="351104"/>
                      <a:pt x="200212" y="354342"/>
                      <a:pt x="199106" y="354342"/>
                    </a:cubicBezTo>
                    <a:cubicBezTo>
                      <a:pt x="196893" y="354882"/>
                      <a:pt x="190256" y="352723"/>
                      <a:pt x="188044" y="352183"/>
                    </a:cubicBezTo>
                    <a:cubicBezTo>
                      <a:pt x="183066" y="350564"/>
                      <a:pt x="180854" y="344087"/>
                      <a:pt x="179747" y="339230"/>
                    </a:cubicBezTo>
                    <a:cubicBezTo>
                      <a:pt x="179194" y="337071"/>
                      <a:pt x="180854" y="332213"/>
                      <a:pt x="180301" y="330594"/>
                    </a:cubicBezTo>
                    <a:cubicBezTo>
                      <a:pt x="179747" y="328975"/>
                      <a:pt x="175876" y="325197"/>
                      <a:pt x="174770" y="324117"/>
                    </a:cubicBezTo>
                    <a:cubicBezTo>
                      <a:pt x="170898" y="322498"/>
                      <a:pt x="163708" y="328435"/>
                      <a:pt x="162602" y="315482"/>
                    </a:cubicBezTo>
                    <a:cubicBezTo>
                      <a:pt x="162602" y="314942"/>
                      <a:pt x="163155" y="313863"/>
                      <a:pt x="163155" y="313323"/>
                    </a:cubicBezTo>
                    <a:cubicBezTo>
                      <a:pt x="165367" y="310624"/>
                      <a:pt x="169239" y="312243"/>
                      <a:pt x="172004" y="311704"/>
                    </a:cubicBezTo>
                    <a:cubicBezTo>
                      <a:pt x="173110" y="311704"/>
                      <a:pt x="175323" y="310085"/>
                      <a:pt x="176429" y="310085"/>
                    </a:cubicBezTo>
                    <a:cubicBezTo>
                      <a:pt x="180854" y="310085"/>
                      <a:pt x="185831" y="313863"/>
                      <a:pt x="189703" y="312243"/>
                    </a:cubicBezTo>
                    <a:cubicBezTo>
                      <a:pt x="193575" y="305227"/>
                      <a:pt x="186938" y="303608"/>
                      <a:pt x="190256" y="297671"/>
                    </a:cubicBezTo>
                    <a:cubicBezTo>
                      <a:pt x="190809" y="296591"/>
                      <a:pt x="194128" y="293893"/>
                      <a:pt x="195787" y="294972"/>
                    </a:cubicBezTo>
                    <a:cubicBezTo>
                      <a:pt x="196340" y="296052"/>
                      <a:pt x="199106" y="300909"/>
                      <a:pt x="199106" y="301989"/>
                    </a:cubicBezTo>
                    <a:cubicBezTo>
                      <a:pt x="199659" y="308465"/>
                      <a:pt x="196893" y="314942"/>
                      <a:pt x="197446" y="321419"/>
                    </a:cubicBezTo>
                    <a:cubicBezTo>
                      <a:pt x="197446" y="323038"/>
                      <a:pt x="199659" y="328975"/>
                      <a:pt x="200765" y="330594"/>
                    </a:cubicBezTo>
                    <a:cubicBezTo>
                      <a:pt x="201871" y="332213"/>
                      <a:pt x="204637" y="333832"/>
                      <a:pt x="205743" y="334912"/>
                    </a:cubicBezTo>
                    <a:cubicBezTo>
                      <a:pt x="207955" y="337610"/>
                      <a:pt x="210168" y="340849"/>
                      <a:pt x="212933" y="342468"/>
                    </a:cubicBezTo>
                    <a:cubicBezTo>
                      <a:pt x="214039" y="343547"/>
                      <a:pt x="216805" y="343547"/>
                      <a:pt x="217911" y="344627"/>
                    </a:cubicBezTo>
                    <a:cubicBezTo>
                      <a:pt x="218464" y="345167"/>
                      <a:pt x="219017" y="346786"/>
                      <a:pt x="219017" y="347865"/>
                    </a:cubicBezTo>
                    <a:cubicBezTo>
                      <a:pt x="219017" y="349484"/>
                      <a:pt x="217911" y="355421"/>
                      <a:pt x="217358" y="357580"/>
                    </a:cubicBezTo>
                    <a:cubicBezTo>
                      <a:pt x="216252" y="359199"/>
                      <a:pt x="205190" y="371613"/>
                      <a:pt x="203530" y="372153"/>
                    </a:cubicBezTo>
                    <a:cubicBezTo>
                      <a:pt x="202977" y="372692"/>
                      <a:pt x="199659" y="370534"/>
                      <a:pt x="199659" y="369454"/>
                    </a:cubicBezTo>
                    <a:cubicBezTo>
                      <a:pt x="199106" y="367835"/>
                      <a:pt x="202977" y="365676"/>
                      <a:pt x="204084" y="364057"/>
                    </a:cubicBezTo>
                    <a:cubicBezTo>
                      <a:pt x="206849" y="361358"/>
                      <a:pt x="206296" y="355961"/>
                      <a:pt x="205743" y="352183"/>
                    </a:cubicBezTo>
                    <a:close/>
                    <a:moveTo>
                      <a:pt x="199106" y="437459"/>
                    </a:moveTo>
                    <a:cubicBezTo>
                      <a:pt x="200765" y="437999"/>
                      <a:pt x="204084" y="441777"/>
                      <a:pt x="204084" y="443396"/>
                    </a:cubicBezTo>
                    <a:cubicBezTo>
                      <a:pt x="204637" y="444476"/>
                      <a:pt x="203530" y="448793"/>
                      <a:pt x="202977" y="449873"/>
                    </a:cubicBezTo>
                    <a:cubicBezTo>
                      <a:pt x="202977" y="450413"/>
                      <a:pt x="201318" y="451492"/>
                      <a:pt x="200765" y="451492"/>
                    </a:cubicBezTo>
                    <a:cubicBezTo>
                      <a:pt x="198553" y="452032"/>
                      <a:pt x="191362" y="450952"/>
                      <a:pt x="189150" y="451492"/>
                    </a:cubicBezTo>
                    <a:cubicBezTo>
                      <a:pt x="185831" y="452032"/>
                      <a:pt x="175876" y="456350"/>
                      <a:pt x="172557" y="456889"/>
                    </a:cubicBezTo>
                    <a:cubicBezTo>
                      <a:pt x="170898" y="456889"/>
                      <a:pt x="165367" y="456350"/>
                      <a:pt x="163708" y="455270"/>
                    </a:cubicBezTo>
                    <a:cubicBezTo>
                      <a:pt x="163155" y="455270"/>
                      <a:pt x="162602" y="453111"/>
                      <a:pt x="162602" y="452572"/>
                    </a:cubicBezTo>
                    <a:cubicBezTo>
                      <a:pt x="163155" y="451492"/>
                      <a:pt x="164814" y="449873"/>
                      <a:pt x="165367" y="449333"/>
                    </a:cubicBezTo>
                    <a:cubicBezTo>
                      <a:pt x="167579" y="448254"/>
                      <a:pt x="174770" y="446095"/>
                      <a:pt x="176982" y="445015"/>
                    </a:cubicBezTo>
                    <a:cubicBezTo>
                      <a:pt x="178088" y="444476"/>
                      <a:pt x="179747" y="442317"/>
                      <a:pt x="179747" y="441777"/>
                    </a:cubicBezTo>
                    <a:cubicBezTo>
                      <a:pt x="180301" y="441237"/>
                      <a:pt x="179747" y="439078"/>
                      <a:pt x="179194" y="438539"/>
                    </a:cubicBezTo>
                    <a:cubicBezTo>
                      <a:pt x="178088" y="436920"/>
                      <a:pt x="173110" y="432602"/>
                      <a:pt x="172004" y="430983"/>
                    </a:cubicBezTo>
                    <a:cubicBezTo>
                      <a:pt x="171451" y="429903"/>
                      <a:pt x="169792" y="427205"/>
                      <a:pt x="169792" y="426665"/>
                    </a:cubicBezTo>
                    <a:cubicBezTo>
                      <a:pt x="169239" y="426125"/>
                      <a:pt x="169792" y="424506"/>
                      <a:pt x="169792" y="423966"/>
                    </a:cubicBezTo>
                    <a:cubicBezTo>
                      <a:pt x="169792" y="423426"/>
                      <a:pt x="171451" y="420728"/>
                      <a:pt x="172004" y="420188"/>
                    </a:cubicBezTo>
                    <a:cubicBezTo>
                      <a:pt x="172557" y="419648"/>
                      <a:pt x="175323" y="418569"/>
                      <a:pt x="175876" y="418029"/>
                    </a:cubicBezTo>
                    <a:cubicBezTo>
                      <a:pt x="176429" y="418029"/>
                      <a:pt x="176982" y="416410"/>
                      <a:pt x="177535" y="416410"/>
                    </a:cubicBezTo>
                    <a:cubicBezTo>
                      <a:pt x="178088" y="416410"/>
                      <a:pt x="179194" y="416950"/>
                      <a:pt x="179747" y="416950"/>
                    </a:cubicBezTo>
                    <a:lnTo>
                      <a:pt x="181960" y="419109"/>
                    </a:lnTo>
                    <a:cubicBezTo>
                      <a:pt x="183066" y="421268"/>
                      <a:pt x="186385" y="428284"/>
                      <a:pt x="188044" y="430443"/>
                    </a:cubicBezTo>
                    <a:cubicBezTo>
                      <a:pt x="189703" y="432062"/>
                      <a:pt x="197446" y="435840"/>
                      <a:pt x="199106" y="437459"/>
                    </a:cubicBezTo>
                    <a:close/>
                    <a:moveTo>
                      <a:pt x="205743" y="536768"/>
                    </a:moveTo>
                    <a:cubicBezTo>
                      <a:pt x="203530" y="541626"/>
                      <a:pt x="200765" y="546483"/>
                      <a:pt x="198553" y="551881"/>
                    </a:cubicBezTo>
                    <a:cubicBezTo>
                      <a:pt x="195787" y="556738"/>
                      <a:pt x="194128" y="566453"/>
                      <a:pt x="191362" y="570771"/>
                    </a:cubicBezTo>
                    <a:cubicBezTo>
                      <a:pt x="189150" y="573470"/>
                      <a:pt x="177535" y="576708"/>
                      <a:pt x="175323" y="574009"/>
                    </a:cubicBezTo>
                    <a:cubicBezTo>
                      <a:pt x="174770" y="573470"/>
                      <a:pt x="174217" y="570771"/>
                      <a:pt x="174217" y="570231"/>
                    </a:cubicBezTo>
                    <a:cubicBezTo>
                      <a:pt x="174217" y="569152"/>
                      <a:pt x="174770" y="566993"/>
                      <a:pt x="174770" y="566453"/>
                    </a:cubicBezTo>
                    <a:cubicBezTo>
                      <a:pt x="176982" y="562675"/>
                      <a:pt x="180301" y="559437"/>
                      <a:pt x="182513" y="555659"/>
                    </a:cubicBezTo>
                    <a:cubicBezTo>
                      <a:pt x="188044" y="545404"/>
                      <a:pt x="188044" y="537848"/>
                      <a:pt x="196893" y="529212"/>
                    </a:cubicBezTo>
                    <a:cubicBezTo>
                      <a:pt x="197999" y="528133"/>
                      <a:pt x="199659" y="526514"/>
                      <a:pt x="200765" y="525974"/>
                    </a:cubicBezTo>
                    <a:cubicBezTo>
                      <a:pt x="202424" y="525974"/>
                      <a:pt x="209614" y="524355"/>
                      <a:pt x="210168" y="525974"/>
                    </a:cubicBezTo>
                    <a:cubicBezTo>
                      <a:pt x="211274" y="528133"/>
                      <a:pt x="206849" y="534609"/>
                      <a:pt x="205743" y="536768"/>
                    </a:cubicBezTo>
                    <a:close/>
                    <a:moveTo>
                      <a:pt x="151540" y="535149"/>
                    </a:moveTo>
                    <a:cubicBezTo>
                      <a:pt x="148221" y="537308"/>
                      <a:pt x="146009" y="532990"/>
                      <a:pt x="146009" y="530292"/>
                    </a:cubicBezTo>
                    <a:lnTo>
                      <a:pt x="148221" y="525974"/>
                    </a:lnTo>
                    <a:lnTo>
                      <a:pt x="149880" y="521116"/>
                    </a:lnTo>
                    <a:cubicBezTo>
                      <a:pt x="150434" y="520037"/>
                      <a:pt x="150987" y="515719"/>
                      <a:pt x="150987" y="514640"/>
                    </a:cubicBezTo>
                    <a:cubicBezTo>
                      <a:pt x="150434" y="513560"/>
                      <a:pt x="148774" y="512481"/>
                      <a:pt x="148221" y="512481"/>
                    </a:cubicBezTo>
                    <a:cubicBezTo>
                      <a:pt x="144903" y="512481"/>
                      <a:pt x="144350" y="517878"/>
                      <a:pt x="142690" y="519497"/>
                    </a:cubicBezTo>
                    <a:cubicBezTo>
                      <a:pt x="142137" y="520037"/>
                      <a:pt x="138266" y="521116"/>
                      <a:pt x="137712" y="520037"/>
                    </a:cubicBezTo>
                    <a:cubicBezTo>
                      <a:pt x="136053" y="518957"/>
                      <a:pt x="143243" y="505464"/>
                      <a:pt x="144903" y="503845"/>
                    </a:cubicBezTo>
                    <a:cubicBezTo>
                      <a:pt x="146562" y="502766"/>
                      <a:pt x="157071" y="498448"/>
                      <a:pt x="158730" y="500067"/>
                    </a:cubicBezTo>
                    <a:cubicBezTo>
                      <a:pt x="160389" y="501147"/>
                      <a:pt x="159836" y="508163"/>
                      <a:pt x="160389" y="510862"/>
                    </a:cubicBezTo>
                    <a:cubicBezTo>
                      <a:pt x="162049" y="515719"/>
                      <a:pt x="169239" y="523815"/>
                      <a:pt x="163708" y="528133"/>
                    </a:cubicBezTo>
                    <a:cubicBezTo>
                      <a:pt x="161495" y="530292"/>
                      <a:pt x="156518" y="530831"/>
                      <a:pt x="153752" y="532451"/>
                    </a:cubicBezTo>
                    <a:cubicBezTo>
                      <a:pt x="152646" y="532990"/>
                      <a:pt x="152093" y="534070"/>
                      <a:pt x="151540" y="535149"/>
                    </a:cubicBezTo>
                    <a:close/>
                    <a:moveTo>
                      <a:pt x="253862" y="697066"/>
                    </a:moveTo>
                    <a:cubicBezTo>
                      <a:pt x="253862" y="699225"/>
                      <a:pt x="253309" y="704083"/>
                      <a:pt x="252756" y="706241"/>
                    </a:cubicBezTo>
                    <a:cubicBezTo>
                      <a:pt x="248884" y="715417"/>
                      <a:pt x="237269" y="731608"/>
                      <a:pt x="226760" y="732688"/>
                    </a:cubicBezTo>
                    <a:lnTo>
                      <a:pt x="224548" y="732688"/>
                    </a:lnTo>
                    <a:cubicBezTo>
                      <a:pt x="223442" y="732148"/>
                      <a:pt x="219017" y="728370"/>
                      <a:pt x="218464" y="727291"/>
                    </a:cubicBezTo>
                    <a:cubicBezTo>
                      <a:pt x="217911" y="726211"/>
                      <a:pt x="218464" y="721893"/>
                      <a:pt x="219017" y="720814"/>
                    </a:cubicBezTo>
                    <a:cubicBezTo>
                      <a:pt x="220676" y="717576"/>
                      <a:pt x="229526" y="712178"/>
                      <a:pt x="232291" y="709480"/>
                    </a:cubicBezTo>
                    <a:cubicBezTo>
                      <a:pt x="235057" y="706781"/>
                      <a:pt x="236716" y="703003"/>
                      <a:pt x="239481" y="700844"/>
                    </a:cubicBezTo>
                    <a:cubicBezTo>
                      <a:pt x="242247" y="698146"/>
                      <a:pt x="249990" y="692748"/>
                      <a:pt x="253862" y="697066"/>
                    </a:cubicBezTo>
                    <a:close/>
                    <a:moveTo>
                      <a:pt x="227313" y="840633"/>
                    </a:moveTo>
                    <a:cubicBezTo>
                      <a:pt x="226760" y="841172"/>
                      <a:pt x="225101" y="840633"/>
                      <a:pt x="224548" y="840093"/>
                    </a:cubicBezTo>
                    <a:cubicBezTo>
                      <a:pt x="223442" y="839013"/>
                      <a:pt x="217911" y="831997"/>
                      <a:pt x="217358" y="830378"/>
                    </a:cubicBezTo>
                    <a:cubicBezTo>
                      <a:pt x="216252" y="826060"/>
                      <a:pt x="219017" y="813646"/>
                      <a:pt x="221782" y="809868"/>
                    </a:cubicBezTo>
                    <a:cubicBezTo>
                      <a:pt x="222889" y="808789"/>
                      <a:pt x="226207" y="807709"/>
                      <a:pt x="227313" y="807170"/>
                    </a:cubicBezTo>
                    <a:cubicBezTo>
                      <a:pt x="228973" y="807170"/>
                      <a:pt x="232844" y="806630"/>
                      <a:pt x="233950" y="807709"/>
                    </a:cubicBezTo>
                    <a:cubicBezTo>
                      <a:pt x="236163" y="809329"/>
                      <a:pt x="238375" y="816345"/>
                      <a:pt x="240588" y="818504"/>
                    </a:cubicBezTo>
                    <a:cubicBezTo>
                      <a:pt x="242800" y="820663"/>
                      <a:pt x="246119" y="821742"/>
                      <a:pt x="248884" y="823901"/>
                    </a:cubicBezTo>
                    <a:lnTo>
                      <a:pt x="248331" y="825520"/>
                    </a:lnTo>
                    <a:lnTo>
                      <a:pt x="245012" y="827139"/>
                    </a:lnTo>
                    <a:cubicBezTo>
                      <a:pt x="242800" y="828759"/>
                      <a:pt x="227866" y="839553"/>
                      <a:pt x="227313" y="840633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14" name="Freeform 1050">
                <a:extLst>
                  <a:ext uri="{FF2B5EF4-FFF2-40B4-BE49-F238E27FC236}">
                    <a16:creationId xmlns:a16="http://schemas.microsoft.com/office/drawing/2014/main" id="{9B91BF90-1BA7-44E7-A964-130D278D06D3}"/>
                  </a:ext>
                </a:extLst>
              </p:cNvPr>
              <p:cNvSpPr/>
              <p:nvPr/>
            </p:nvSpPr>
            <p:spPr>
              <a:xfrm>
                <a:off x="7336038" y="3297772"/>
                <a:ext cx="1332398" cy="947134"/>
              </a:xfrm>
              <a:custGeom>
                <a:avLst/>
                <a:gdLst>
                  <a:gd name="connsiteX0" fmla="*/ 537275 w 1332398"/>
                  <a:gd name="connsiteY0" fmla="*/ 119495 h 947134"/>
                  <a:gd name="connsiteX1" fmla="*/ 536722 w 1332398"/>
                  <a:gd name="connsiteY1" fmla="*/ 123813 h 947134"/>
                  <a:gd name="connsiteX2" fmla="*/ 535616 w 1332398"/>
                  <a:gd name="connsiteY2" fmla="*/ 142164 h 947134"/>
                  <a:gd name="connsiteX3" fmla="*/ 537275 w 1332398"/>
                  <a:gd name="connsiteY3" fmla="*/ 178865 h 947134"/>
                  <a:gd name="connsiteX4" fmla="*/ 547784 w 1332398"/>
                  <a:gd name="connsiteY4" fmla="*/ 210708 h 947134"/>
                  <a:gd name="connsiteX5" fmla="*/ 547784 w 1332398"/>
                  <a:gd name="connsiteY5" fmla="*/ 218265 h 947134"/>
                  <a:gd name="connsiteX6" fmla="*/ 542806 w 1332398"/>
                  <a:gd name="connsiteY6" fmla="*/ 217185 h 947134"/>
                  <a:gd name="connsiteX7" fmla="*/ 509620 w 1332398"/>
                  <a:gd name="connsiteY7" fmla="*/ 205311 h 947134"/>
                  <a:gd name="connsiteX8" fmla="*/ 502430 w 1332398"/>
                  <a:gd name="connsiteY8" fmla="*/ 199914 h 947134"/>
                  <a:gd name="connsiteX9" fmla="*/ 454311 w 1332398"/>
                  <a:gd name="connsiteY9" fmla="*/ 226360 h 947134"/>
                  <a:gd name="connsiteX10" fmla="*/ 444356 w 1332398"/>
                  <a:gd name="connsiteY10" fmla="*/ 220963 h 947134"/>
                  <a:gd name="connsiteX11" fmla="*/ 433847 w 1332398"/>
                  <a:gd name="connsiteY11" fmla="*/ 197215 h 947134"/>
                  <a:gd name="connsiteX12" fmla="*/ 416148 w 1332398"/>
                  <a:gd name="connsiteY12" fmla="*/ 211248 h 947134"/>
                  <a:gd name="connsiteX13" fmla="*/ 413382 w 1332398"/>
                  <a:gd name="connsiteY13" fmla="*/ 225281 h 947134"/>
                  <a:gd name="connsiteX14" fmla="*/ 369135 w 1332398"/>
                  <a:gd name="connsiteY14" fmla="*/ 220423 h 947134"/>
                  <a:gd name="connsiteX15" fmla="*/ 340927 w 1332398"/>
                  <a:gd name="connsiteY15" fmla="*/ 233377 h 947134"/>
                  <a:gd name="connsiteX16" fmla="*/ 337609 w 1332398"/>
                  <a:gd name="connsiteY16" fmla="*/ 244171 h 947134"/>
                  <a:gd name="connsiteX17" fmla="*/ 333184 w 1332398"/>
                  <a:gd name="connsiteY17" fmla="*/ 249568 h 947134"/>
                  <a:gd name="connsiteX18" fmla="*/ 316591 w 1332398"/>
                  <a:gd name="connsiteY18" fmla="*/ 234996 h 947134"/>
                  <a:gd name="connsiteX19" fmla="*/ 294468 w 1332398"/>
                  <a:gd name="connsiteY19" fmla="*/ 243632 h 947134"/>
                  <a:gd name="connsiteX20" fmla="*/ 278981 w 1332398"/>
                  <a:gd name="connsiteY20" fmla="*/ 218265 h 947134"/>
                  <a:gd name="connsiteX21" fmla="*/ 253539 w 1332398"/>
                  <a:gd name="connsiteY21" fmla="*/ 230678 h 947134"/>
                  <a:gd name="connsiteX22" fmla="*/ 240265 w 1332398"/>
                  <a:gd name="connsiteY22" fmla="*/ 232297 h 947134"/>
                  <a:gd name="connsiteX23" fmla="*/ 152876 w 1332398"/>
                  <a:gd name="connsiteY23" fmla="*/ 223662 h 947134"/>
                  <a:gd name="connsiteX24" fmla="*/ 92589 w 1332398"/>
                  <a:gd name="connsiteY24" fmla="*/ 257664 h 947134"/>
                  <a:gd name="connsiteX25" fmla="*/ 78762 w 1332398"/>
                  <a:gd name="connsiteY25" fmla="*/ 283031 h 947134"/>
                  <a:gd name="connsiteX26" fmla="*/ 62169 w 1332398"/>
                  <a:gd name="connsiteY26" fmla="*/ 295445 h 947134"/>
                  <a:gd name="connsiteX27" fmla="*/ 36174 w 1332398"/>
                  <a:gd name="connsiteY27" fmla="*/ 303541 h 947134"/>
                  <a:gd name="connsiteX28" fmla="*/ 51660 w 1332398"/>
                  <a:gd name="connsiteY28" fmla="*/ 340242 h 947134"/>
                  <a:gd name="connsiteX29" fmla="*/ 76549 w 1332398"/>
                  <a:gd name="connsiteY29" fmla="*/ 366149 h 947134"/>
                  <a:gd name="connsiteX30" fmla="*/ 96461 w 1332398"/>
                  <a:gd name="connsiteY30" fmla="*/ 407707 h 947134"/>
                  <a:gd name="connsiteX31" fmla="*/ 97567 w 1332398"/>
                  <a:gd name="connsiteY31" fmla="*/ 417962 h 947134"/>
                  <a:gd name="connsiteX32" fmla="*/ 95908 w 1332398"/>
                  <a:gd name="connsiteY32" fmla="*/ 427677 h 947134"/>
                  <a:gd name="connsiteX33" fmla="*/ 89824 w 1332398"/>
                  <a:gd name="connsiteY33" fmla="*/ 434694 h 947134"/>
                  <a:gd name="connsiteX34" fmla="*/ 74890 w 1332398"/>
                  <a:gd name="connsiteY34" fmla="*/ 442250 h 947134"/>
                  <a:gd name="connsiteX35" fmla="*/ 18475 w 1332398"/>
                  <a:gd name="connsiteY35" fmla="*/ 548035 h 947134"/>
                  <a:gd name="connsiteX36" fmla="*/ 17369 w 1332398"/>
                  <a:gd name="connsiteY36" fmla="*/ 559370 h 947134"/>
                  <a:gd name="connsiteX37" fmla="*/ 28430 w 1332398"/>
                  <a:gd name="connsiteY37" fmla="*/ 591753 h 947134"/>
                  <a:gd name="connsiteX38" fmla="*/ 28984 w 1332398"/>
                  <a:gd name="connsiteY38" fmla="*/ 604167 h 947134"/>
                  <a:gd name="connsiteX39" fmla="*/ 43364 w 1332398"/>
                  <a:gd name="connsiteY39" fmla="*/ 613882 h 947134"/>
                  <a:gd name="connsiteX40" fmla="*/ 40598 w 1332398"/>
                  <a:gd name="connsiteY40" fmla="*/ 619819 h 947134"/>
                  <a:gd name="connsiteX41" fmla="*/ 17922 w 1332398"/>
                  <a:gd name="connsiteY41" fmla="*/ 618739 h 947134"/>
                  <a:gd name="connsiteX42" fmla="*/ 9072 w 1332398"/>
                  <a:gd name="connsiteY42" fmla="*/ 665695 h 947134"/>
                  <a:gd name="connsiteX43" fmla="*/ -330 w 1332398"/>
                  <a:gd name="connsiteY43" fmla="*/ 681347 h 947134"/>
                  <a:gd name="connsiteX44" fmla="*/ -883 w 1332398"/>
                  <a:gd name="connsiteY44" fmla="*/ 700237 h 947134"/>
                  <a:gd name="connsiteX45" fmla="*/ 42258 w 1332398"/>
                  <a:gd name="connsiteY45" fmla="*/ 725604 h 947134"/>
                  <a:gd name="connsiteX46" fmla="*/ 60510 w 1332398"/>
                  <a:gd name="connsiteY46" fmla="*/ 729922 h 947134"/>
                  <a:gd name="connsiteX47" fmla="*/ 69912 w 1332398"/>
                  <a:gd name="connsiteY47" fmla="*/ 739098 h 947134"/>
                  <a:gd name="connsiteX48" fmla="*/ 97567 w 1332398"/>
                  <a:gd name="connsiteY48" fmla="*/ 727224 h 947134"/>
                  <a:gd name="connsiteX49" fmla="*/ 119138 w 1332398"/>
                  <a:gd name="connsiteY49" fmla="*/ 730462 h 947134"/>
                  <a:gd name="connsiteX50" fmla="*/ 121350 w 1332398"/>
                  <a:gd name="connsiteY50" fmla="*/ 723446 h 947134"/>
                  <a:gd name="connsiteX51" fmla="*/ 155088 w 1332398"/>
                  <a:gd name="connsiteY51" fmla="*/ 726144 h 947134"/>
                  <a:gd name="connsiteX52" fmla="*/ 200442 w 1332398"/>
                  <a:gd name="connsiteY52" fmla="*/ 719668 h 947134"/>
                  <a:gd name="connsiteX53" fmla="*/ 230862 w 1332398"/>
                  <a:gd name="connsiteY53" fmla="*/ 739098 h 947134"/>
                  <a:gd name="connsiteX54" fmla="*/ 248008 w 1332398"/>
                  <a:gd name="connsiteY54" fmla="*/ 731541 h 947134"/>
                  <a:gd name="connsiteX55" fmla="*/ 267366 w 1332398"/>
                  <a:gd name="connsiteY55" fmla="*/ 701317 h 947134"/>
                  <a:gd name="connsiteX56" fmla="*/ 323782 w 1332398"/>
                  <a:gd name="connsiteY56" fmla="*/ 681347 h 947134"/>
                  <a:gd name="connsiteX57" fmla="*/ 329866 w 1332398"/>
                  <a:gd name="connsiteY57" fmla="*/ 650583 h 947134"/>
                  <a:gd name="connsiteX58" fmla="*/ 358073 w 1332398"/>
                  <a:gd name="connsiteY58" fmla="*/ 634391 h 947134"/>
                  <a:gd name="connsiteX59" fmla="*/ 360286 w 1332398"/>
                  <a:gd name="connsiteY59" fmla="*/ 626835 h 947134"/>
                  <a:gd name="connsiteX60" fmla="*/ 377985 w 1332398"/>
                  <a:gd name="connsiteY60" fmla="*/ 612802 h 947134"/>
                  <a:gd name="connsiteX61" fmla="*/ 412829 w 1332398"/>
                  <a:gd name="connsiteY61" fmla="*/ 598230 h 947134"/>
                  <a:gd name="connsiteX62" fmla="*/ 426104 w 1332398"/>
                  <a:gd name="connsiteY62" fmla="*/ 598230 h 947134"/>
                  <a:gd name="connsiteX63" fmla="*/ 459289 w 1332398"/>
                  <a:gd name="connsiteY63" fmla="*/ 606865 h 947134"/>
                  <a:gd name="connsiteX64" fmla="*/ 470904 w 1332398"/>
                  <a:gd name="connsiteY64" fmla="*/ 616580 h 947134"/>
                  <a:gd name="connsiteX65" fmla="*/ 504090 w 1332398"/>
                  <a:gd name="connsiteY65" fmla="*/ 619819 h 947134"/>
                  <a:gd name="connsiteX66" fmla="*/ 515704 w 1332398"/>
                  <a:gd name="connsiteY66" fmla="*/ 614961 h 947134"/>
                  <a:gd name="connsiteX67" fmla="*/ 525660 w 1332398"/>
                  <a:gd name="connsiteY67" fmla="*/ 611723 h 947134"/>
                  <a:gd name="connsiteX68" fmla="*/ 533403 w 1332398"/>
                  <a:gd name="connsiteY68" fmla="*/ 613882 h 947134"/>
                  <a:gd name="connsiteX69" fmla="*/ 541147 w 1332398"/>
                  <a:gd name="connsiteY69" fmla="*/ 620898 h 947134"/>
                  <a:gd name="connsiteX70" fmla="*/ 553868 w 1332398"/>
                  <a:gd name="connsiteY70" fmla="*/ 627915 h 947134"/>
                  <a:gd name="connsiteX71" fmla="*/ 563824 w 1332398"/>
                  <a:gd name="connsiteY71" fmla="*/ 631153 h 947134"/>
                  <a:gd name="connsiteX72" fmla="*/ 574885 w 1332398"/>
                  <a:gd name="connsiteY72" fmla="*/ 654901 h 947134"/>
                  <a:gd name="connsiteX73" fmla="*/ 584841 w 1332398"/>
                  <a:gd name="connsiteY73" fmla="*/ 686205 h 947134"/>
                  <a:gd name="connsiteX74" fmla="*/ 607518 w 1332398"/>
                  <a:gd name="connsiteY74" fmla="*/ 689443 h 947134"/>
                  <a:gd name="connsiteX75" fmla="*/ 614155 w 1332398"/>
                  <a:gd name="connsiteY75" fmla="*/ 705095 h 947134"/>
                  <a:gd name="connsiteX76" fmla="*/ 650106 w 1332398"/>
                  <a:gd name="connsiteY76" fmla="*/ 738558 h 947134"/>
                  <a:gd name="connsiteX77" fmla="*/ 657849 w 1332398"/>
                  <a:gd name="connsiteY77" fmla="*/ 760147 h 947134"/>
                  <a:gd name="connsiteX78" fmla="*/ 683844 w 1332398"/>
                  <a:gd name="connsiteY78" fmla="*/ 771481 h 947134"/>
                  <a:gd name="connsiteX79" fmla="*/ 677760 w 1332398"/>
                  <a:gd name="connsiteY79" fmla="*/ 783895 h 947134"/>
                  <a:gd name="connsiteX80" fmla="*/ 663380 w 1332398"/>
                  <a:gd name="connsiteY80" fmla="*/ 792530 h 947134"/>
                  <a:gd name="connsiteX81" fmla="*/ 631301 w 1332398"/>
                  <a:gd name="connsiteY81" fmla="*/ 786053 h 947134"/>
                  <a:gd name="connsiteX82" fmla="*/ 623557 w 1332398"/>
                  <a:gd name="connsiteY82" fmla="*/ 800086 h 947134"/>
                  <a:gd name="connsiteX83" fmla="*/ 612496 w 1332398"/>
                  <a:gd name="connsiteY83" fmla="*/ 795229 h 947134"/>
                  <a:gd name="connsiteX84" fmla="*/ 606412 w 1332398"/>
                  <a:gd name="connsiteY84" fmla="*/ 788212 h 947134"/>
                  <a:gd name="connsiteX85" fmla="*/ 595903 w 1332398"/>
                  <a:gd name="connsiteY85" fmla="*/ 795229 h 947134"/>
                  <a:gd name="connsiteX86" fmla="*/ 595350 w 1332398"/>
                  <a:gd name="connsiteY86" fmla="*/ 810341 h 947134"/>
                  <a:gd name="connsiteX87" fmla="*/ 602540 w 1332398"/>
                  <a:gd name="connsiteY87" fmla="*/ 827072 h 947134"/>
                  <a:gd name="connsiteX88" fmla="*/ 581522 w 1332398"/>
                  <a:gd name="connsiteY88" fmla="*/ 901554 h 947134"/>
                  <a:gd name="connsiteX89" fmla="*/ 583182 w 1332398"/>
                  <a:gd name="connsiteY89" fmla="*/ 913428 h 947134"/>
                  <a:gd name="connsiteX90" fmla="*/ 567695 w 1332398"/>
                  <a:gd name="connsiteY90" fmla="*/ 935017 h 947134"/>
                  <a:gd name="connsiteX91" fmla="*/ 603093 w 1332398"/>
                  <a:gd name="connsiteY91" fmla="*/ 945272 h 947134"/>
                  <a:gd name="connsiteX92" fmla="*/ 672783 w 1332398"/>
                  <a:gd name="connsiteY92" fmla="*/ 906412 h 947134"/>
                  <a:gd name="connsiteX93" fmla="*/ 687163 w 1332398"/>
                  <a:gd name="connsiteY93" fmla="*/ 917206 h 947134"/>
                  <a:gd name="connsiteX94" fmla="*/ 683844 w 1332398"/>
                  <a:gd name="connsiteY94" fmla="*/ 897236 h 947134"/>
                  <a:gd name="connsiteX95" fmla="*/ 676654 w 1332398"/>
                  <a:gd name="connsiteY95" fmla="*/ 892919 h 947134"/>
                  <a:gd name="connsiteX96" fmla="*/ 673889 w 1332398"/>
                  <a:gd name="connsiteY96" fmla="*/ 884823 h 947134"/>
                  <a:gd name="connsiteX97" fmla="*/ 668911 w 1332398"/>
                  <a:gd name="connsiteY97" fmla="*/ 877806 h 947134"/>
                  <a:gd name="connsiteX98" fmla="*/ 667805 w 1332398"/>
                  <a:gd name="connsiteY98" fmla="*/ 867012 h 947134"/>
                  <a:gd name="connsiteX99" fmla="*/ 666146 w 1332398"/>
                  <a:gd name="connsiteY99" fmla="*/ 863774 h 947134"/>
                  <a:gd name="connsiteX100" fmla="*/ 665592 w 1332398"/>
                  <a:gd name="connsiteY100" fmla="*/ 857837 h 947134"/>
                  <a:gd name="connsiteX101" fmla="*/ 667252 w 1332398"/>
                  <a:gd name="connsiteY101" fmla="*/ 855678 h 947134"/>
                  <a:gd name="connsiteX102" fmla="*/ 680526 w 1332398"/>
                  <a:gd name="connsiteY102" fmla="*/ 871330 h 947134"/>
                  <a:gd name="connsiteX103" fmla="*/ 686610 w 1332398"/>
                  <a:gd name="connsiteY103" fmla="*/ 855138 h 947134"/>
                  <a:gd name="connsiteX104" fmla="*/ 704309 w 1332398"/>
                  <a:gd name="connsiteY104" fmla="*/ 831930 h 947134"/>
                  <a:gd name="connsiteX105" fmla="*/ 716477 w 1332398"/>
                  <a:gd name="connsiteY105" fmla="*/ 804404 h 947134"/>
                  <a:gd name="connsiteX106" fmla="*/ 684951 w 1332398"/>
                  <a:gd name="connsiteY106" fmla="*/ 781736 h 947134"/>
                  <a:gd name="connsiteX107" fmla="*/ 685504 w 1332398"/>
                  <a:gd name="connsiteY107" fmla="*/ 775259 h 947134"/>
                  <a:gd name="connsiteX108" fmla="*/ 692694 w 1332398"/>
                  <a:gd name="connsiteY108" fmla="*/ 771481 h 947134"/>
                  <a:gd name="connsiteX109" fmla="*/ 707074 w 1332398"/>
                  <a:gd name="connsiteY109" fmla="*/ 774719 h 947134"/>
                  <a:gd name="connsiteX110" fmla="*/ 723667 w 1332398"/>
                  <a:gd name="connsiteY110" fmla="*/ 791990 h 947134"/>
                  <a:gd name="connsiteX111" fmla="*/ 724773 w 1332398"/>
                  <a:gd name="connsiteY111" fmla="*/ 789832 h 947134"/>
                  <a:gd name="connsiteX112" fmla="*/ 728092 w 1332398"/>
                  <a:gd name="connsiteY112" fmla="*/ 767703 h 947134"/>
                  <a:gd name="connsiteX113" fmla="*/ 731963 w 1332398"/>
                  <a:gd name="connsiteY113" fmla="*/ 754210 h 947134"/>
                  <a:gd name="connsiteX114" fmla="*/ 733070 w 1332398"/>
                  <a:gd name="connsiteY114" fmla="*/ 739098 h 947134"/>
                  <a:gd name="connsiteX115" fmla="*/ 757959 w 1332398"/>
                  <a:gd name="connsiteY115" fmla="*/ 722366 h 947134"/>
                  <a:gd name="connsiteX116" fmla="*/ 764043 w 1332398"/>
                  <a:gd name="connsiteY116" fmla="*/ 720207 h 947134"/>
                  <a:gd name="connsiteX117" fmla="*/ 778976 w 1332398"/>
                  <a:gd name="connsiteY117" fmla="*/ 712651 h 947134"/>
                  <a:gd name="connsiteX118" fmla="*/ 783954 w 1332398"/>
                  <a:gd name="connsiteY118" fmla="*/ 710492 h 947134"/>
                  <a:gd name="connsiteX119" fmla="*/ 793357 w 1332398"/>
                  <a:gd name="connsiteY119" fmla="*/ 702936 h 947134"/>
                  <a:gd name="connsiteX120" fmla="*/ 805525 w 1332398"/>
                  <a:gd name="connsiteY120" fmla="*/ 701857 h 947134"/>
                  <a:gd name="connsiteX121" fmla="*/ 808843 w 1332398"/>
                  <a:gd name="connsiteY121" fmla="*/ 693761 h 947134"/>
                  <a:gd name="connsiteX122" fmla="*/ 809396 w 1332398"/>
                  <a:gd name="connsiteY122" fmla="*/ 664616 h 947134"/>
                  <a:gd name="connsiteX123" fmla="*/ 816587 w 1332398"/>
                  <a:gd name="connsiteY123" fmla="*/ 688364 h 947134"/>
                  <a:gd name="connsiteX124" fmla="*/ 830967 w 1332398"/>
                  <a:gd name="connsiteY124" fmla="*/ 698079 h 947134"/>
                  <a:gd name="connsiteX125" fmla="*/ 849772 w 1332398"/>
                  <a:gd name="connsiteY125" fmla="*/ 697539 h 947134"/>
                  <a:gd name="connsiteX126" fmla="*/ 855856 w 1332398"/>
                  <a:gd name="connsiteY126" fmla="*/ 698079 h 947134"/>
                  <a:gd name="connsiteX127" fmla="*/ 856409 w 1332398"/>
                  <a:gd name="connsiteY127" fmla="*/ 707254 h 947134"/>
                  <a:gd name="connsiteX128" fmla="*/ 824883 w 1332398"/>
                  <a:gd name="connsiteY128" fmla="*/ 714270 h 947134"/>
                  <a:gd name="connsiteX129" fmla="*/ 793910 w 1332398"/>
                  <a:gd name="connsiteY129" fmla="*/ 721287 h 947134"/>
                  <a:gd name="connsiteX130" fmla="*/ 801653 w 1332398"/>
                  <a:gd name="connsiteY130" fmla="*/ 725065 h 947134"/>
                  <a:gd name="connsiteX131" fmla="*/ 811609 w 1332398"/>
                  <a:gd name="connsiteY131" fmla="*/ 720207 h 947134"/>
                  <a:gd name="connsiteX132" fmla="*/ 827648 w 1332398"/>
                  <a:gd name="connsiteY132" fmla="*/ 720207 h 947134"/>
                  <a:gd name="connsiteX133" fmla="*/ 830967 w 1332398"/>
                  <a:gd name="connsiteY133" fmla="*/ 725065 h 947134"/>
                  <a:gd name="connsiteX134" fmla="*/ 823224 w 1332398"/>
                  <a:gd name="connsiteY134" fmla="*/ 739098 h 947134"/>
                  <a:gd name="connsiteX135" fmla="*/ 856409 w 1332398"/>
                  <a:gd name="connsiteY135" fmla="*/ 743415 h 947134"/>
                  <a:gd name="connsiteX136" fmla="*/ 861387 w 1332398"/>
                  <a:gd name="connsiteY136" fmla="*/ 747193 h 947134"/>
                  <a:gd name="connsiteX137" fmla="*/ 871343 w 1332398"/>
                  <a:gd name="connsiteY137" fmla="*/ 749892 h 947134"/>
                  <a:gd name="connsiteX138" fmla="*/ 875214 w 1332398"/>
                  <a:gd name="connsiteY138" fmla="*/ 747193 h 947134"/>
                  <a:gd name="connsiteX139" fmla="*/ 889595 w 1332398"/>
                  <a:gd name="connsiteY139" fmla="*/ 739637 h 947134"/>
                  <a:gd name="connsiteX140" fmla="*/ 899550 w 1332398"/>
                  <a:gd name="connsiteY140" fmla="*/ 732621 h 947134"/>
                  <a:gd name="connsiteX141" fmla="*/ 907294 w 1332398"/>
                  <a:gd name="connsiteY141" fmla="*/ 729922 h 947134"/>
                  <a:gd name="connsiteX142" fmla="*/ 934395 w 1332398"/>
                  <a:gd name="connsiteY142" fmla="*/ 719668 h 947134"/>
                  <a:gd name="connsiteX143" fmla="*/ 952094 w 1332398"/>
                  <a:gd name="connsiteY143" fmla="*/ 721826 h 947134"/>
                  <a:gd name="connsiteX144" fmla="*/ 967028 w 1332398"/>
                  <a:gd name="connsiteY144" fmla="*/ 711572 h 947134"/>
                  <a:gd name="connsiteX145" fmla="*/ 973112 w 1332398"/>
                  <a:gd name="connsiteY145" fmla="*/ 725604 h 947134"/>
                  <a:gd name="connsiteX146" fmla="*/ 980855 w 1332398"/>
                  <a:gd name="connsiteY146" fmla="*/ 731541 h 947134"/>
                  <a:gd name="connsiteX147" fmla="*/ 946563 w 1332398"/>
                  <a:gd name="connsiteY147" fmla="*/ 763925 h 947134"/>
                  <a:gd name="connsiteX148" fmla="*/ 927205 w 1332398"/>
                  <a:gd name="connsiteY148" fmla="*/ 790911 h 947134"/>
                  <a:gd name="connsiteX149" fmla="*/ 905634 w 1332398"/>
                  <a:gd name="connsiteY149" fmla="*/ 825993 h 947134"/>
                  <a:gd name="connsiteX150" fmla="*/ 906741 w 1332398"/>
                  <a:gd name="connsiteY150" fmla="*/ 828152 h 947134"/>
                  <a:gd name="connsiteX151" fmla="*/ 915590 w 1332398"/>
                  <a:gd name="connsiteY151" fmla="*/ 833009 h 947134"/>
                  <a:gd name="connsiteX152" fmla="*/ 938820 w 1332398"/>
                  <a:gd name="connsiteY152" fmla="*/ 822215 h 947134"/>
                  <a:gd name="connsiteX153" fmla="*/ 974771 w 1332398"/>
                  <a:gd name="connsiteY153" fmla="*/ 829231 h 947134"/>
                  <a:gd name="connsiteX154" fmla="*/ 984727 w 1332398"/>
                  <a:gd name="connsiteY154" fmla="*/ 823834 h 947134"/>
                  <a:gd name="connsiteX155" fmla="*/ 998001 w 1332398"/>
                  <a:gd name="connsiteY155" fmla="*/ 825993 h 947134"/>
                  <a:gd name="connsiteX156" fmla="*/ 1012381 w 1332398"/>
                  <a:gd name="connsiteY156" fmla="*/ 846502 h 947134"/>
                  <a:gd name="connsiteX157" fmla="*/ 1011828 w 1332398"/>
                  <a:gd name="connsiteY157" fmla="*/ 859996 h 947134"/>
                  <a:gd name="connsiteX158" fmla="*/ 1015147 w 1332398"/>
                  <a:gd name="connsiteY158" fmla="*/ 877806 h 947134"/>
                  <a:gd name="connsiteX159" fmla="*/ 1007403 w 1332398"/>
                  <a:gd name="connsiteY159" fmla="*/ 890760 h 947134"/>
                  <a:gd name="connsiteX160" fmla="*/ 1008510 w 1332398"/>
                  <a:gd name="connsiteY160" fmla="*/ 898316 h 947134"/>
                  <a:gd name="connsiteX161" fmla="*/ 1021231 w 1332398"/>
                  <a:gd name="connsiteY161" fmla="*/ 901554 h 947134"/>
                  <a:gd name="connsiteX162" fmla="*/ 1028974 w 1332398"/>
                  <a:gd name="connsiteY162" fmla="*/ 900475 h 947134"/>
                  <a:gd name="connsiteX163" fmla="*/ 1042248 w 1332398"/>
                  <a:gd name="connsiteY163" fmla="*/ 903713 h 947134"/>
                  <a:gd name="connsiteX164" fmla="*/ 1051098 w 1332398"/>
                  <a:gd name="connsiteY164" fmla="*/ 902094 h 947134"/>
                  <a:gd name="connsiteX165" fmla="*/ 1078199 w 1332398"/>
                  <a:gd name="connsiteY165" fmla="*/ 867552 h 947134"/>
                  <a:gd name="connsiteX166" fmla="*/ 1091473 w 1332398"/>
                  <a:gd name="connsiteY166" fmla="*/ 834629 h 947134"/>
                  <a:gd name="connsiteX167" fmla="*/ 1119681 w 1332398"/>
                  <a:gd name="connsiteY167" fmla="*/ 816818 h 947134"/>
                  <a:gd name="connsiteX168" fmla="*/ 1128531 w 1332398"/>
                  <a:gd name="connsiteY168" fmla="*/ 816818 h 947134"/>
                  <a:gd name="connsiteX169" fmla="*/ 1135168 w 1332398"/>
                  <a:gd name="connsiteY169" fmla="*/ 796848 h 947134"/>
                  <a:gd name="connsiteX170" fmla="*/ 1144017 w 1332398"/>
                  <a:gd name="connsiteY170" fmla="*/ 789832 h 947134"/>
                  <a:gd name="connsiteX171" fmla="*/ 1148442 w 1332398"/>
                  <a:gd name="connsiteY171" fmla="*/ 769862 h 947134"/>
                  <a:gd name="connsiteX172" fmla="*/ 1166694 w 1332398"/>
                  <a:gd name="connsiteY172" fmla="*/ 766623 h 947134"/>
                  <a:gd name="connsiteX173" fmla="*/ 1180521 w 1332398"/>
                  <a:gd name="connsiteY173" fmla="*/ 771481 h 947134"/>
                  <a:gd name="connsiteX174" fmla="*/ 1186605 w 1332398"/>
                  <a:gd name="connsiteY174" fmla="*/ 768243 h 947134"/>
                  <a:gd name="connsiteX175" fmla="*/ 1189371 w 1332398"/>
                  <a:gd name="connsiteY175" fmla="*/ 763925 h 947134"/>
                  <a:gd name="connsiteX176" fmla="*/ 1222003 w 1332398"/>
                  <a:gd name="connsiteY176" fmla="*/ 748273 h 947134"/>
                  <a:gd name="connsiteX177" fmla="*/ 1214260 w 1332398"/>
                  <a:gd name="connsiteY177" fmla="*/ 720747 h 947134"/>
                  <a:gd name="connsiteX178" fmla="*/ 1222003 w 1332398"/>
                  <a:gd name="connsiteY178" fmla="*/ 700237 h 947134"/>
                  <a:gd name="connsiteX179" fmla="*/ 1183287 w 1332398"/>
                  <a:gd name="connsiteY179" fmla="*/ 713191 h 947134"/>
                  <a:gd name="connsiteX180" fmla="*/ 1178309 w 1332398"/>
                  <a:gd name="connsiteY180" fmla="*/ 723985 h 947134"/>
                  <a:gd name="connsiteX181" fmla="*/ 1162822 w 1332398"/>
                  <a:gd name="connsiteY181" fmla="*/ 723985 h 947134"/>
                  <a:gd name="connsiteX182" fmla="*/ 1155632 w 1332398"/>
                  <a:gd name="connsiteY182" fmla="*/ 739098 h 947134"/>
                  <a:gd name="connsiteX183" fmla="*/ 1130743 w 1332398"/>
                  <a:gd name="connsiteY183" fmla="*/ 754750 h 947134"/>
                  <a:gd name="connsiteX184" fmla="*/ 1117469 w 1332398"/>
                  <a:gd name="connsiteY184" fmla="*/ 756369 h 947134"/>
                  <a:gd name="connsiteX185" fmla="*/ 1099217 w 1332398"/>
                  <a:gd name="connsiteY185" fmla="*/ 750432 h 947134"/>
                  <a:gd name="connsiteX186" fmla="*/ 1098110 w 1332398"/>
                  <a:gd name="connsiteY186" fmla="*/ 740717 h 947134"/>
                  <a:gd name="connsiteX187" fmla="*/ 1089814 w 1332398"/>
                  <a:gd name="connsiteY187" fmla="*/ 727763 h 947134"/>
                  <a:gd name="connsiteX188" fmla="*/ 1085942 w 1332398"/>
                  <a:gd name="connsiteY188" fmla="*/ 725065 h 947134"/>
                  <a:gd name="connsiteX189" fmla="*/ 1061606 w 1332398"/>
                  <a:gd name="connsiteY189" fmla="*/ 717509 h 947134"/>
                  <a:gd name="connsiteX190" fmla="*/ 1054416 w 1332398"/>
                  <a:gd name="connsiteY190" fmla="*/ 701857 h 947134"/>
                  <a:gd name="connsiteX191" fmla="*/ 1042801 w 1332398"/>
                  <a:gd name="connsiteY191" fmla="*/ 700777 h 947134"/>
                  <a:gd name="connsiteX192" fmla="*/ 1027868 w 1332398"/>
                  <a:gd name="connsiteY192" fmla="*/ 702936 h 947134"/>
                  <a:gd name="connsiteX193" fmla="*/ 1000213 w 1332398"/>
                  <a:gd name="connsiteY193" fmla="*/ 704555 h 947134"/>
                  <a:gd name="connsiteX194" fmla="*/ 991917 w 1332398"/>
                  <a:gd name="connsiteY194" fmla="*/ 712111 h 947134"/>
                  <a:gd name="connsiteX195" fmla="*/ 984173 w 1332398"/>
                  <a:gd name="connsiteY195" fmla="*/ 705095 h 947134"/>
                  <a:gd name="connsiteX196" fmla="*/ 970346 w 1332398"/>
                  <a:gd name="connsiteY196" fmla="*/ 699698 h 947134"/>
                  <a:gd name="connsiteX197" fmla="*/ 970346 w 1332398"/>
                  <a:gd name="connsiteY197" fmla="*/ 694840 h 947134"/>
                  <a:gd name="connsiteX198" fmla="*/ 977536 w 1332398"/>
                  <a:gd name="connsiteY198" fmla="*/ 692681 h 947134"/>
                  <a:gd name="connsiteX199" fmla="*/ 993576 w 1332398"/>
                  <a:gd name="connsiteY199" fmla="*/ 694840 h 947134"/>
                  <a:gd name="connsiteX200" fmla="*/ 1000766 w 1332398"/>
                  <a:gd name="connsiteY200" fmla="*/ 689983 h 947134"/>
                  <a:gd name="connsiteX201" fmla="*/ 1010722 w 1332398"/>
                  <a:gd name="connsiteY201" fmla="*/ 691062 h 947134"/>
                  <a:gd name="connsiteX202" fmla="*/ 1016806 w 1332398"/>
                  <a:gd name="connsiteY202" fmla="*/ 684585 h 947134"/>
                  <a:gd name="connsiteX203" fmla="*/ 1037270 w 1332398"/>
                  <a:gd name="connsiteY203" fmla="*/ 682966 h 947134"/>
                  <a:gd name="connsiteX204" fmla="*/ 1040589 w 1332398"/>
                  <a:gd name="connsiteY204" fmla="*/ 686205 h 947134"/>
                  <a:gd name="connsiteX205" fmla="*/ 1051098 w 1332398"/>
                  <a:gd name="connsiteY205" fmla="*/ 686744 h 947134"/>
                  <a:gd name="connsiteX206" fmla="*/ 1056629 w 1332398"/>
                  <a:gd name="connsiteY206" fmla="*/ 680268 h 947134"/>
                  <a:gd name="connsiteX207" fmla="*/ 1059394 w 1332398"/>
                  <a:gd name="connsiteY207" fmla="*/ 658139 h 947134"/>
                  <a:gd name="connsiteX208" fmla="*/ 1064925 w 1332398"/>
                  <a:gd name="connsiteY208" fmla="*/ 655440 h 947134"/>
                  <a:gd name="connsiteX209" fmla="*/ 1070456 w 1332398"/>
                  <a:gd name="connsiteY209" fmla="*/ 647884 h 947134"/>
                  <a:gd name="connsiteX210" fmla="*/ 1074881 w 1332398"/>
                  <a:gd name="connsiteY210" fmla="*/ 632772 h 947134"/>
                  <a:gd name="connsiteX211" fmla="*/ 1086496 w 1332398"/>
                  <a:gd name="connsiteY211" fmla="*/ 633852 h 947134"/>
                  <a:gd name="connsiteX212" fmla="*/ 1090367 w 1332398"/>
                  <a:gd name="connsiteY212" fmla="*/ 630613 h 947134"/>
                  <a:gd name="connsiteX213" fmla="*/ 1083177 w 1332398"/>
                  <a:gd name="connsiteY213" fmla="*/ 626835 h 947134"/>
                  <a:gd name="connsiteX214" fmla="*/ 1071009 w 1332398"/>
                  <a:gd name="connsiteY214" fmla="*/ 614421 h 947134"/>
                  <a:gd name="connsiteX215" fmla="*/ 1072668 w 1332398"/>
                  <a:gd name="connsiteY215" fmla="*/ 598769 h 947134"/>
                  <a:gd name="connsiteX216" fmla="*/ 1076540 w 1332398"/>
                  <a:gd name="connsiteY216" fmla="*/ 599309 h 947134"/>
                  <a:gd name="connsiteX217" fmla="*/ 1090367 w 1332398"/>
                  <a:gd name="connsiteY217" fmla="*/ 616041 h 947134"/>
                  <a:gd name="connsiteX218" fmla="*/ 1095898 w 1332398"/>
                  <a:gd name="connsiteY218" fmla="*/ 617120 h 947134"/>
                  <a:gd name="connsiteX219" fmla="*/ 1105854 w 1332398"/>
                  <a:gd name="connsiteY219" fmla="*/ 595531 h 947134"/>
                  <a:gd name="connsiteX220" fmla="*/ 1114703 w 1332398"/>
                  <a:gd name="connsiteY220" fmla="*/ 584197 h 947134"/>
                  <a:gd name="connsiteX221" fmla="*/ 1118022 w 1332398"/>
                  <a:gd name="connsiteY221" fmla="*/ 581498 h 947134"/>
                  <a:gd name="connsiteX222" fmla="*/ 1131296 w 1332398"/>
                  <a:gd name="connsiteY222" fmla="*/ 572323 h 947134"/>
                  <a:gd name="connsiteX223" fmla="*/ 1148442 w 1332398"/>
                  <a:gd name="connsiteY223" fmla="*/ 567466 h 947134"/>
                  <a:gd name="connsiteX224" fmla="*/ 1155632 w 1332398"/>
                  <a:gd name="connsiteY224" fmla="*/ 554512 h 947134"/>
                  <a:gd name="connsiteX225" fmla="*/ 1171119 w 1332398"/>
                  <a:gd name="connsiteY225" fmla="*/ 542099 h 947134"/>
                  <a:gd name="connsiteX226" fmla="*/ 1178862 w 1332398"/>
                  <a:gd name="connsiteY226" fmla="*/ 538320 h 947134"/>
                  <a:gd name="connsiteX227" fmla="*/ 1185499 w 1332398"/>
                  <a:gd name="connsiteY227" fmla="*/ 526986 h 947134"/>
                  <a:gd name="connsiteX228" fmla="*/ 1196561 w 1332398"/>
                  <a:gd name="connsiteY228" fmla="*/ 514573 h 947134"/>
                  <a:gd name="connsiteX229" fmla="*/ 1204857 w 1332398"/>
                  <a:gd name="connsiteY229" fmla="*/ 508636 h 947134"/>
                  <a:gd name="connsiteX230" fmla="*/ 1213707 w 1332398"/>
                  <a:gd name="connsiteY230" fmla="*/ 505397 h 947134"/>
                  <a:gd name="connsiteX231" fmla="*/ 1220344 w 1332398"/>
                  <a:gd name="connsiteY231" fmla="*/ 481650 h 947134"/>
                  <a:gd name="connsiteX232" fmla="*/ 1260166 w 1332398"/>
                  <a:gd name="connsiteY232" fmla="*/ 461680 h 947134"/>
                  <a:gd name="connsiteX233" fmla="*/ 1263485 w 1332398"/>
                  <a:gd name="connsiteY233" fmla="*/ 461140 h 947134"/>
                  <a:gd name="connsiteX234" fmla="*/ 1270122 w 1332398"/>
                  <a:gd name="connsiteY234" fmla="*/ 454663 h 947134"/>
                  <a:gd name="connsiteX235" fmla="*/ 1256848 w 1332398"/>
                  <a:gd name="connsiteY235" fmla="*/ 448726 h 947134"/>
                  <a:gd name="connsiteX236" fmla="*/ 1247445 w 1332398"/>
                  <a:gd name="connsiteY236" fmla="*/ 427137 h 947134"/>
                  <a:gd name="connsiteX237" fmla="*/ 1249105 w 1332398"/>
                  <a:gd name="connsiteY237" fmla="*/ 409327 h 947134"/>
                  <a:gd name="connsiteX238" fmla="*/ 1257954 w 1332398"/>
                  <a:gd name="connsiteY238" fmla="*/ 387198 h 947134"/>
                  <a:gd name="connsiteX239" fmla="*/ 1278418 w 1332398"/>
                  <a:gd name="connsiteY239" fmla="*/ 365069 h 947134"/>
                  <a:gd name="connsiteX240" fmla="*/ 1298883 w 1332398"/>
                  <a:gd name="connsiteY240" fmla="*/ 331606 h 947134"/>
                  <a:gd name="connsiteX241" fmla="*/ 1321007 w 1332398"/>
                  <a:gd name="connsiteY241" fmla="*/ 315415 h 947134"/>
                  <a:gd name="connsiteX242" fmla="*/ 1331515 w 1332398"/>
                  <a:gd name="connsiteY242" fmla="*/ 290048 h 947134"/>
                  <a:gd name="connsiteX243" fmla="*/ 1329856 w 1332398"/>
                  <a:gd name="connsiteY243" fmla="*/ 279253 h 947134"/>
                  <a:gd name="connsiteX244" fmla="*/ 1320453 w 1332398"/>
                  <a:gd name="connsiteY244" fmla="*/ 265220 h 947134"/>
                  <a:gd name="connsiteX245" fmla="*/ 1303308 w 1332398"/>
                  <a:gd name="connsiteY245" fmla="*/ 255505 h 947134"/>
                  <a:gd name="connsiteX246" fmla="*/ 1297777 w 1332398"/>
                  <a:gd name="connsiteY246" fmla="*/ 246870 h 947134"/>
                  <a:gd name="connsiteX247" fmla="*/ 1297777 w 1332398"/>
                  <a:gd name="connsiteY247" fmla="*/ 237695 h 947134"/>
                  <a:gd name="connsiteX248" fmla="*/ 1303861 w 1332398"/>
                  <a:gd name="connsiteY248" fmla="*/ 216106 h 947134"/>
                  <a:gd name="connsiteX249" fmla="*/ 1288374 w 1332398"/>
                  <a:gd name="connsiteY249" fmla="*/ 214486 h 947134"/>
                  <a:gd name="connsiteX250" fmla="*/ 1287821 w 1332398"/>
                  <a:gd name="connsiteY250" fmla="*/ 208010 h 947134"/>
                  <a:gd name="connsiteX251" fmla="*/ 1300542 w 1332398"/>
                  <a:gd name="connsiteY251" fmla="*/ 183722 h 947134"/>
                  <a:gd name="connsiteX252" fmla="*/ 1296670 w 1332398"/>
                  <a:gd name="connsiteY252" fmla="*/ 159435 h 947134"/>
                  <a:gd name="connsiteX253" fmla="*/ 1277865 w 1332398"/>
                  <a:gd name="connsiteY253" fmla="*/ 136227 h 947134"/>
                  <a:gd name="connsiteX254" fmla="*/ 1241361 w 1332398"/>
                  <a:gd name="connsiteY254" fmla="*/ 138925 h 947134"/>
                  <a:gd name="connsiteX255" fmla="*/ 1204857 w 1332398"/>
                  <a:gd name="connsiteY255" fmla="*/ 132449 h 947134"/>
                  <a:gd name="connsiteX256" fmla="*/ 1189924 w 1332398"/>
                  <a:gd name="connsiteY256" fmla="*/ 143243 h 947134"/>
                  <a:gd name="connsiteX257" fmla="*/ 1181074 w 1332398"/>
                  <a:gd name="connsiteY257" fmla="*/ 146481 h 947134"/>
                  <a:gd name="connsiteX258" fmla="*/ 1147889 w 1332398"/>
                  <a:gd name="connsiteY258" fmla="*/ 145402 h 947134"/>
                  <a:gd name="connsiteX259" fmla="*/ 1124106 w 1332398"/>
                  <a:gd name="connsiteY259" fmla="*/ 155657 h 947134"/>
                  <a:gd name="connsiteX260" fmla="*/ 1108066 w 1332398"/>
                  <a:gd name="connsiteY260" fmla="*/ 153498 h 947134"/>
                  <a:gd name="connsiteX261" fmla="*/ 1100323 w 1332398"/>
                  <a:gd name="connsiteY261" fmla="*/ 165911 h 947134"/>
                  <a:gd name="connsiteX262" fmla="*/ 1074881 w 1332398"/>
                  <a:gd name="connsiteY262" fmla="*/ 165372 h 947134"/>
                  <a:gd name="connsiteX263" fmla="*/ 1052757 w 1332398"/>
                  <a:gd name="connsiteY263" fmla="*/ 138385 h 947134"/>
                  <a:gd name="connsiteX264" fmla="*/ 1036164 w 1332398"/>
                  <a:gd name="connsiteY264" fmla="*/ 145942 h 947134"/>
                  <a:gd name="connsiteX265" fmla="*/ 1021784 w 1332398"/>
                  <a:gd name="connsiteY265" fmla="*/ 164832 h 947134"/>
                  <a:gd name="connsiteX266" fmla="*/ 993576 w 1332398"/>
                  <a:gd name="connsiteY266" fmla="*/ 172388 h 947134"/>
                  <a:gd name="connsiteX267" fmla="*/ 945457 w 1332398"/>
                  <a:gd name="connsiteY267" fmla="*/ 169150 h 947134"/>
                  <a:gd name="connsiteX268" fmla="*/ 931630 w 1332398"/>
                  <a:gd name="connsiteY268" fmla="*/ 178325 h 947134"/>
                  <a:gd name="connsiteX269" fmla="*/ 912271 w 1332398"/>
                  <a:gd name="connsiteY269" fmla="*/ 168610 h 947134"/>
                  <a:gd name="connsiteX270" fmla="*/ 887382 w 1332398"/>
                  <a:gd name="connsiteY270" fmla="*/ 121654 h 947134"/>
                  <a:gd name="connsiteX271" fmla="*/ 851984 w 1332398"/>
                  <a:gd name="connsiteY271" fmla="*/ 110320 h 947134"/>
                  <a:gd name="connsiteX272" fmla="*/ 824330 w 1332398"/>
                  <a:gd name="connsiteY272" fmla="*/ 118955 h 947134"/>
                  <a:gd name="connsiteX273" fmla="*/ 792804 w 1332398"/>
                  <a:gd name="connsiteY273" fmla="*/ 116797 h 947134"/>
                  <a:gd name="connsiteX274" fmla="*/ 782848 w 1332398"/>
                  <a:gd name="connsiteY274" fmla="*/ 104383 h 947134"/>
                  <a:gd name="connsiteX275" fmla="*/ 777317 w 1332398"/>
                  <a:gd name="connsiteY275" fmla="*/ 81715 h 947134"/>
                  <a:gd name="connsiteX276" fmla="*/ 776211 w 1332398"/>
                  <a:gd name="connsiteY276" fmla="*/ 52030 h 947134"/>
                  <a:gd name="connsiteX277" fmla="*/ 769021 w 1332398"/>
                  <a:gd name="connsiteY277" fmla="*/ 41235 h 947134"/>
                  <a:gd name="connsiteX278" fmla="*/ 759065 w 1332398"/>
                  <a:gd name="connsiteY278" fmla="*/ 35838 h 947134"/>
                  <a:gd name="connsiteX279" fmla="*/ 748003 w 1332398"/>
                  <a:gd name="connsiteY279" fmla="*/ 9392 h 947134"/>
                  <a:gd name="connsiteX280" fmla="*/ 731410 w 1332398"/>
                  <a:gd name="connsiteY280" fmla="*/ 5614 h 947134"/>
                  <a:gd name="connsiteX281" fmla="*/ 724220 w 1332398"/>
                  <a:gd name="connsiteY281" fmla="*/ -323 h 947134"/>
                  <a:gd name="connsiteX282" fmla="*/ 708181 w 1332398"/>
                  <a:gd name="connsiteY282" fmla="*/ 13170 h 947134"/>
                  <a:gd name="connsiteX283" fmla="*/ 681632 w 1332398"/>
                  <a:gd name="connsiteY283" fmla="*/ 15329 h 947134"/>
                  <a:gd name="connsiteX284" fmla="*/ 672783 w 1332398"/>
                  <a:gd name="connsiteY284" fmla="*/ 29901 h 947134"/>
                  <a:gd name="connsiteX285" fmla="*/ 662827 w 1332398"/>
                  <a:gd name="connsiteY285" fmla="*/ 37457 h 947134"/>
                  <a:gd name="connsiteX286" fmla="*/ 631301 w 1332398"/>
                  <a:gd name="connsiteY286" fmla="*/ 45013 h 947134"/>
                  <a:gd name="connsiteX287" fmla="*/ 621898 w 1332398"/>
                  <a:gd name="connsiteY287" fmla="*/ 82254 h 947134"/>
                  <a:gd name="connsiteX288" fmla="*/ 610836 w 1332398"/>
                  <a:gd name="connsiteY288" fmla="*/ 77397 h 947134"/>
                  <a:gd name="connsiteX289" fmla="*/ 585947 w 1332398"/>
                  <a:gd name="connsiteY289" fmla="*/ 80635 h 947134"/>
                  <a:gd name="connsiteX290" fmla="*/ 545571 w 1332398"/>
                  <a:gd name="connsiteY290" fmla="*/ 108161 h 947134"/>
                  <a:gd name="connsiteX291" fmla="*/ 537275 w 1332398"/>
                  <a:gd name="connsiteY291" fmla="*/ 119495 h 947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</a:cxnLst>
                <a:rect l="l" t="t" r="r" b="b"/>
                <a:pathLst>
                  <a:path w="1332398" h="947134">
                    <a:moveTo>
                      <a:pt x="537275" y="119495"/>
                    </a:moveTo>
                    <a:cubicBezTo>
                      <a:pt x="538381" y="120575"/>
                      <a:pt x="536722" y="122734"/>
                      <a:pt x="536722" y="123813"/>
                    </a:cubicBezTo>
                    <a:cubicBezTo>
                      <a:pt x="536169" y="129750"/>
                      <a:pt x="536169" y="136227"/>
                      <a:pt x="535616" y="142164"/>
                    </a:cubicBezTo>
                    <a:cubicBezTo>
                      <a:pt x="535063" y="154037"/>
                      <a:pt x="532297" y="166991"/>
                      <a:pt x="537275" y="178865"/>
                    </a:cubicBezTo>
                    <a:cubicBezTo>
                      <a:pt x="542806" y="193977"/>
                      <a:pt x="546125" y="192898"/>
                      <a:pt x="547784" y="210708"/>
                    </a:cubicBezTo>
                    <a:lnTo>
                      <a:pt x="547784" y="218265"/>
                    </a:lnTo>
                    <a:lnTo>
                      <a:pt x="542806" y="217185"/>
                    </a:lnTo>
                    <a:cubicBezTo>
                      <a:pt x="527319" y="214486"/>
                      <a:pt x="522895" y="213947"/>
                      <a:pt x="509620" y="205311"/>
                    </a:cubicBezTo>
                    <a:cubicBezTo>
                      <a:pt x="506855" y="203692"/>
                      <a:pt x="504643" y="201533"/>
                      <a:pt x="502430" y="199914"/>
                    </a:cubicBezTo>
                    <a:lnTo>
                      <a:pt x="454311" y="226360"/>
                    </a:lnTo>
                    <a:lnTo>
                      <a:pt x="444356" y="220963"/>
                    </a:lnTo>
                    <a:lnTo>
                      <a:pt x="433847" y="197215"/>
                    </a:lnTo>
                    <a:lnTo>
                      <a:pt x="416148" y="211248"/>
                    </a:lnTo>
                    <a:lnTo>
                      <a:pt x="413382" y="225281"/>
                    </a:lnTo>
                    <a:lnTo>
                      <a:pt x="369135" y="220423"/>
                    </a:lnTo>
                    <a:lnTo>
                      <a:pt x="340927" y="233377"/>
                    </a:lnTo>
                    <a:lnTo>
                      <a:pt x="337609" y="244171"/>
                    </a:lnTo>
                    <a:lnTo>
                      <a:pt x="333184" y="249568"/>
                    </a:lnTo>
                    <a:lnTo>
                      <a:pt x="316591" y="234996"/>
                    </a:lnTo>
                    <a:lnTo>
                      <a:pt x="294468" y="243632"/>
                    </a:lnTo>
                    <a:lnTo>
                      <a:pt x="278981" y="218265"/>
                    </a:lnTo>
                    <a:lnTo>
                      <a:pt x="253539" y="230678"/>
                    </a:lnTo>
                    <a:lnTo>
                      <a:pt x="240265" y="232297"/>
                    </a:lnTo>
                    <a:lnTo>
                      <a:pt x="152876" y="223662"/>
                    </a:lnTo>
                    <a:lnTo>
                      <a:pt x="92589" y="257664"/>
                    </a:lnTo>
                    <a:lnTo>
                      <a:pt x="78762" y="283031"/>
                    </a:lnTo>
                    <a:lnTo>
                      <a:pt x="62169" y="295445"/>
                    </a:lnTo>
                    <a:lnTo>
                      <a:pt x="36174" y="303541"/>
                    </a:lnTo>
                    <a:cubicBezTo>
                      <a:pt x="38939" y="311637"/>
                      <a:pt x="46682" y="333765"/>
                      <a:pt x="51660" y="340242"/>
                    </a:cubicBezTo>
                    <a:cubicBezTo>
                      <a:pt x="58850" y="349417"/>
                      <a:pt x="70465" y="356973"/>
                      <a:pt x="76549" y="366149"/>
                    </a:cubicBezTo>
                    <a:cubicBezTo>
                      <a:pt x="85399" y="379102"/>
                      <a:pt x="80421" y="399612"/>
                      <a:pt x="96461" y="407707"/>
                    </a:cubicBezTo>
                    <a:lnTo>
                      <a:pt x="97567" y="417962"/>
                    </a:lnTo>
                    <a:lnTo>
                      <a:pt x="95908" y="427677"/>
                    </a:lnTo>
                    <a:lnTo>
                      <a:pt x="89824" y="434694"/>
                    </a:lnTo>
                    <a:lnTo>
                      <a:pt x="74890" y="442250"/>
                    </a:lnTo>
                    <a:lnTo>
                      <a:pt x="18475" y="548035"/>
                    </a:lnTo>
                    <a:lnTo>
                      <a:pt x="17369" y="559370"/>
                    </a:lnTo>
                    <a:lnTo>
                      <a:pt x="28430" y="591753"/>
                    </a:lnTo>
                    <a:lnTo>
                      <a:pt x="28984" y="604167"/>
                    </a:lnTo>
                    <a:lnTo>
                      <a:pt x="43364" y="613882"/>
                    </a:lnTo>
                    <a:lnTo>
                      <a:pt x="40598" y="619819"/>
                    </a:lnTo>
                    <a:lnTo>
                      <a:pt x="17922" y="618739"/>
                    </a:lnTo>
                    <a:lnTo>
                      <a:pt x="9072" y="665695"/>
                    </a:lnTo>
                    <a:lnTo>
                      <a:pt x="-330" y="681347"/>
                    </a:lnTo>
                    <a:lnTo>
                      <a:pt x="-883" y="700237"/>
                    </a:lnTo>
                    <a:lnTo>
                      <a:pt x="42258" y="725604"/>
                    </a:lnTo>
                    <a:lnTo>
                      <a:pt x="60510" y="729922"/>
                    </a:lnTo>
                    <a:lnTo>
                      <a:pt x="69912" y="739098"/>
                    </a:lnTo>
                    <a:lnTo>
                      <a:pt x="97567" y="727224"/>
                    </a:lnTo>
                    <a:lnTo>
                      <a:pt x="119138" y="730462"/>
                    </a:lnTo>
                    <a:lnTo>
                      <a:pt x="121350" y="723446"/>
                    </a:lnTo>
                    <a:cubicBezTo>
                      <a:pt x="130752" y="725065"/>
                      <a:pt x="146792" y="723446"/>
                      <a:pt x="155088" y="726144"/>
                    </a:cubicBezTo>
                    <a:lnTo>
                      <a:pt x="200442" y="719668"/>
                    </a:lnTo>
                    <a:lnTo>
                      <a:pt x="230862" y="739098"/>
                    </a:lnTo>
                    <a:lnTo>
                      <a:pt x="248008" y="731541"/>
                    </a:lnTo>
                    <a:lnTo>
                      <a:pt x="267366" y="701317"/>
                    </a:lnTo>
                    <a:lnTo>
                      <a:pt x="323782" y="681347"/>
                    </a:lnTo>
                    <a:lnTo>
                      <a:pt x="329866" y="650583"/>
                    </a:lnTo>
                    <a:cubicBezTo>
                      <a:pt x="340927" y="650583"/>
                      <a:pt x="349224" y="640328"/>
                      <a:pt x="358073" y="634391"/>
                    </a:cubicBezTo>
                    <a:lnTo>
                      <a:pt x="360286" y="626835"/>
                    </a:lnTo>
                    <a:lnTo>
                      <a:pt x="377985" y="612802"/>
                    </a:lnTo>
                    <a:lnTo>
                      <a:pt x="412829" y="598230"/>
                    </a:lnTo>
                    <a:lnTo>
                      <a:pt x="426104" y="598230"/>
                    </a:lnTo>
                    <a:lnTo>
                      <a:pt x="459289" y="606865"/>
                    </a:lnTo>
                    <a:lnTo>
                      <a:pt x="470904" y="616580"/>
                    </a:lnTo>
                    <a:lnTo>
                      <a:pt x="504090" y="619819"/>
                    </a:lnTo>
                    <a:lnTo>
                      <a:pt x="515704" y="614961"/>
                    </a:lnTo>
                    <a:cubicBezTo>
                      <a:pt x="518470" y="615501"/>
                      <a:pt x="522895" y="612263"/>
                      <a:pt x="525660" y="611723"/>
                    </a:cubicBezTo>
                    <a:cubicBezTo>
                      <a:pt x="527873" y="611723"/>
                      <a:pt x="531744" y="612802"/>
                      <a:pt x="533403" y="613882"/>
                    </a:cubicBezTo>
                    <a:cubicBezTo>
                      <a:pt x="536169" y="615501"/>
                      <a:pt x="538934" y="619279"/>
                      <a:pt x="541147" y="620898"/>
                    </a:cubicBezTo>
                    <a:cubicBezTo>
                      <a:pt x="544465" y="623597"/>
                      <a:pt x="550549" y="625756"/>
                      <a:pt x="553868" y="627915"/>
                    </a:cubicBezTo>
                    <a:lnTo>
                      <a:pt x="563824" y="631153"/>
                    </a:lnTo>
                    <a:lnTo>
                      <a:pt x="574885" y="654901"/>
                    </a:lnTo>
                    <a:lnTo>
                      <a:pt x="584841" y="686205"/>
                    </a:lnTo>
                    <a:lnTo>
                      <a:pt x="607518" y="689443"/>
                    </a:lnTo>
                    <a:lnTo>
                      <a:pt x="614155" y="705095"/>
                    </a:lnTo>
                    <a:lnTo>
                      <a:pt x="650106" y="738558"/>
                    </a:lnTo>
                    <a:lnTo>
                      <a:pt x="657849" y="760147"/>
                    </a:lnTo>
                    <a:cubicBezTo>
                      <a:pt x="670017" y="762306"/>
                      <a:pt x="673889" y="763925"/>
                      <a:pt x="683844" y="771481"/>
                    </a:cubicBezTo>
                    <a:lnTo>
                      <a:pt x="677760" y="783895"/>
                    </a:lnTo>
                    <a:lnTo>
                      <a:pt x="663380" y="792530"/>
                    </a:lnTo>
                    <a:lnTo>
                      <a:pt x="631301" y="786053"/>
                    </a:lnTo>
                    <a:lnTo>
                      <a:pt x="623557" y="800086"/>
                    </a:lnTo>
                    <a:lnTo>
                      <a:pt x="612496" y="795229"/>
                    </a:lnTo>
                    <a:lnTo>
                      <a:pt x="606412" y="788212"/>
                    </a:lnTo>
                    <a:lnTo>
                      <a:pt x="595903" y="795229"/>
                    </a:lnTo>
                    <a:lnTo>
                      <a:pt x="595350" y="810341"/>
                    </a:lnTo>
                    <a:lnTo>
                      <a:pt x="602540" y="827072"/>
                    </a:lnTo>
                    <a:lnTo>
                      <a:pt x="581522" y="901554"/>
                    </a:lnTo>
                    <a:lnTo>
                      <a:pt x="583182" y="913428"/>
                    </a:lnTo>
                    <a:lnTo>
                      <a:pt x="567695" y="935017"/>
                    </a:lnTo>
                    <a:cubicBezTo>
                      <a:pt x="579310" y="948510"/>
                      <a:pt x="586500" y="947970"/>
                      <a:pt x="603093" y="945272"/>
                    </a:cubicBezTo>
                    <a:cubicBezTo>
                      <a:pt x="618580" y="929620"/>
                      <a:pt x="647894" y="896697"/>
                      <a:pt x="672783" y="906412"/>
                    </a:cubicBezTo>
                    <a:cubicBezTo>
                      <a:pt x="677760" y="908571"/>
                      <a:pt x="683291" y="913968"/>
                      <a:pt x="687163" y="917206"/>
                    </a:cubicBezTo>
                    <a:cubicBezTo>
                      <a:pt x="693800" y="911809"/>
                      <a:pt x="689375" y="902094"/>
                      <a:pt x="683844" y="897236"/>
                    </a:cubicBezTo>
                    <a:cubicBezTo>
                      <a:pt x="682185" y="895617"/>
                      <a:pt x="678867" y="895078"/>
                      <a:pt x="676654" y="892919"/>
                    </a:cubicBezTo>
                    <a:cubicBezTo>
                      <a:pt x="674442" y="891300"/>
                      <a:pt x="675548" y="887521"/>
                      <a:pt x="673889" y="884823"/>
                    </a:cubicBezTo>
                    <a:cubicBezTo>
                      <a:pt x="672783" y="882124"/>
                      <a:pt x="670017" y="880505"/>
                      <a:pt x="668911" y="877806"/>
                    </a:cubicBezTo>
                    <a:cubicBezTo>
                      <a:pt x="667252" y="874568"/>
                      <a:pt x="668358" y="870790"/>
                      <a:pt x="667805" y="867012"/>
                    </a:cubicBezTo>
                    <a:lnTo>
                      <a:pt x="666146" y="863774"/>
                    </a:lnTo>
                    <a:cubicBezTo>
                      <a:pt x="666146" y="862694"/>
                      <a:pt x="665592" y="858916"/>
                      <a:pt x="665592" y="857837"/>
                    </a:cubicBezTo>
                    <a:cubicBezTo>
                      <a:pt x="666146" y="857297"/>
                      <a:pt x="666699" y="856218"/>
                      <a:pt x="667252" y="855678"/>
                    </a:cubicBezTo>
                    <a:cubicBezTo>
                      <a:pt x="673889" y="851360"/>
                      <a:pt x="673336" y="871869"/>
                      <a:pt x="680526" y="871330"/>
                    </a:cubicBezTo>
                    <a:cubicBezTo>
                      <a:pt x="682185" y="870790"/>
                      <a:pt x="685504" y="857297"/>
                      <a:pt x="686610" y="855138"/>
                    </a:cubicBezTo>
                    <a:cubicBezTo>
                      <a:pt x="692141" y="842185"/>
                      <a:pt x="699331" y="840026"/>
                      <a:pt x="704309" y="831930"/>
                    </a:cubicBezTo>
                    <a:cubicBezTo>
                      <a:pt x="707627" y="826533"/>
                      <a:pt x="715371" y="809801"/>
                      <a:pt x="716477" y="804404"/>
                    </a:cubicBezTo>
                    <a:cubicBezTo>
                      <a:pt x="719242" y="791451"/>
                      <a:pt x="692694" y="797927"/>
                      <a:pt x="684951" y="781736"/>
                    </a:cubicBezTo>
                    <a:cubicBezTo>
                      <a:pt x="684398" y="780656"/>
                      <a:pt x="684398" y="776338"/>
                      <a:pt x="685504" y="775259"/>
                    </a:cubicBezTo>
                    <a:cubicBezTo>
                      <a:pt x="686057" y="774719"/>
                      <a:pt x="691588" y="771481"/>
                      <a:pt x="692694" y="771481"/>
                    </a:cubicBezTo>
                    <a:cubicBezTo>
                      <a:pt x="696013" y="770401"/>
                      <a:pt x="704309" y="772560"/>
                      <a:pt x="707074" y="774719"/>
                    </a:cubicBezTo>
                    <a:cubicBezTo>
                      <a:pt x="713158" y="779037"/>
                      <a:pt x="718689" y="786053"/>
                      <a:pt x="723667" y="791990"/>
                    </a:cubicBezTo>
                    <a:cubicBezTo>
                      <a:pt x="723667" y="791451"/>
                      <a:pt x="724220" y="790911"/>
                      <a:pt x="724773" y="789832"/>
                    </a:cubicBezTo>
                    <a:cubicBezTo>
                      <a:pt x="725879" y="787673"/>
                      <a:pt x="727539" y="771481"/>
                      <a:pt x="728092" y="767703"/>
                    </a:cubicBezTo>
                    <a:cubicBezTo>
                      <a:pt x="729198" y="762845"/>
                      <a:pt x="731410" y="758528"/>
                      <a:pt x="731963" y="754210"/>
                    </a:cubicBezTo>
                    <a:cubicBezTo>
                      <a:pt x="732517" y="749892"/>
                      <a:pt x="730857" y="742336"/>
                      <a:pt x="733070" y="739098"/>
                    </a:cubicBezTo>
                    <a:cubicBezTo>
                      <a:pt x="735282" y="736939"/>
                      <a:pt x="754640" y="723985"/>
                      <a:pt x="757959" y="722366"/>
                    </a:cubicBezTo>
                    <a:cubicBezTo>
                      <a:pt x="759618" y="721287"/>
                      <a:pt x="761830" y="721287"/>
                      <a:pt x="764043" y="720207"/>
                    </a:cubicBezTo>
                    <a:cubicBezTo>
                      <a:pt x="769021" y="718048"/>
                      <a:pt x="773998" y="714810"/>
                      <a:pt x="778976" y="712651"/>
                    </a:cubicBezTo>
                    <a:cubicBezTo>
                      <a:pt x="780636" y="711572"/>
                      <a:pt x="782848" y="711572"/>
                      <a:pt x="783954" y="710492"/>
                    </a:cubicBezTo>
                    <a:cubicBezTo>
                      <a:pt x="787273" y="708333"/>
                      <a:pt x="789485" y="704555"/>
                      <a:pt x="793357" y="702936"/>
                    </a:cubicBezTo>
                    <a:cubicBezTo>
                      <a:pt x="797228" y="701317"/>
                      <a:pt x="801653" y="702936"/>
                      <a:pt x="805525" y="701857"/>
                    </a:cubicBezTo>
                    <a:cubicBezTo>
                      <a:pt x="808843" y="700777"/>
                      <a:pt x="809949" y="696999"/>
                      <a:pt x="808843" y="693761"/>
                    </a:cubicBezTo>
                    <a:cubicBezTo>
                      <a:pt x="803312" y="691602"/>
                      <a:pt x="802759" y="661917"/>
                      <a:pt x="809396" y="664616"/>
                    </a:cubicBezTo>
                    <a:cubicBezTo>
                      <a:pt x="814374" y="666775"/>
                      <a:pt x="814927" y="682966"/>
                      <a:pt x="816587" y="688364"/>
                    </a:cubicBezTo>
                    <a:cubicBezTo>
                      <a:pt x="818799" y="692681"/>
                      <a:pt x="826542" y="696999"/>
                      <a:pt x="830967" y="698079"/>
                    </a:cubicBezTo>
                    <a:cubicBezTo>
                      <a:pt x="837604" y="699698"/>
                      <a:pt x="843135" y="696459"/>
                      <a:pt x="849772" y="697539"/>
                    </a:cubicBezTo>
                    <a:cubicBezTo>
                      <a:pt x="851431" y="696999"/>
                      <a:pt x="854750" y="697539"/>
                      <a:pt x="855856" y="698079"/>
                    </a:cubicBezTo>
                    <a:cubicBezTo>
                      <a:pt x="859175" y="700237"/>
                      <a:pt x="860834" y="705635"/>
                      <a:pt x="856409" y="707254"/>
                    </a:cubicBezTo>
                    <a:cubicBezTo>
                      <a:pt x="851431" y="709413"/>
                      <a:pt x="830967" y="713731"/>
                      <a:pt x="824883" y="714270"/>
                    </a:cubicBezTo>
                    <a:cubicBezTo>
                      <a:pt x="819905" y="714810"/>
                      <a:pt x="792804" y="712651"/>
                      <a:pt x="793910" y="721287"/>
                    </a:cubicBezTo>
                    <a:cubicBezTo>
                      <a:pt x="794463" y="723446"/>
                      <a:pt x="799994" y="725065"/>
                      <a:pt x="801653" y="725065"/>
                    </a:cubicBezTo>
                    <a:cubicBezTo>
                      <a:pt x="804419" y="724525"/>
                      <a:pt x="808290" y="721287"/>
                      <a:pt x="811609" y="720207"/>
                    </a:cubicBezTo>
                    <a:cubicBezTo>
                      <a:pt x="813821" y="719668"/>
                      <a:pt x="825436" y="719668"/>
                      <a:pt x="827648" y="720207"/>
                    </a:cubicBezTo>
                    <a:cubicBezTo>
                      <a:pt x="828755" y="720747"/>
                      <a:pt x="831520" y="723446"/>
                      <a:pt x="830967" y="725065"/>
                    </a:cubicBezTo>
                    <a:cubicBezTo>
                      <a:pt x="830967" y="728303"/>
                      <a:pt x="821011" y="734780"/>
                      <a:pt x="823224" y="739098"/>
                    </a:cubicBezTo>
                    <a:cubicBezTo>
                      <a:pt x="829861" y="741256"/>
                      <a:pt x="854197" y="742336"/>
                      <a:pt x="856409" y="743415"/>
                    </a:cubicBezTo>
                    <a:cubicBezTo>
                      <a:pt x="858622" y="743955"/>
                      <a:pt x="859175" y="746114"/>
                      <a:pt x="861387" y="747193"/>
                    </a:cubicBezTo>
                    <a:cubicBezTo>
                      <a:pt x="862493" y="747733"/>
                      <a:pt x="870236" y="749892"/>
                      <a:pt x="871343" y="749892"/>
                    </a:cubicBezTo>
                    <a:cubicBezTo>
                      <a:pt x="873002" y="749352"/>
                      <a:pt x="874108" y="747733"/>
                      <a:pt x="875214" y="747193"/>
                    </a:cubicBezTo>
                    <a:cubicBezTo>
                      <a:pt x="879639" y="744495"/>
                      <a:pt x="885170" y="742876"/>
                      <a:pt x="889595" y="739637"/>
                    </a:cubicBezTo>
                    <a:cubicBezTo>
                      <a:pt x="893466" y="737478"/>
                      <a:pt x="896232" y="734780"/>
                      <a:pt x="899550" y="732621"/>
                    </a:cubicBezTo>
                    <a:cubicBezTo>
                      <a:pt x="902316" y="731541"/>
                      <a:pt x="904528" y="731002"/>
                      <a:pt x="907294" y="729922"/>
                    </a:cubicBezTo>
                    <a:cubicBezTo>
                      <a:pt x="916143" y="726684"/>
                      <a:pt x="924993" y="721826"/>
                      <a:pt x="934395" y="719668"/>
                    </a:cubicBezTo>
                    <a:cubicBezTo>
                      <a:pt x="939926" y="718588"/>
                      <a:pt x="948776" y="722906"/>
                      <a:pt x="952094" y="721826"/>
                    </a:cubicBezTo>
                    <a:cubicBezTo>
                      <a:pt x="958178" y="720207"/>
                      <a:pt x="958178" y="707794"/>
                      <a:pt x="967028" y="711572"/>
                    </a:cubicBezTo>
                    <a:cubicBezTo>
                      <a:pt x="969240" y="713191"/>
                      <a:pt x="970346" y="723446"/>
                      <a:pt x="973112" y="725604"/>
                    </a:cubicBezTo>
                    <a:cubicBezTo>
                      <a:pt x="975324" y="727763"/>
                      <a:pt x="983067" y="726144"/>
                      <a:pt x="980855" y="731541"/>
                    </a:cubicBezTo>
                    <a:cubicBezTo>
                      <a:pt x="979196" y="735859"/>
                      <a:pt x="952094" y="757988"/>
                      <a:pt x="946563" y="763925"/>
                    </a:cubicBezTo>
                    <a:cubicBezTo>
                      <a:pt x="938267" y="771481"/>
                      <a:pt x="933842" y="782275"/>
                      <a:pt x="927205" y="790911"/>
                    </a:cubicBezTo>
                    <a:cubicBezTo>
                      <a:pt x="921121" y="799547"/>
                      <a:pt x="904528" y="815738"/>
                      <a:pt x="905634" y="825993"/>
                    </a:cubicBezTo>
                    <a:cubicBezTo>
                      <a:pt x="905634" y="826533"/>
                      <a:pt x="906187" y="827612"/>
                      <a:pt x="906741" y="828152"/>
                    </a:cubicBezTo>
                    <a:cubicBezTo>
                      <a:pt x="907847" y="829771"/>
                      <a:pt x="913378" y="833009"/>
                      <a:pt x="915590" y="833009"/>
                    </a:cubicBezTo>
                    <a:cubicBezTo>
                      <a:pt x="921674" y="832470"/>
                      <a:pt x="929417" y="821675"/>
                      <a:pt x="938820" y="822215"/>
                    </a:cubicBezTo>
                    <a:cubicBezTo>
                      <a:pt x="949882" y="822215"/>
                      <a:pt x="964815" y="831930"/>
                      <a:pt x="974771" y="829231"/>
                    </a:cubicBezTo>
                    <a:cubicBezTo>
                      <a:pt x="978089" y="828152"/>
                      <a:pt x="981408" y="824374"/>
                      <a:pt x="984727" y="823834"/>
                    </a:cubicBezTo>
                    <a:cubicBezTo>
                      <a:pt x="986939" y="823834"/>
                      <a:pt x="995788" y="825453"/>
                      <a:pt x="998001" y="825993"/>
                    </a:cubicBezTo>
                    <a:cubicBezTo>
                      <a:pt x="1000766" y="827072"/>
                      <a:pt x="1011275" y="843264"/>
                      <a:pt x="1012381" y="846502"/>
                    </a:cubicBezTo>
                    <a:cubicBezTo>
                      <a:pt x="1013487" y="849741"/>
                      <a:pt x="1011275" y="856218"/>
                      <a:pt x="1011828" y="859996"/>
                    </a:cubicBezTo>
                    <a:cubicBezTo>
                      <a:pt x="1012381" y="865933"/>
                      <a:pt x="1015147" y="871869"/>
                      <a:pt x="1015147" y="877806"/>
                    </a:cubicBezTo>
                    <a:cubicBezTo>
                      <a:pt x="1015147" y="886982"/>
                      <a:pt x="1010169" y="886442"/>
                      <a:pt x="1007403" y="890760"/>
                    </a:cubicBezTo>
                    <a:cubicBezTo>
                      <a:pt x="1006297" y="892919"/>
                      <a:pt x="1006850" y="896697"/>
                      <a:pt x="1008510" y="898316"/>
                    </a:cubicBezTo>
                    <a:cubicBezTo>
                      <a:pt x="1009616" y="898856"/>
                      <a:pt x="1019571" y="901554"/>
                      <a:pt x="1021231" y="901554"/>
                    </a:cubicBezTo>
                    <a:cubicBezTo>
                      <a:pt x="1023996" y="901554"/>
                      <a:pt x="1026208" y="900475"/>
                      <a:pt x="1028974" y="900475"/>
                    </a:cubicBezTo>
                    <a:cubicBezTo>
                      <a:pt x="1033399" y="901015"/>
                      <a:pt x="1037823" y="903173"/>
                      <a:pt x="1042248" y="903713"/>
                    </a:cubicBezTo>
                    <a:cubicBezTo>
                      <a:pt x="1044460" y="903713"/>
                      <a:pt x="1048885" y="902634"/>
                      <a:pt x="1051098" y="902094"/>
                    </a:cubicBezTo>
                    <a:cubicBezTo>
                      <a:pt x="1062713" y="896697"/>
                      <a:pt x="1073774" y="878886"/>
                      <a:pt x="1078199" y="867552"/>
                    </a:cubicBezTo>
                    <a:cubicBezTo>
                      <a:pt x="1081518" y="857837"/>
                      <a:pt x="1084283" y="841645"/>
                      <a:pt x="1091473" y="834629"/>
                    </a:cubicBezTo>
                    <a:cubicBezTo>
                      <a:pt x="1097004" y="829231"/>
                      <a:pt x="1111938" y="817357"/>
                      <a:pt x="1119681" y="816818"/>
                    </a:cubicBezTo>
                    <a:cubicBezTo>
                      <a:pt x="1121893" y="816278"/>
                      <a:pt x="1126871" y="817897"/>
                      <a:pt x="1128531" y="816818"/>
                    </a:cubicBezTo>
                    <a:cubicBezTo>
                      <a:pt x="1131296" y="814119"/>
                      <a:pt x="1132402" y="800626"/>
                      <a:pt x="1135168" y="796848"/>
                    </a:cubicBezTo>
                    <a:cubicBezTo>
                      <a:pt x="1137380" y="793610"/>
                      <a:pt x="1142911" y="793070"/>
                      <a:pt x="1144017" y="789832"/>
                    </a:cubicBezTo>
                    <a:cubicBezTo>
                      <a:pt x="1146783" y="783895"/>
                      <a:pt x="1145123" y="775259"/>
                      <a:pt x="1148442" y="769862"/>
                    </a:cubicBezTo>
                    <a:cubicBezTo>
                      <a:pt x="1151207" y="765544"/>
                      <a:pt x="1162822" y="765004"/>
                      <a:pt x="1166694" y="766623"/>
                    </a:cubicBezTo>
                    <a:cubicBezTo>
                      <a:pt x="1170012" y="767703"/>
                      <a:pt x="1173884" y="772560"/>
                      <a:pt x="1180521" y="771481"/>
                    </a:cubicBezTo>
                    <a:cubicBezTo>
                      <a:pt x="1182180" y="771481"/>
                      <a:pt x="1185499" y="769322"/>
                      <a:pt x="1186605" y="768243"/>
                    </a:cubicBezTo>
                    <a:cubicBezTo>
                      <a:pt x="1187711" y="767163"/>
                      <a:pt x="1188264" y="765004"/>
                      <a:pt x="1189371" y="763925"/>
                    </a:cubicBezTo>
                    <a:cubicBezTo>
                      <a:pt x="1195455" y="759067"/>
                      <a:pt x="1220344" y="750432"/>
                      <a:pt x="1222003" y="748273"/>
                    </a:cubicBezTo>
                    <a:cubicBezTo>
                      <a:pt x="1228087" y="739637"/>
                      <a:pt x="1213707" y="735319"/>
                      <a:pt x="1214260" y="720747"/>
                    </a:cubicBezTo>
                    <a:cubicBezTo>
                      <a:pt x="1214813" y="715350"/>
                      <a:pt x="1226981" y="702396"/>
                      <a:pt x="1222003" y="700237"/>
                    </a:cubicBezTo>
                    <a:cubicBezTo>
                      <a:pt x="1215366" y="697539"/>
                      <a:pt x="1187711" y="707254"/>
                      <a:pt x="1183287" y="713191"/>
                    </a:cubicBezTo>
                    <a:cubicBezTo>
                      <a:pt x="1181627" y="715889"/>
                      <a:pt x="1180521" y="722366"/>
                      <a:pt x="1178309" y="723985"/>
                    </a:cubicBezTo>
                    <a:cubicBezTo>
                      <a:pt x="1174437" y="726144"/>
                      <a:pt x="1165588" y="721287"/>
                      <a:pt x="1162822" y="723985"/>
                    </a:cubicBezTo>
                    <a:cubicBezTo>
                      <a:pt x="1160610" y="726684"/>
                      <a:pt x="1158397" y="735319"/>
                      <a:pt x="1155632" y="739098"/>
                    </a:cubicBezTo>
                    <a:cubicBezTo>
                      <a:pt x="1151760" y="744495"/>
                      <a:pt x="1137380" y="753130"/>
                      <a:pt x="1130743" y="754750"/>
                    </a:cubicBezTo>
                    <a:cubicBezTo>
                      <a:pt x="1127977" y="755289"/>
                      <a:pt x="1120787" y="756369"/>
                      <a:pt x="1117469" y="756369"/>
                    </a:cubicBezTo>
                    <a:cubicBezTo>
                      <a:pt x="1114150" y="755829"/>
                      <a:pt x="1100876" y="753670"/>
                      <a:pt x="1099217" y="750432"/>
                    </a:cubicBezTo>
                    <a:cubicBezTo>
                      <a:pt x="1098110" y="748273"/>
                      <a:pt x="1098664" y="743955"/>
                      <a:pt x="1098110" y="740717"/>
                    </a:cubicBezTo>
                    <a:cubicBezTo>
                      <a:pt x="1097557" y="740177"/>
                      <a:pt x="1090920" y="728843"/>
                      <a:pt x="1089814" y="727763"/>
                    </a:cubicBezTo>
                    <a:cubicBezTo>
                      <a:pt x="1088708" y="726684"/>
                      <a:pt x="1087602" y="725604"/>
                      <a:pt x="1085942" y="725065"/>
                    </a:cubicBezTo>
                    <a:cubicBezTo>
                      <a:pt x="1080965" y="722366"/>
                      <a:pt x="1064372" y="721287"/>
                      <a:pt x="1061606" y="717509"/>
                    </a:cubicBezTo>
                    <a:cubicBezTo>
                      <a:pt x="1059394" y="714270"/>
                      <a:pt x="1056075" y="702936"/>
                      <a:pt x="1054416" y="701857"/>
                    </a:cubicBezTo>
                    <a:cubicBezTo>
                      <a:pt x="1053863" y="701317"/>
                      <a:pt x="1044460" y="700777"/>
                      <a:pt x="1042801" y="700777"/>
                    </a:cubicBezTo>
                    <a:cubicBezTo>
                      <a:pt x="1037823" y="700777"/>
                      <a:pt x="1032846" y="702396"/>
                      <a:pt x="1027868" y="702936"/>
                    </a:cubicBezTo>
                    <a:cubicBezTo>
                      <a:pt x="1019018" y="704016"/>
                      <a:pt x="1008510" y="702396"/>
                      <a:pt x="1000213" y="704555"/>
                    </a:cubicBezTo>
                    <a:cubicBezTo>
                      <a:pt x="994682" y="705095"/>
                      <a:pt x="995235" y="712111"/>
                      <a:pt x="991917" y="712111"/>
                    </a:cubicBezTo>
                    <a:cubicBezTo>
                      <a:pt x="987492" y="712651"/>
                      <a:pt x="986939" y="706714"/>
                      <a:pt x="984173" y="705095"/>
                    </a:cubicBezTo>
                    <a:cubicBezTo>
                      <a:pt x="980302" y="702396"/>
                      <a:pt x="972005" y="705095"/>
                      <a:pt x="970346" y="699698"/>
                    </a:cubicBezTo>
                    <a:cubicBezTo>
                      <a:pt x="969793" y="698618"/>
                      <a:pt x="969793" y="695920"/>
                      <a:pt x="970346" y="694840"/>
                    </a:cubicBezTo>
                    <a:cubicBezTo>
                      <a:pt x="970899" y="693761"/>
                      <a:pt x="975877" y="692681"/>
                      <a:pt x="977536" y="692681"/>
                    </a:cubicBezTo>
                    <a:cubicBezTo>
                      <a:pt x="981961" y="692142"/>
                      <a:pt x="989704" y="695380"/>
                      <a:pt x="993576" y="694840"/>
                    </a:cubicBezTo>
                    <a:cubicBezTo>
                      <a:pt x="995788" y="694301"/>
                      <a:pt x="998554" y="690522"/>
                      <a:pt x="1000766" y="689983"/>
                    </a:cubicBezTo>
                    <a:cubicBezTo>
                      <a:pt x="1002979" y="689443"/>
                      <a:pt x="1008510" y="691602"/>
                      <a:pt x="1010722" y="691062"/>
                    </a:cubicBezTo>
                    <a:cubicBezTo>
                      <a:pt x="1012934" y="689983"/>
                      <a:pt x="1014594" y="686205"/>
                      <a:pt x="1016806" y="684585"/>
                    </a:cubicBezTo>
                    <a:cubicBezTo>
                      <a:pt x="1019018" y="682966"/>
                      <a:pt x="1035058" y="681887"/>
                      <a:pt x="1037270" y="682966"/>
                    </a:cubicBezTo>
                    <a:cubicBezTo>
                      <a:pt x="1038930" y="683506"/>
                      <a:pt x="1039483" y="685125"/>
                      <a:pt x="1040589" y="686205"/>
                    </a:cubicBezTo>
                    <a:cubicBezTo>
                      <a:pt x="1042248" y="687284"/>
                      <a:pt x="1049438" y="687824"/>
                      <a:pt x="1051098" y="686744"/>
                    </a:cubicBezTo>
                    <a:cubicBezTo>
                      <a:pt x="1052204" y="686205"/>
                      <a:pt x="1055522" y="681347"/>
                      <a:pt x="1056629" y="680268"/>
                    </a:cubicBezTo>
                    <a:cubicBezTo>
                      <a:pt x="1060500" y="673791"/>
                      <a:pt x="1053863" y="664076"/>
                      <a:pt x="1059394" y="658139"/>
                    </a:cubicBezTo>
                    <a:cubicBezTo>
                      <a:pt x="1060500" y="656520"/>
                      <a:pt x="1063266" y="656520"/>
                      <a:pt x="1064925" y="655440"/>
                    </a:cubicBezTo>
                    <a:cubicBezTo>
                      <a:pt x="1066031" y="654361"/>
                      <a:pt x="1069350" y="649503"/>
                      <a:pt x="1070456" y="647884"/>
                    </a:cubicBezTo>
                    <a:cubicBezTo>
                      <a:pt x="1073774" y="643027"/>
                      <a:pt x="1073221" y="638169"/>
                      <a:pt x="1074881" y="632772"/>
                    </a:cubicBezTo>
                    <a:cubicBezTo>
                      <a:pt x="1075987" y="627915"/>
                      <a:pt x="1080965" y="636010"/>
                      <a:pt x="1086496" y="633852"/>
                    </a:cubicBezTo>
                    <a:cubicBezTo>
                      <a:pt x="1087602" y="633312"/>
                      <a:pt x="1089814" y="631153"/>
                      <a:pt x="1090367" y="630613"/>
                    </a:cubicBezTo>
                    <a:cubicBezTo>
                      <a:pt x="1089261" y="627915"/>
                      <a:pt x="1085389" y="627915"/>
                      <a:pt x="1083177" y="626835"/>
                    </a:cubicBezTo>
                    <a:cubicBezTo>
                      <a:pt x="1080965" y="625756"/>
                      <a:pt x="1072115" y="617120"/>
                      <a:pt x="1071009" y="614421"/>
                    </a:cubicBezTo>
                    <a:cubicBezTo>
                      <a:pt x="1069350" y="612263"/>
                      <a:pt x="1070456" y="599849"/>
                      <a:pt x="1072668" y="598769"/>
                    </a:cubicBezTo>
                    <a:cubicBezTo>
                      <a:pt x="1073221" y="598769"/>
                      <a:pt x="1075434" y="598769"/>
                      <a:pt x="1076540" y="599309"/>
                    </a:cubicBezTo>
                    <a:cubicBezTo>
                      <a:pt x="1080411" y="600389"/>
                      <a:pt x="1085389" y="613342"/>
                      <a:pt x="1090367" y="616041"/>
                    </a:cubicBezTo>
                    <a:cubicBezTo>
                      <a:pt x="1091473" y="616580"/>
                      <a:pt x="1094792" y="617660"/>
                      <a:pt x="1095898" y="617120"/>
                    </a:cubicBezTo>
                    <a:cubicBezTo>
                      <a:pt x="1097557" y="616041"/>
                      <a:pt x="1104194" y="598769"/>
                      <a:pt x="1105854" y="595531"/>
                    </a:cubicBezTo>
                    <a:cubicBezTo>
                      <a:pt x="1108619" y="591213"/>
                      <a:pt x="1111938" y="587975"/>
                      <a:pt x="1114703" y="584197"/>
                    </a:cubicBezTo>
                    <a:cubicBezTo>
                      <a:pt x="1116362" y="583657"/>
                      <a:pt x="1116916" y="582578"/>
                      <a:pt x="1118022" y="581498"/>
                    </a:cubicBezTo>
                    <a:cubicBezTo>
                      <a:pt x="1120234" y="578800"/>
                      <a:pt x="1128531" y="573402"/>
                      <a:pt x="1131296" y="572323"/>
                    </a:cubicBezTo>
                    <a:cubicBezTo>
                      <a:pt x="1138486" y="569085"/>
                      <a:pt x="1141805" y="576101"/>
                      <a:pt x="1148442" y="567466"/>
                    </a:cubicBezTo>
                    <a:cubicBezTo>
                      <a:pt x="1151207" y="563687"/>
                      <a:pt x="1151760" y="558290"/>
                      <a:pt x="1155632" y="554512"/>
                    </a:cubicBezTo>
                    <a:cubicBezTo>
                      <a:pt x="1160057" y="550194"/>
                      <a:pt x="1165588" y="545877"/>
                      <a:pt x="1171119" y="542099"/>
                    </a:cubicBezTo>
                    <a:cubicBezTo>
                      <a:pt x="1173331" y="541019"/>
                      <a:pt x="1177203" y="539940"/>
                      <a:pt x="1178862" y="538320"/>
                    </a:cubicBezTo>
                    <a:cubicBezTo>
                      <a:pt x="1181627" y="535622"/>
                      <a:pt x="1183287" y="530764"/>
                      <a:pt x="1185499" y="526986"/>
                    </a:cubicBezTo>
                    <a:cubicBezTo>
                      <a:pt x="1188818" y="522668"/>
                      <a:pt x="1192689" y="518351"/>
                      <a:pt x="1196561" y="514573"/>
                    </a:cubicBezTo>
                    <a:cubicBezTo>
                      <a:pt x="1198220" y="512953"/>
                      <a:pt x="1203198" y="509715"/>
                      <a:pt x="1204857" y="508636"/>
                    </a:cubicBezTo>
                    <a:cubicBezTo>
                      <a:pt x="1208176" y="507556"/>
                      <a:pt x="1212047" y="509175"/>
                      <a:pt x="1213707" y="505397"/>
                    </a:cubicBezTo>
                    <a:cubicBezTo>
                      <a:pt x="1216472" y="500000"/>
                      <a:pt x="1215919" y="484348"/>
                      <a:pt x="1220344" y="481650"/>
                    </a:cubicBezTo>
                    <a:cubicBezTo>
                      <a:pt x="1226981" y="477332"/>
                      <a:pt x="1252976" y="464378"/>
                      <a:pt x="1260166" y="461680"/>
                    </a:cubicBezTo>
                    <a:cubicBezTo>
                      <a:pt x="1261273" y="461680"/>
                      <a:pt x="1262379" y="461680"/>
                      <a:pt x="1263485" y="461140"/>
                    </a:cubicBezTo>
                    <a:cubicBezTo>
                      <a:pt x="1265697" y="459521"/>
                      <a:pt x="1268463" y="456822"/>
                      <a:pt x="1270122" y="454663"/>
                    </a:cubicBezTo>
                    <a:lnTo>
                      <a:pt x="1256848" y="448726"/>
                    </a:lnTo>
                    <a:lnTo>
                      <a:pt x="1247445" y="427137"/>
                    </a:lnTo>
                    <a:lnTo>
                      <a:pt x="1249105" y="409327"/>
                    </a:lnTo>
                    <a:lnTo>
                      <a:pt x="1257954" y="387198"/>
                    </a:lnTo>
                    <a:lnTo>
                      <a:pt x="1278418" y="365069"/>
                    </a:lnTo>
                    <a:lnTo>
                      <a:pt x="1298883" y="331606"/>
                    </a:lnTo>
                    <a:lnTo>
                      <a:pt x="1321007" y="315415"/>
                    </a:lnTo>
                    <a:lnTo>
                      <a:pt x="1331515" y="290048"/>
                    </a:lnTo>
                    <a:lnTo>
                      <a:pt x="1329856" y="279253"/>
                    </a:lnTo>
                    <a:lnTo>
                      <a:pt x="1320453" y="265220"/>
                    </a:lnTo>
                    <a:lnTo>
                      <a:pt x="1303308" y="255505"/>
                    </a:lnTo>
                    <a:lnTo>
                      <a:pt x="1297777" y="246870"/>
                    </a:lnTo>
                    <a:lnTo>
                      <a:pt x="1297777" y="237695"/>
                    </a:lnTo>
                    <a:lnTo>
                      <a:pt x="1303861" y="216106"/>
                    </a:lnTo>
                    <a:lnTo>
                      <a:pt x="1288374" y="214486"/>
                    </a:lnTo>
                    <a:lnTo>
                      <a:pt x="1287821" y="208010"/>
                    </a:lnTo>
                    <a:lnTo>
                      <a:pt x="1300542" y="183722"/>
                    </a:lnTo>
                    <a:lnTo>
                      <a:pt x="1296670" y="159435"/>
                    </a:lnTo>
                    <a:lnTo>
                      <a:pt x="1277865" y="136227"/>
                    </a:lnTo>
                    <a:lnTo>
                      <a:pt x="1241361" y="138925"/>
                    </a:lnTo>
                    <a:lnTo>
                      <a:pt x="1204857" y="132449"/>
                    </a:lnTo>
                    <a:lnTo>
                      <a:pt x="1189924" y="143243"/>
                    </a:lnTo>
                    <a:lnTo>
                      <a:pt x="1181074" y="146481"/>
                    </a:lnTo>
                    <a:lnTo>
                      <a:pt x="1147889" y="145402"/>
                    </a:lnTo>
                    <a:lnTo>
                      <a:pt x="1124106" y="155657"/>
                    </a:lnTo>
                    <a:lnTo>
                      <a:pt x="1108066" y="153498"/>
                    </a:lnTo>
                    <a:lnTo>
                      <a:pt x="1100323" y="165911"/>
                    </a:lnTo>
                    <a:lnTo>
                      <a:pt x="1074881" y="165372"/>
                    </a:lnTo>
                    <a:lnTo>
                      <a:pt x="1052757" y="138385"/>
                    </a:lnTo>
                    <a:lnTo>
                      <a:pt x="1036164" y="145942"/>
                    </a:lnTo>
                    <a:lnTo>
                      <a:pt x="1021784" y="164832"/>
                    </a:lnTo>
                    <a:lnTo>
                      <a:pt x="993576" y="172388"/>
                    </a:lnTo>
                    <a:lnTo>
                      <a:pt x="945457" y="169150"/>
                    </a:lnTo>
                    <a:lnTo>
                      <a:pt x="931630" y="178325"/>
                    </a:lnTo>
                    <a:lnTo>
                      <a:pt x="912271" y="168610"/>
                    </a:lnTo>
                    <a:lnTo>
                      <a:pt x="887382" y="121654"/>
                    </a:lnTo>
                    <a:lnTo>
                      <a:pt x="851984" y="110320"/>
                    </a:lnTo>
                    <a:lnTo>
                      <a:pt x="824330" y="118955"/>
                    </a:lnTo>
                    <a:lnTo>
                      <a:pt x="792804" y="116797"/>
                    </a:lnTo>
                    <a:lnTo>
                      <a:pt x="782848" y="104383"/>
                    </a:lnTo>
                    <a:lnTo>
                      <a:pt x="777317" y="81715"/>
                    </a:lnTo>
                    <a:lnTo>
                      <a:pt x="776211" y="52030"/>
                    </a:lnTo>
                    <a:lnTo>
                      <a:pt x="769021" y="41235"/>
                    </a:lnTo>
                    <a:lnTo>
                      <a:pt x="759065" y="35838"/>
                    </a:lnTo>
                    <a:lnTo>
                      <a:pt x="748003" y="9392"/>
                    </a:lnTo>
                    <a:lnTo>
                      <a:pt x="731410" y="5614"/>
                    </a:lnTo>
                    <a:lnTo>
                      <a:pt x="724220" y="-323"/>
                    </a:lnTo>
                    <a:lnTo>
                      <a:pt x="708181" y="13170"/>
                    </a:lnTo>
                    <a:lnTo>
                      <a:pt x="681632" y="15329"/>
                    </a:lnTo>
                    <a:lnTo>
                      <a:pt x="672783" y="29901"/>
                    </a:lnTo>
                    <a:lnTo>
                      <a:pt x="662827" y="37457"/>
                    </a:lnTo>
                    <a:lnTo>
                      <a:pt x="631301" y="45013"/>
                    </a:lnTo>
                    <a:lnTo>
                      <a:pt x="621898" y="82254"/>
                    </a:lnTo>
                    <a:lnTo>
                      <a:pt x="610836" y="77397"/>
                    </a:lnTo>
                    <a:lnTo>
                      <a:pt x="585947" y="80635"/>
                    </a:lnTo>
                    <a:lnTo>
                      <a:pt x="545571" y="108161"/>
                    </a:lnTo>
                    <a:lnTo>
                      <a:pt x="537275" y="119495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17" name="Freeform 1051">
                <a:extLst>
                  <a:ext uri="{FF2B5EF4-FFF2-40B4-BE49-F238E27FC236}">
                    <a16:creationId xmlns:a16="http://schemas.microsoft.com/office/drawing/2014/main" id="{760420AB-0979-4F1B-8976-FE607920A01C}"/>
                  </a:ext>
                </a:extLst>
              </p:cNvPr>
              <p:cNvSpPr/>
              <p:nvPr/>
            </p:nvSpPr>
            <p:spPr>
              <a:xfrm>
                <a:off x="7849307" y="4198570"/>
                <a:ext cx="1731178" cy="1074917"/>
              </a:xfrm>
              <a:custGeom>
                <a:avLst/>
                <a:gdLst>
                  <a:gd name="connsiteX0" fmla="*/ 1536070 w 1731178"/>
                  <a:gd name="connsiteY0" fmla="*/ 520926 h 1074917"/>
                  <a:gd name="connsiteX1" fmla="*/ 1529986 w 1731178"/>
                  <a:gd name="connsiteY1" fmla="*/ 512830 h 1074917"/>
                  <a:gd name="connsiteX2" fmla="*/ 1511181 w 1731178"/>
                  <a:gd name="connsiteY2" fmla="*/ 507433 h 1074917"/>
                  <a:gd name="connsiteX3" fmla="*/ 1505650 w 1731178"/>
                  <a:gd name="connsiteY3" fmla="*/ 525783 h 1074917"/>
                  <a:gd name="connsiteX4" fmla="*/ 1448682 w 1731178"/>
                  <a:gd name="connsiteY4" fmla="*/ 569501 h 1074917"/>
                  <a:gd name="connsiteX5" fmla="*/ 1400010 w 1731178"/>
                  <a:gd name="connsiteY5" fmla="*/ 588931 h 1074917"/>
                  <a:gd name="connsiteX6" fmla="*/ 1344147 w 1731178"/>
                  <a:gd name="connsiteY6" fmla="*/ 661254 h 1074917"/>
                  <a:gd name="connsiteX7" fmla="*/ 1288838 w 1731178"/>
                  <a:gd name="connsiteY7" fmla="*/ 701733 h 1074917"/>
                  <a:gd name="connsiteX8" fmla="*/ 1241825 w 1731178"/>
                  <a:gd name="connsiteY8" fmla="*/ 716306 h 1074917"/>
                  <a:gd name="connsiteX9" fmla="*/ 1216383 w 1731178"/>
                  <a:gd name="connsiteY9" fmla="*/ 706051 h 1074917"/>
                  <a:gd name="connsiteX10" fmla="*/ 1196472 w 1731178"/>
                  <a:gd name="connsiteY10" fmla="*/ 710908 h 1074917"/>
                  <a:gd name="connsiteX11" fmla="*/ 1147800 w 1731178"/>
                  <a:gd name="connsiteY11" fmla="*/ 763262 h 1074917"/>
                  <a:gd name="connsiteX12" fmla="*/ 1102999 w 1731178"/>
                  <a:gd name="connsiteY12" fmla="*/ 788089 h 1074917"/>
                  <a:gd name="connsiteX13" fmla="*/ 1088619 w 1731178"/>
                  <a:gd name="connsiteY13" fmla="*/ 776755 h 1074917"/>
                  <a:gd name="connsiteX14" fmla="*/ 1072579 w 1731178"/>
                  <a:gd name="connsiteY14" fmla="*/ 776215 h 1074917"/>
                  <a:gd name="connsiteX15" fmla="*/ 1058752 w 1731178"/>
                  <a:gd name="connsiteY15" fmla="*/ 780533 h 1074917"/>
                  <a:gd name="connsiteX16" fmla="*/ 1063730 w 1731178"/>
                  <a:gd name="connsiteY16" fmla="*/ 823711 h 1074917"/>
                  <a:gd name="connsiteX17" fmla="*/ 1084194 w 1731178"/>
                  <a:gd name="connsiteY17" fmla="*/ 844760 h 1074917"/>
                  <a:gd name="connsiteX18" fmla="*/ 1059858 w 1731178"/>
                  <a:gd name="connsiteY18" fmla="*/ 859872 h 1074917"/>
                  <a:gd name="connsiteX19" fmla="*/ 1064283 w 1731178"/>
                  <a:gd name="connsiteY19" fmla="*/ 886858 h 1074917"/>
                  <a:gd name="connsiteX20" fmla="*/ 1053774 w 1731178"/>
                  <a:gd name="connsiteY20" fmla="*/ 898732 h 1074917"/>
                  <a:gd name="connsiteX21" fmla="*/ 1053774 w 1731178"/>
                  <a:gd name="connsiteY21" fmla="*/ 907368 h 1074917"/>
                  <a:gd name="connsiteX22" fmla="*/ 1049902 w 1731178"/>
                  <a:gd name="connsiteY22" fmla="*/ 916543 h 1074917"/>
                  <a:gd name="connsiteX23" fmla="*/ 1027226 w 1731178"/>
                  <a:gd name="connsiteY23" fmla="*/ 905209 h 1074917"/>
                  <a:gd name="connsiteX24" fmla="*/ 1007314 w 1731178"/>
                  <a:gd name="connsiteY24" fmla="*/ 874445 h 1074917"/>
                  <a:gd name="connsiteX25" fmla="*/ 1002336 w 1731178"/>
                  <a:gd name="connsiteY25" fmla="*/ 865269 h 1074917"/>
                  <a:gd name="connsiteX26" fmla="*/ 1007314 w 1731178"/>
                  <a:gd name="connsiteY26" fmla="*/ 852316 h 1074917"/>
                  <a:gd name="connsiteX27" fmla="*/ 1023907 w 1731178"/>
                  <a:gd name="connsiteY27" fmla="*/ 808059 h 1074917"/>
                  <a:gd name="connsiteX28" fmla="*/ 1011186 w 1731178"/>
                  <a:gd name="connsiteY28" fmla="*/ 792407 h 1074917"/>
                  <a:gd name="connsiteX29" fmla="*/ 998465 w 1731178"/>
                  <a:gd name="connsiteY29" fmla="*/ 792407 h 1074917"/>
                  <a:gd name="connsiteX30" fmla="*/ 986297 w 1731178"/>
                  <a:gd name="connsiteY30" fmla="*/ 813996 h 1074917"/>
                  <a:gd name="connsiteX31" fmla="*/ 975788 w 1731178"/>
                  <a:gd name="connsiteY31" fmla="*/ 825330 h 1074917"/>
                  <a:gd name="connsiteX32" fmla="*/ 983531 w 1731178"/>
                  <a:gd name="connsiteY32" fmla="*/ 828568 h 1074917"/>
                  <a:gd name="connsiteX33" fmla="*/ 963067 w 1731178"/>
                  <a:gd name="connsiteY33" fmla="*/ 849617 h 1074917"/>
                  <a:gd name="connsiteX34" fmla="*/ 940943 w 1731178"/>
                  <a:gd name="connsiteY34" fmla="*/ 852316 h 1074917"/>
                  <a:gd name="connsiteX35" fmla="*/ 930988 w 1731178"/>
                  <a:gd name="connsiteY35" fmla="*/ 849617 h 1074917"/>
                  <a:gd name="connsiteX36" fmla="*/ 920479 w 1731178"/>
                  <a:gd name="connsiteY36" fmla="*/ 850157 h 1074917"/>
                  <a:gd name="connsiteX37" fmla="*/ 897249 w 1731178"/>
                  <a:gd name="connsiteY37" fmla="*/ 844760 h 1074917"/>
                  <a:gd name="connsiteX38" fmla="*/ 883975 w 1731178"/>
                  <a:gd name="connsiteY38" fmla="*/ 848538 h 1074917"/>
                  <a:gd name="connsiteX39" fmla="*/ 846365 w 1731178"/>
                  <a:gd name="connsiteY39" fmla="*/ 918702 h 1074917"/>
                  <a:gd name="connsiteX40" fmla="*/ 844705 w 1731178"/>
                  <a:gd name="connsiteY40" fmla="*/ 926258 h 1074917"/>
                  <a:gd name="connsiteX41" fmla="*/ 828666 w 1731178"/>
                  <a:gd name="connsiteY41" fmla="*/ 937592 h 1074917"/>
                  <a:gd name="connsiteX42" fmla="*/ 818157 w 1731178"/>
                  <a:gd name="connsiteY42" fmla="*/ 958102 h 1074917"/>
                  <a:gd name="connsiteX43" fmla="*/ 795480 w 1731178"/>
                  <a:gd name="connsiteY43" fmla="*/ 963499 h 1074917"/>
                  <a:gd name="connsiteX44" fmla="*/ 772803 w 1731178"/>
                  <a:gd name="connsiteY44" fmla="*/ 976992 h 1074917"/>
                  <a:gd name="connsiteX45" fmla="*/ 767272 w 1731178"/>
                  <a:gd name="connsiteY45" fmla="*/ 981850 h 1074917"/>
                  <a:gd name="connsiteX46" fmla="*/ 756211 w 1731178"/>
                  <a:gd name="connsiteY46" fmla="*/ 985628 h 1074917"/>
                  <a:gd name="connsiteX47" fmla="*/ 742936 w 1731178"/>
                  <a:gd name="connsiteY47" fmla="*/ 994263 h 1074917"/>
                  <a:gd name="connsiteX48" fmla="*/ 680437 w 1731178"/>
                  <a:gd name="connsiteY48" fmla="*/ 980770 h 1074917"/>
                  <a:gd name="connsiteX49" fmla="*/ 655548 w 1731178"/>
                  <a:gd name="connsiteY49" fmla="*/ 961340 h 1074917"/>
                  <a:gd name="connsiteX50" fmla="*/ 617384 w 1731178"/>
                  <a:gd name="connsiteY50" fmla="*/ 960800 h 1074917"/>
                  <a:gd name="connsiteX51" fmla="*/ 596367 w 1731178"/>
                  <a:gd name="connsiteY51" fmla="*/ 953784 h 1074917"/>
                  <a:gd name="connsiteX52" fmla="*/ 573690 w 1731178"/>
                  <a:gd name="connsiteY52" fmla="*/ 951085 h 1074917"/>
                  <a:gd name="connsiteX53" fmla="*/ 525571 w 1731178"/>
                  <a:gd name="connsiteY53" fmla="*/ 962419 h 1074917"/>
                  <a:gd name="connsiteX54" fmla="*/ 519487 w 1731178"/>
                  <a:gd name="connsiteY54" fmla="*/ 967817 h 1074917"/>
                  <a:gd name="connsiteX55" fmla="*/ 522806 w 1731178"/>
                  <a:gd name="connsiteY55" fmla="*/ 995882 h 1074917"/>
                  <a:gd name="connsiteX56" fmla="*/ 524465 w 1731178"/>
                  <a:gd name="connsiteY56" fmla="*/ 1000200 h 1074917"/>
                  <a:gd name="connsiteX57" fmla="*/ 522253 w 1731178"/>
                  <a:gd name="connsiteY57" fmla="*/ 1024488 h 1074917"/>
                  <a:gd name="connsiteX58" fmla="*/ 523912 w 1731178"/>
                  <a:gd name="connsiteY58" fmla="*/ 1033123 h 1074917"/>
                  <a:gd name="connsiteX59" fmla="*/ 521699 w 1731178"/>
                  <a:gd name="connsiteY59" fmla="*/ 1043918 h 1074917"/>
                  <a:gd name="connsiteX60" fmla="*/ 511744 w 1731178"/>
                  <a:gd name="connsiteY60" fmla="*/ 1041759 h 1074917"/>
                  <a:gd name="connsiteX61" fmla="*/ 482983 w 1731178"/>
                  <a:gd name="connsiteY61" fmla="*/ 1053093 h 1074917"/>
                  <a:gd name="connsiteX62" fmla="*/ 456988 w 1731178"/>
                  <a:gd name="connsiteY62" fmla="*/ 1074142 h 1074917"/>
                  <a:gd name="connsiteX63" fmla="*/ 439842 w 1731178"/>
                  <a:gd name="connsiteY63" fmla="*/ 1070364 h 1074917"/>
                  <a:gd name="connsiteX64" fmla="*/ 424355 w 1731178"/>
                  <a:gd name="connsiteY64" fmla="*/ 1070364 h 1074917"/>
                  <a:gd name="connsiteX65" fmla="*/ 417165 w 1731178"/>
                  <a:gd name="connsiteY65" fmla="*/ 1071983 h 1074917"/>
                  <a:gd name="connsiteX66" fmla="*/ 402232 w 1731178"/>
                  <a:gd name="connsiteY66" fmla="*/ 1067126 h 1074917"/>
                  <a:gd name="connsiteX67" fmla="*/ 396148 w 1731178"/>
                  <a:gd name="connsiteY67" fmla="*/ 1059570 h 1074917"/>
                  <a:gd name="connsiteX68" fmla="*/ 392829 w 1731178"/>
                  <a:gd name="connsiteY68" fmla="*/ 1049315 h 1074917"/>
                  <a:gd name="connsiteX69" fmla="*/ 386192 w 1731178"/>
                  <a:gd name="connsiteY69" fmla="*/ 1043378 h 1074917"/>
                  <a:gd name="connsiteX70" fmla="*/ 391170 w 1731178"/>
                  <a:gd name="connsiteY70" fmla="*/ 1031504 h 1074917"/>
                  <a:gd name="connsiteX71" fmla="*/ 374577 w 1731178"/>
                  <a:gd name="connsiteY71" fmla="*/ 1024488 h 1074917"/>
                  <a:gd name="connsiteX72" fmla="*/ 367940 w 1731178"/>
                  <a:gd name="connsiteY72" fmla="*/ 1027726 h 1074917"/>
                  <a:gd name="connsiteX73" fmla="*/ 363515 w 1731178"/>
                  <a:gd name="connsiteY73" fmla="*/ 1039600 h 1074917"/>
                  <a:gd name="connsiteX74" fmla="*/ 351347 w 1731178"/>
                  <a:gd name="connsiteY74" fmla="*/ 1035282 h 1074917"/>
                  <a:gd name="connsiteX75" fmla="*/ 340838 w 1731178"/>
                  <a:gd name="connsiteY75" fmla="*/ 1033123 h 1074917"/>
                  <a:gd name="connsiteX76" fmla="*/ 324246 w 1731178"/>
                  <a:gd name="connsiteY76" fmla="*/ 1025567 h 1074917"/>
                  <a:gd name="connsiteX77" fmla="*/ 315396 w 1731178"/>
                  <a:gd name="connsiteY77" fmla="*/ 1030425 h 1074917"/>
                  <a:gd name="connsiteX78" fmla="*/ 307100 w 1731178"/>
                  <a:gd name="connsiteY78" fmla="*/ 1030964 h 1074917"/>
                  <a:gd name="connsiteX79" fmla="*/ 305441 w 1731178"/>
                  <a:gd name="connsiteY79" fmla="*/ 1035822 h 1074917"/>
                  <a:gd name="connsiteX80" fmla="*/ 308206 w 1731178"/>
                  <a:gd name="connsiteY80" fmla="*/ 1042838 h 1074917"/>
                  <a:gd name="connsiteX81" fmla="*/ 302122 w 1731178"/>
                  <a:gd name="connsiteY81" fmla="*/ 1048236 h 1074917"/>
                  <a:gd name="connsiteX82" fmla="*/ 293826 w 1731178"/>
                  <a:gd name="connsiteY82" fmla="*/ 1066586 h 1074917"/>
                  <a:gd name="connsiteX83" fmla="*/ 288848 w 1731178"/>
                  <a:gd name="connsiteY83" fmla="*/ 1068205 h 1074917"/>
                  <a:gd name="connsiteX84" fmla="*/ 286635 w 1731178"/>
                  <a:gd name="connsiteY84" fmla="*/ 1065507 h 1074917"/>
                  <a:gd name="connsiteX85" fmla="*/ 288848 w 1731178"/>
                  <a:gd name="connsiteY85" fmla="*/ 1062268 h 1074917"/>
                  <a:gd name="connsiteX86" fmla="*/ 292166 w 1731178"/>
                  <a:gd name="connsiteY86" fmla="*/ 1048775 h 1074917"/>
                  <a:gd name="connsiteX87" fmla="*/ 293272 w 1731178"/>
                  <a:gd name="connsiteY87" fmla="*/ 1045537 h 1074917"/>
                  <a:gd name="connsiteX88" fmla="*/ 289401 w 1731178"/>
                  <a:gd name="connsiteY88" fmla="*/ 1042838 h 1074917"/>
                  <a:gd name="connsiteX89" fmla="*/ 281104 w 1731178"/>
                  <a:gd name="connsiteY89" fmla="*/ 1046616 h 1074917"/>
                  <a:gd name="connsiteX90" fmla="*/ 266171 w 1731178"/>
                  <a:gd name="connsiteY90" fmla="*/ 1053633 h 1074917"/>
                  <a:gd name="connsiteX91" fmla="*/ 252344 w 1731178"/>
                  <a:gd name="connsiteY91" fmla="*/ 1066046 h 1074917"/>
                  <a:gd name="connsiteX92" fmla="*/ 239069 w 1731178"/>
                  <a:gd name="connsiteY92" fmla="*/ 1070364 h 1074917"/>
                  <a:gd name="connsiteX93" fmla="*/ 231879 w 1731178"/>
                  <a:gd name="connsiteY93" fmla="*/ 1067126 h 1074917"/>
                  <a:gd name="connsiteX94" fmla="*/ 232432 w 1731178"/>
                  <a:gd name="connsiteY94" fmla="*/ 1063888 h 1074917"/>
                  <a:gd name="connsiteX95" fmla="*/ 242388 w 1731178"/>
                  <a:gd name="connsiteY95" fmla="*/ 1057411 h 1074917"/>
                  <a:gd name="connsiteX96" fmla="*/ 251237 w 1731178"/>
                  <a:gd name="connsiteY96" fmla="*/ 1049855 h 1074917"/>
                  <a:gd name="connsiteX97" fmla="*/ 257875 w 1731178"/>
                  <a:gd name="connsiteY97" fmla="*/ 1048775 h 1074917"/>
                  <a:gd name="connsiteX98" fmla="*/ 269490 w 1731178"/>
                  <a:gd name="connsiteY98" fmla="*/ 1043378 h 1074917"/>
                  <a:gd name="connsiteX99" fmla="*/ 279998 w 1731178"/>
                  <a:gd name="connsiteY99" fmla="*/ 1040140 h 1074917"/>
                  <a:gd name="connsiteX100" fmla="*/ 286635 w 1731178"/>
                  <a:gd name="connsiteY100" fmla="*/ 1028805 h 1074917"/>
                  <a:gd name="connsiteX101" fmla="*/ 293272 w 1731178"/>
                  <a:gd name="connsiteY101" fmla="*/ 1028805 h 1074917"/>
                  <a:gd name="connsiteX102" fmla="*/ 300463 w 1731178"/>
                  <a:gd name="connsiteY102" fmla="*/ 1012614 h 1074917"/>
                  <a:gd name="connsiteX103" fmla="*/ 302122 w 1731178"/>
                  <a:gd name="connsiteY103" fmla="*/ 1008836 h 1074917"/>
                  <a:gd name="connsiteX104" fmla="*/ 275574 w 1731178"/>
                  <a:gd name="connsiteY104" fmla="*/ 1014233 h 1074917"/>
                  <a:gd name="connsiteX105" fmla="*/ 268383 w 1731178"/>
                  <a:gd name="connsiteY105" fmla="*/ 1016392 h 1074917"/>
                  <a:gd name="connsiteX106" fmla="*/ 235751 w 1731178"/>
                  <a:gd name="connsiteY106" fmla="*/ 1030425 h 1074917"/>
                  <a:gd name="connsiteX107" fmla="*/ 224136 w 1731178"/>
                  <a:gd name="connsiteY107" fmla="*/ 1029885 h 1074917"/>
                  <a:gd name="connsiteX108" fmla="*/ 215286 w 1731178"/>
                  <a:gd name="connsiteY108" fmla="*/ 1037441 h 1074917"/>
                  <a:gd name="connsiteX109" fmla="*/ 210309 w 1731178"/>
                  <a:gd name="connsiteY109" fmla="*/ 1021789 h 1074917"/>
                  <a:gd name="connsiteX110" fmla="*/ 229114 w 1731178"/>
                  <a:gd name="connsiteY110" fmla="*/ 1019630 h 1074917"/>
                  <a:gd name="connsiteX111" fmla="*/ 233539 w 1731178"/>
                  <a:gd name="connsiteY111" fmla="*/ 1005597 h 1074917"/>
                  <a:gd name="connsiteX112" fmla="*/ 230220 w 1731178"/>
                  <a:gd name="connsiteY112" fmla="*/ 999121 h 1074917"/>
                  <a:gd name="connsiteX113" fmla="*/ 220264 w 1731178"/>
                  <a:gd name="connsiteY113" fmla="*/ 997502 h 1074917"/>
                  <a:gd name="connsiteX114" fmla="*/ 205884 w 1731178"/>
                  <a:gd name="connsiteY114" fmla="*/ 991565 h 1074917"/>
                  <a:gd name="connsiteX115" fmla="*/ 195928 w 1731178"/>
                  <a:gd name="connsiteY115" fmla="*/ 993184 h 1074917"/>
                  <a:gd name="connsiteX116" fmla="*/ 193163 w 1731178"/>
                  <a:gd name="connsiteY116" fmla="*/ 984008 h 1074917"/>
                  <a:gd name="connsiteX117" fmla="*/ 190950 w 1731178"/>
                  <a:gd name="connsiteY117" fmla="*/ 979691 h 1074917"/>
                  <a:gd name="connsiteX118" fmla="*/ 189844 w 1731178"/>
                  <a:gd name="connsiteY118" fmla="*/ 969436 h 1074917"/>
                  <a:gd name="connsiteX119" fmla="*/ 183760 w 1731178"/>
                  <a:gd name="connsiteY119" fmla="*/ 963499 h 1074917"/>
                  <a:gd name="connsiteX120" fmla="*/ 177676 w 1731178"/>
                  <a:gd name="connsiteY120" fmla="*/ 961880 h 1074917"/>
                  <a:gd name="connsiteX121" fmla="*/ 189291 w 1731178"/>
                  <a:gd name="connsiteY121" fmla="*/ 952165 h 1074917"/>
                  <a:gd name="connsiteX122" fmla="*/ 189291 w 1731178"/>
                  <a:gd name="connsiteY122" fmla="*/ 933274 h 1074917"/>
                  <a:gd name="connsiteX123" fmla="*/ 187632 w 1731178"/>
                  <a:gd name="connsiteY123" fmla="*/ 929496 h 1074917"/>
                  <a:gd name="connsiteX124" fmla="*/ 165508 w 1731178"/>
                  <a:gd name="connsiteY124" fmla="*/ 921401 h 1074917"/>
                  <a:gd name="connsiteX125" fmla="*/ 142831 w 1731178"/>
                  <a:gd name="connsiteY125" fmla="*/ 919781 h 1074917"/>
                  <a:gd name="connsiteX126" fmla="*/ 132876 w 1731178"/>
                  <a:gd name="connsiteY126" fmla="*/ 906288 h 1074917"/>
                  <a:gd name="connsiteX127" fmla="*/ 129004 w 1731178"/>
                  <a:gd name="connsiteY127" fmla="*/ 906288 h 1074917"/>
                  <a:gd name="connsiteX128" fmla="*/ 115730 w 1731178"/>
                  <a:gd name="connsiteY128" fmla="*/ 917622 h 1074917"/>
                  <a:gd name="connsiteX129" fmla="*/ 85863 w 1731178"/>
                  <a:gd name="connsiteY129" fmla="*/ 908447 h 1074917"/>
                  <a:gd name="connsiteX130" fmla="*/ 85863 w 1731178"/>
                  <a:gd name="connsiteY130" fmla="*/ 906828 h 1074917"/>
                  <a:gd name="connsiteX131" fmla="*/ 88075 w 1731178"/>
                  <a:gd name="connsiteY131" fmla="*/ 899272 h 1074917"/>
                  <a:gd name="connsiteX132" fmla="*/ 97478 w 1731178"/>
                  <a:gd name="connsiteY132" fmla="*/ 896573 h 1074917"/>
                  <a:gd name="connsiteX133" fmla="*/ 100243 w 1731178"/>
                  <a:gd name="connsiteY133" fmla="*/ 887938 h 1074917"/>
                  <a:gd name="connsiteX134" fmla="*/ 86416 w 1731178"/>
                  <a:gd name="connsiteY134" fmla="*/ 877143 h 1074917"/>
                  <a:gd name="connsiteX135" fmla="*/ 85310 w 1731178"/>
                  <a:gd name="connsiteY135" fmla="*/ 864730 h 1074917"/>
                  <a:gd name="connsiteX136" fmla="*/ 104115 w 1731178"/>
                  <a:gd name="connsiteY136" fmla="*/ 863650 h 1074917"/>
                  <a:gd name="connsiteX137" fmla="*/ 112411 w 1731178"/>
                  <a:gd name="connsiteY137" fmla="*/ 876064 h 1074917"/>
                  <a:gd name="connsiteX138" fmla="*/ 112411 w 1731178"/>
                  <a:gd name="connsiteY138" fmla="*/ 887398 h 1074917"/>
                  <a:gd name="connsiteX139" fmla="*/ 115730 w 1731178"/>
                  <a:gd name="connsiteY139" fmla="*/ 891716 h 1074917"/>
                  <a:gd name="connsiteX140" fmla="*/ 121261 w 1731178"/>
                  <a:gd name="connsiteY140" fmla="*/ 885239 h 1074917"/>
                  <a:gd name="connsiteX141" fmla="*/ 132876 w 1731178"/>
                  <a:gd name="connsiteY141" fmla="*/ 886858 h 1074917"/>
                  <a:gd name="connsiteX142" fmla="*/ 154999 w 1731178"/>
                  <a:gd name="connsiteY142" fmla="*/ 874984 h 1074917"/>
                  <a:gd name="connsiteX143" fmla="*/ 156659 w 1731178"/>
                  <a:gd name="connsiteY143" fmla="*/ 871746 h 1074917"/>
                  <a:gd name="connsiteX144" fmla="*/ 140066 w 1731178"/>
                  <a:gd name="connsiteY144" fmla="*/ 872286 h 1074917"/>
                  <a:gd name="connsiteX145" fmla="*/ 121814 w 1731178"/>
                  <a:gd name="connsiteY145" fmla="*/ 852316 h 1074917"/>
                  <a:gd name="connsiteX146" fmla="*/ 129557 w 1731178"/>
                  <a:gd name="connsiteY146" fmla="*/ 842061 h 1074917"/>
                  <a:gd name="connsiteX147" fmla="*/ 131770 w 1731178"/>
                  <a:gd name="connsiteY147" fmla="*/ 830187 h 1074917"/>
                  <a:gd name="connsiteX148" fmla="*/ 137301 w 1731178"/>
                  <a:gd name="connsiteY148" fmla="*/ 819933 h 1074917"/>
                  <a:gd name="connsiteX149" fmla="*/ 136747 w 1731178"/>
                  <a:gd name="connsiteY149" fmla="*/ 817774 h 1074917"/>
                  <a:gd name="connsiteX150" fmla="*/ 120155 w 1731178"/>
                  <a:gd name="connsiteY150" fmla="*/ 817234 h 1074917"/>
                  <a:gd name="connsiteX151" fmla="*/ 115730 w 1731178"/>
                  <a:gd name="connsiteY151" fmla="*/ 799963 h 1074917"/>
                  <a:gd name="connsiteX152" fmla="*/ 103562 w 1731178"/>
                  <a:gd name="connsiteY152" fmla="*/ 788629 h 1074917"/>
                  <a:gd name="connsiteX153" fmla="*/ 95819 w 1731178"/>
                  <a:gd name="connsiteY153" fmla="*/ 784311 h 1074917"/>
                  <a:gd name="connsiteX154" fmla="*/ 94712 w 1731178"/>
                  <a:gd name="connsiteY154" fmla="*/ 781612 h 1074917"/>
                  <a:gd name="connsiteX155" fmla="*/ 95819 w 1731178"/>
                  <a:gd name="connsiteY155" fmla="*/ 775136 h 1074917"/>
                  <a:gd name="connsiteX156" fmla="*/ 101903 w 1731178"/>
                  <a:gd name="connsiteY156" fmla="*/ 762722 h 1074917"/>
                  <a:gd name="connsiteX157" fmla="*/ 115177 w 1731178"/>
                  <a:gd name="connsiteY157" fmla="*/ 742752 h 1074917"/>
                  <a:gd name="connsiteX158" fmla="*/ 111305 w 1731178"/>
                  <a:gd name="connsiteY158" fmla="*/ 741133 h 1074917"/>
                  <a:gd name="connsiteX159" fmla="*/ 81438 w 1731178"/>
                  <a:gd name="connsiteY159" fmla="*/ 754626 h 1074917"/>
                  <a:gd name="connsiteX160" fmla="*/ 45487 w 1731178"/>
                  <a:gd name="connsiteY160" fmla="*/ 770818 h 1074917"/>
                  <a:gd name="connsiteX161" fmla="*/ 39956 w 1731178"/>
                  <a:gd name="connsiteY161" fmla="*/ 768659 h 1074917"/>
                  <a:gd name="connsiteX162" fmla="*/ 35532 w 1731178"/>
                  <a:gd name="connsiteY162" fmla="*/ 743292 h 1074917"/>
                  <a:gd name="connsiteX163" fmla="*/ 34425 w 1731178"/>
                  <a:gd name="connsiteY163" fmla="*/ 718465 h 1074917"/>
                  <a:gd name="connsiteX164" fmla="*/ 46040 w 1731178"/>
                  <a:gd name="connsiteY164" fmla="*/ 704432 h 1074917"/>
                  <a:gd name="connsiteX165" fmla="*/ 51571 w 1731178"/>
                  <a:gd name="connsiteY165" fmla="*/ 681763 h 1074917"/>
                  <a:gd name="connsiteX166" fmla="*/ 56549 w 1731178"/>
                  <a:gd name="connsiteY166" fmla="*/ 676366 h 1074917"/>
                  <a:gd name="connsiteX167" fmla="*/ 71483 w 1731178"/>
                  <a:gd name="connsiteY167" fmla="*/ 655857 h 1074917"/>
                  <a:gd name="connsiteX168" fmla="*/ 93606 w 1731178"/>
                  <a:gd name="connsiteY168" fmla="*/ 643983 h 1074917"/>
                  <a:gd name="connsiteX169" fmla="*/ 100796 w 1731178"/>
                  <a:gd name="connsiteY169" fmla="*/ 637506 h 1074917"/>
                  <a:gd name="connsiteX170" fmla="*/ 112411 w 1731178"/>
                  <a:gd name="connsiteY170" fmla="*/ 632109 h 1074917"/>
                  <a:gd name="connsiteX171" fmla="*/ 127898 w 1731178"/>
                  <a:gd name="connsiteY171" fmla="*/ 643983 h 1074917"/>
                  <a:gd name="connsiteX172" fmla="*/ 156659 w 1731178"/>
                  <a:gd name="connsiteY172" fmla="*/ 639125 h 1074917"/>
                  <a:gd name="connsiteX173" fmla="*/ 162190 w 1731178"/>
                  <a:gd name="connsiteY173" fmla="*/ 622394 h 1074917"/>
                  <a:gd name="connsiteX174" fmla="*/ 159424 w 1731178"/>
                  <a:gd name="connsiteY174" fmla="*/ 621314 h 1074917"/>
                  <a:gd name="connsiteX175" fmla="*/ 160530 w 1731178"/>
                  <a:gd name="connsiteY175" fmla="*/ 611599 h 1074917"/>
                  <a:gd name="connsiteX176" fmla="*/ 170486 w 1731178"/>
                  <a:gd name="connsiteY176" fmla="*/ 607821 h 1074917"/>
                  <a:gd name="connsiteX177" fmla="*/ 179889 w 1731178"/>
                  <a:gd name="connsiteY177" fmla="*/ 609440 h 1074917"/>
                  <a:gd name="connsiteX178" fmla="*/ 179889 w 1731178"/>
                  <a:gd name="connsiteY178" fmla="*/ 621854 h 1074917"/>
                  <a:gd name="connsiteX179" fmla="*/ 188738 w 1731178"/>
                  <a:gd name="connsiteY179" fmla="*/ 624013 h 1074917"/>
                  <a:gd name="connsiteX180" fmla="*/ 195375 w 1731178"/>
                  <a:gd name="connsiteY180" fmla="*/ 620775 h 1074917"/>
                  <a:gd name="connsiteX181" fmla="*/ 228008 w 1731178"/>
                  <a:gd name="connsiteY181" fmla="*/ 609980 h 1074917"/>
                  <a:gd name="connsiteX182" fmla="*/ 236304 w 1731178"/>
                  <a:gd name="connsiteY182" fmla="*/ 610520 h 1074917"/>
                  <a:gd name="connsiteX183" fmla="*/ 256768 w 1731178"/>
                  <a:gd name="connsiteY183" fmla="*/ 601884 h 1074917"/>
                  <a:gd name="connsiteX184" fmla="*/ 271149 w 1731178"/>
                  <a:gd name="connsiteY184" fmla="*/ 600265 h 1074917"/>
                  <a:gd name="connsiteX185" fmla="*/ 278339 w 1731178"/>
                  <a:gd name="connsiteY185" fmla="*/ 592169 h 1074917"/>
                  <a:gd name="connsiteX186" fmla="*/ 278339 w 1731178"/>
                  <a:gd name="connsiteY186" fmla="*/ 585693 h 1074917"/>
                  <a:gd name="connsiteX187" fmla="*/ 250684 w 1731178"/>
                  <a:gd name="connsiteY187" fmla="*/ 587852 h 1074917"/>
                  <a:gd name="connsiteX188" fmla="*/ 250684 w 1731178"/>
                  <a:gd name="connsiteY188" fmla="*/ 579216 h 1074917"/>
                  <a:gd name="connsiteX189" fmla="*/ 264512 w 1731178"/>
                  <a:gd name="connsiteY189" fmla="*/ 566263 h 1074917"/>
                  <a:gd name="connsiteX190" fmla="*/ 297697 w 1731178"/>
                  <a:gd name="connsiteY190" fmla="*/ 552230 h 1074917"/>
                  <a:gd name="connsiteX191" fmla="*/ 322586 w 1731178"/>
                  <a:gd name="connsiteY191" fmla="*/ 546833 h 1074917"/>
                  <a:gd name="connsiteX192" fmla="*/ 338073 w 1731178"/>
                  <a:gd name="connsiteY192" fmla="*/ 538197 h 1074917"/>
                  <a:gd name="connsiteX193" fmla="*/ 339732 w 1731178"/>
                  <a:gd name="connsiteY193" fmla="*/ 532260 h 1074917"/>
                  <a:gd name="connsiteX194" fmla="*/ 338626 w 1731178"/>
                  <a:gd name="connsiteY194" fmla="*/ 530641 h 1074917"/>
                  <a:gd name="connsiteX195" fmla="*/ 315396 w 1731178"/>
                  <a:gd name="connsiteY195" fmla="*/ 533339 h 1074917"/>
                  <a:gd name="connsiteX196" fmla="*/ 288295 w 1731178"/>
                  <a:gd name="connsiteY196" fmla="*/ 541435 h 1074917"/>
                  <a:gd name="connsiteX197" fmla="*/ 256215 w 1731178"/>
                  <a:gd name="connsiteY197" fmla="*/ 529022 h 1074917"/>
                  <a:gd name="connsiteX198" fmla="*/ 251237 w 1731178"/>
                  <a:gd name="connsiteY198" fmla="*/ 515529 h 1074917"/>
                  <a:gd name="connsiteX199" fmla="*/ 254556 w 1731178"/>
                  <a:gd name="connsiteY199" fmla="*/ 496099 h 1074917"/>
                  <a:gd name="connsiteX200" fmla="*/ 267277 w 1731178"/>
                  <a:gd name="connsiteY200" fmla="*/ 492320 h 1074917"/>
                  <a:gd name="connsiteX201" fmla="*/ 282211 w 1731178"/>
                  <a:gd name="connsiteY201" fmla="*/ 492860 h 1074917"/>
                  <a:gd name="connsiteX202" fmla="*/ 333648 w 1731178"/>
                  <a:gd name="connsiteY202" fmla="*/ 484225 h 1074917"/>
                  <a:gd name="connsiteX203" fmla="*/ 356325 w 1731178"/>
                  <a:gd name="connsiteY203" fmla="*/ 468033 h 1074917"/>
                  <a:gd name="connsiteX204" fmla="*/ 383426 w 1731178"/>
                  <a:gd name="connsiteY204" fmla="*/ 471811 h 1074917"/>
                  <a:gd name="connsiteX205" fmla="*/ 387851 w 1731178"/>
                  <a:gd name="connsiteY205" fmla="*/ 470192 h 1074917"/>
                  <a:gd name="connsiteX206" fmla="*/ 397807 w 1731178"/>
                  <a:gd name="connsiteY206" fmla="*/ 471271 h 1074917"/>
                  <a:gd name="connsiteX207" fmla="*/ 417718 w 1731178"/>
                  <a:gd name="connsiteY207" fmla="*/ 466953 h 1074917"/>
                  <a:gd name="connsiteX208" fmla="*/ 445926 w 1731178"/>
                  <a:gd name="connsiteY208" fmla="*/ 444825 h 1074917"/>
                  <a:gd name="connsiteX209" fmla="*/ 451457 w 1731178"/>
                  <a:gd name="connsiteY209" fmla="*/ 418378 h 1074917"/>
                  <a:gd name="connsiteX210" fmla="*/ 486855 w 1731178"/>
                  <a:gd name="connsiteY210" fmla="*/ 387614 h 1074917"/>
                  <a:gd name="connsiteX211" fmla="*/ 504001 w 1731178"/>
                  <a:gd name="connsiteY211" fmla="*/ 357390 h 1074917"/>
                  <a:gd name="connsiteX212" fmla="*/ 519487 w 1731178"/>
                  <a:gd name="connsiteY212" fmla="*/ 343897 h 1074917"/>
                  <a:gd name="connsiteX213" fmla="*/ 527784 w 1731178"/>
                  <a:gd name="connsiteY213" fmla="*/ 329864 h 1074917"/>
                  <a:gd name="connsiteX214" fmla="*/ 557650 w 1731178"/>
                  <a:gd name="connsiteY214" fmla="*/ 311513 h 1074917"/>
                  <a:gd name="connsiteX215" fmla="*/ 581433 w 1731178"/>
                  <a:gd name="connsiteY215" fmla="*/ 288845 h 1074917"/>
                  <a:gd name="connsiteX216" fmla="*/ 638402 w 1731178"/>
                  <a:gd name="connsiteY216" fmla="*/ 273193 h 1074917"/>
                  <a:gd name="connsiteX217" fmla="*/ 672694 w 1731178"/>
                  <a:gd name="connsiteY217" fmla="*/ 265637 h 1074917"/>
                  <a:gd name="connsiteX218" fmla="*/ 702007 w 1731178"/>
                  <a:gd name="connsiteY218" fmla="*/ 253223 h 1074917"/>
                  <a:gd name="connsiteX219" fmla="*/ 717494 w 1731178"/>
                  <a:gd name="connsiteY219" fmla="*/ 228936 h 1074917"/>
                  <a:gd name="connsiteX220" fmla="*/ 729109 w 1731178"/>
                  <a:gd name="connsiteY220" fmla="*/ 232174 h 1074917"/>
                  <a:gd name="connsiteX221" fmla="*/ 752892 w 1731178"/>
                  <a:gd name="connsiteY221" fmla="*/ 260779 h 1074917"/>
                  <a:gd name="connsiteX222" fmla="*/ 787184 w 1731178"/>
                  <a:gd name="connsiteY222" fmla="*/ 257541 h 1074917"/>
                  <a:gd name="connsiteX223" fmla="*/ 805989 w 1731178"/>
                  <a:gd name="connsiteY223" fmla="*/ 244048 h 1074917"/>
                  <a:gd name="connsiteX224" fmla="*/ 810967 w 1731178"/>
                  <a:gd name="connsiteY224" fmla="*/ 240809 h 1074917"/>
                  <a:gd name="connsiteX225" fmla="*/ 822028 w 1731178"/>
                  <a:gd name="connsiteY225" fmla="*/ 244048 h 1074917"/>
                  <a:gd name="connsiteX226" fmla="*/ 829219 w 1731178"/>
                  <a:gd name="connsiteY226" fmla="*/ 258081 h 1074917"/>
                  <a:gd name="connsiteX227" fmla="*/ 849130 w 1731178"/>
                  <a:gd name="connsiteY227" fmla="*/ 272113 h 1074917"/>
                  <a:gd name="connsiteX228" fmla="*/ 863510 w 1731178"/>
                  <a:gd name="connsiteY228" fmla="*/ 274272 h 1074917"/>
                  <a:gd name="connsiteX229" fmla="*/ 880656 w 1731178"/>
                  <a:gd name="connsiteY229" fmla="*/ 255922 h 1074917"/>
                  <a:gd name="connsiteX230" fmla="*/ 892271 w 1731178"/>
                  <a:gd name="connsiteY230" fmla="*/ 252144 h 1074917"/>
                  <a:gd name="connsiteX231" fmla="*/ 903886 w 1731178"/>
                  <a:gd name="connsiteY231" fmla="*/ 253763 h 1074917"/>
                  <a:gd name="connsiteX232" fmla="*/ 906652 w 1731178"/>
                  <a:gd name="connsiteY232" fmla="*/ 252683 h 1074917"/>
                  <a:gd name="connsiteX233" fmla="*/ 921585 w 1731178"/>
                  <a:gd name="connsiteY233" fmla="*/ 261859 h 1074917"/>
                  <a:gd name="connsiteX234" fmla="*/ 938731 w 1731178"/>
                  <a:gd name="connsiteY234" fmla="*/ 260239 h 1074917"/>
                  <a:gd name="connsiteX235" fmla="*/ 959195 w 1731178"/>
                  <a:gd name="connsiteY235" fmla="*/ 263478 h 1074917"/>
                  <a:gd name="connsiteX236" fmla="*/ 980213 w 1731178"/>
                  <a:gd name="connsiteY236" fmla="*/ 245667 h 1074917"/>
                  <a:gd name="connsiteX237" fmla="*/ 998465 w 1731178"/>
                  <a:gd name="connsiteY237" fmla="*/ 252683 h 1074917"/>
                  <a:gd name="connsiteX238" fmla="*/ 1013398 w 1731178"/>
                  <a:gd name="connsiteY238" fmla="*/ 249445 h 1074917"/>
                  <a:gd name="connsiteX239" fmla="*/ 1022801 w 1731178"/>
                  <a:gd name="connsiteY239" fmla="*/ 245127 h 1074917"/>
                  <a:gd name="connsiteX240" fmla="*/ 1042159 w 1731178"/>
                  <a:gd name="connsiteY240" fmla="*/ 242968 h 1074917"/>
                  <a:gd name="connsiteX241" fmla="*/ 1077557 w 1731178"/>
                  <a:gd name="connsiteY241" fmla="*/ 214903 h 1074917"/>
                  <a:gd name="connsiteX242" fmla="*/ 1085300 w 1731178"/>
                  <a:gd name="connsiteY242" fmla="*/ 206807 h 1074917"/>
                  <a:gd name="connsiteX243" fmla="*/ 1114614 w 1731178"/>
                  <a:gd name="connsiteY243" fmla="*/ 190075 h 1074917"/>
                  <a:gd name="connsiteX244" fmla="*/ 1142822 w 1731178"/>
                  <a:gd name="connsiteY244" fmla="*/ 185758 h 1074917"/>
                  <a:gd name="connsiteX245" fmla="*/ 1172136 w 1731178"/>
                  <a:gd name="connsiteY245" fmla="*/ 176043 h 1074917"/>
                  <a:gd name="connsiteX246" fmla="*/ 1180432 w 1731178"/>
                  <a:gd name="connsiteY246" fmla="*/ 174423 h 1074917"/>
                  <a:gd name="connsiteX247" fmla="*/ 1207534 w 1731178"/>
                  <a:gd name="connsiteY247" fmla="*/ 140421 h 1074917"/>
                  <a:gd name="connsiteX248" fmla="*/ 1220255 w 1731178"/>
                  <a:gd name="connsiteY248" fmla="*/ 130166 h 1074917"/>
                  <a:gd name="connsiteX249" fmla="*/ 1227998 w 1731178"/>
                  <a:gd name="connsiteY249" fmla="*/ 119372 h 1074917"/>
                  <a:gd name="connsiteX250" fmla="*/ 1265055 w 1731178"/>
                  <a:gd name="connsiteY250" fmla="*/ 60542 h 1074917"/>
                  <a:gd name="connsiteX251" fmla="*/ 1293816 w 1731178"/>
                  <a:gd name="connsiteY251" fmla="*/ 56224 h 1074917"/>
                  <a:gd name="connsiteX252" fmla="*/ 1301559 w 1731178"/>
                  <a:gd name="connsiteY252" fmla="*/ 39493 h 1074917"/>
                  <a:gd name="connsiteX253" fmla="*/ 1341935 w 1731178"/>
                  <a:gd name="connsiteY253" fmla="*/ 26539 h 1074917"/>
                  <a:gd name="connsiteX254" fmla="*/ 1351891 w 1731178"/>
                  <a:gd name="connsiteY254" fmla="*/ 3331 h 1074917"/>
                  <a:gd name="connsiteX255" fmla="*/ 1362952 w 1731178"/>
                  <a:gd name="connsiteY255" fmla="*/ -447 h 1074917"/>
                  <a:gd name="connsiteX256" fmla="*/ 1404987 w 1731178"/>
                  <a:gd name="connsiteY256" fmla="*/ 13586 h 1074917"/>
                  <a:gd name="connsiteX257" fmla="*/ 1405541 w 1731178"/>
                  <a:gd name="connsiteY257" fmla="*/ 18443 h 1074917"/>
                  <a:gd name="connsiteX258" fmla="*/ 1419368 w 1731178"/>
                  <a:gd name="connsiteY258" fmla="*/ 22221 h 1074917"/>
                  <a:gd name="connsiteX259" fmla="*/ 1426005 w 1731178"/>
                  <a:gd name="connsiteY259" fmla="*/ 16285 h 1074917"/>
                  <a:gd name="connsiteX260" fmla="*/ 1434301 w 1731178"/>
                  <a:gd name="connsiteY260" fmla="*/ 17364 h 1074917"/>
                  <a:gd name="connsiteX261" fmla="*/ 1440385 w 1731178"/>
                  <a:gd name="connsiteY261" fmla="*/ 31397 h 1074917"/>
                  <a:gd name="connsiteX262" fmla="*/ 1461956 w 1731178"/>
                  <a:gd name="connsiteY262" fmla="*/ 33016 h 1074917"/>
                  <a:gd name="connsiteX263" fmla="*/ 1473571 w 1731178"/>
                  <a:gd name="connsiteY263" fmla="*/ 49208 h 1074917"/>
                  <a:gd name="connsiteX264" fmla="*/ 1471359 w 1731178"/>
                  <a:gd name="connsiteY264" fmla="*/ 73495 h 1074917"/>
                  <a:gd name="connsiteX265" fmla="*/ 1471912 w 1731178"/>
                  <a:gd name="connsiteY265" fmla="*/ 82671 h 1074917"/>
                  <a:gd name="connsiteX266" fmla="*/ 1477996 w 1731178"/>
                  <a:gd name="connsiteY266" fmla="*/ 86988 h 1074917"/>
                  <a:gd name="connsiteX267" fmla="*/ 1479655 w 1731178"/>
                  <a:gd name="connsiteY267" fmla="*/ 99402 h 1074917"/>
                  <a:gd name="connsiteX268" fmla="*/ 1487951 w 1731178"/>
                  <a:gd name="connsiteY268" fmla="*/ 107498 h 1074917"/>
                  <a:gd name="connsiteX269" fmla="*/ 1494588 w 1731178"/>
                  <a:gd name="connsiteY269" fmla="*/ 122070 h 1074917"/>
                  <a:gd name="connsiteX270" fmla="*/ 1503991 w 1731178"/>
                  <a:gd name="connsiteY270" fmla="*/ 126388 h 1074917"/>
                  <a:gd name="connsiteX271" fmla="*/ 1523902 w 1731178"/>
                  <a:gd name="connsiteY271" fmla="*/ 123150 h 1074917"/>
                  <a:gd name="connsiteX272" fmla="*/ 1555429 w 1731178"/>
                  <a:gd name="connsiteY272" fmla="*/ 102101 h 1074917"/>
                  <a:gd name="connsiteX273" fmla="*/ 1581977 w 1731178"/>
                  <a:gd name="connsiteY273" fmla="*/ 110196 h 1074917"/>
                  <a:gd name="connsiteX274" fmla="*/ 1604101 w 1731178"/>
                  <a:gd name="connsiteY274" fmla="*/ 115594 h 1074917"/>
                  <a:gd name="connsiteX275" fmla="*/ 1606313 w 1731178"/>
                  <a:gd name="connsiteY275" fmla="*/ 117753 h 1074917"/>
                  <a:gd name="connsiteX276" fmla="*/ 1617375 w 1731178"/>
                  <a:gd name="connsiteY276" fmla="*/ 126928 h 1074917"/>
                  <a:gd name="connsiteX277" fmla="*/ 1591933 w 1731178"/>
                  <a:gd name="connsiteY277" fmla="*/ 123689 h 1074917"/>
                  <a:gd name="connsiteX278" fmla="*/ 1586955 w 1731178"/>
                  <a:gd name="connsiteY278" fmla="*/ 138802 h 1074917"/>
                  <a:gd name="connsiteX279" fmla="*/ 1591933 w 1731178"/>
                  <a:gd name="connsiteY279" fmla="*/ 166867 h 1074917"/>
                  <a:gd name="connsiteX280" fmla="*/ 1565384 w 1731178"/>
                  <a:gd name="connsiteY280" fmla="*/ 191695 h 1074917"/>
                  <a:gd name="connsiteX281" fmla="*/ 1577552 w 1731178"/>
                  <a:gd name="connsiteY281" fmla="*/ 207886 h 1074917"/>
                  <a:gd name="connsiteX282" fmla="*/ 1589167 w 1731178"/>
                  <a:gd name="connsiteY282" fmla="*/ 213823 h 1074917"/>
                  <a:gd name="connsiteX283" fmla="*/ 1593039 w 1731178"/>
                  <a:gd name="connsiteY283" fmla="*/ 231634 h 1074917"/>
                  <a:gd name="connsiteX284" fmla="*/ 1610738 w 1731178"/>
                  <a:gd name="connsiteY284" fmla="*/ 237031 h 1074917"/>
                  <a:gd name="connsiteX285" fmla="*/ 1634521 w 1731178"/>
                  <a:gd name="connsiteY285" fmla="*/ 289385 h 1074917"/>
                  <a:gd name="connsiteX286" fmla="*/ 1650560 w 1731178"/>
                  <a:gd name="connsiteY286" fmla="*/ 285606 h 1074917"/>
                  <a:gd name="connsiteX287" fmla="*/ 1654985 w 1731178"/>
                  <a:gd name="connsiteY287" fmla="*/ 348754 h 1074917"/>
                  <a:gd name="connsiteX288" fmla="*/ 1668259 w 1731178"/>
                  <a:gd name="connsiteY288" fmla="*/ 349294 h 1074917"/>
                  <a:gd name="connsiteX289" fmla="*/ 1677109 w 1731178"/>
                  <a:gd name="connsiteY289" fmla="*/ 353612 h 1074917"/>
                  <a:gd name="connsiteX290" fmla="*/ 1684852 w 1731178"/>
                  <a:gd name="connsiteY290" fmla="*/ 347135 h 1074917"/>
                  <a:gd name="connsiteX291" fmla="*/ 1691489 w 1731178"/>
                  <a:gd name="connsiteY291" fmla="*/ 354151 h 1074917"/>
                  <a:gd name="connsiteX292" fmla="*/ 1690383 w 1731178"/>
                  <a:gd name="connsiteY292" fmla="*/ 362247 h 1074917"/>
                  <a:gd name="connsiteX293" fmla="*/ 1697573 w 1731178"/>
                  <a:gd name="connsiteY293" fmla="*/ 365486 h 1074917"/>
                  <a:gd name="connsiteX294" fmla="*/ 1701445 w 1731178"/>
                  <a:gd name="connsiteY294" fmla="*/ 382757 h 1074917"/>
                  <a:gd name="connsiteX295" fmla="*/ 1730206 w 1731178"/>
                  <a:gd name="connsiteY295" fmla="*/ 391932 h 1074917"/>
                  <a:gd name="connsiteX296" fmla="*/ 1728546 w 1731178"/>
                  <a:gd name="connsiteY296" fmla="*/ 408663 h 1074917"/>
                  <a:gd name="connsiteX297" fmla="*/ 1719697 w 1731178"/>
                  <a:gd name="connsiteY297" fmla="*/ 409743 h 1074917"/>
                  <a:gd name="connsiteX298" fmla="*/ 1704210 w 1731178"/>
                  <a:gd name="connsiteY298" fmla="*/ 436729 h 1074917"/>
                  <a:gd name="connsiteX299" fmla="*/ 1701445 w 1731178"/>
                  <a:gd name="connsiteY299" fmla="*/ 449143 h 1074917"/>
                  <a:gd name="connsiteX300" fmla="*/ 1692595 w 1731178"/>
                  <a:gd name="connsiteY300" fmla="*/ 445904 h 1074917"/>
                  <a:gd name="connsiteX301" fmla="*/ 1687064 w 1731178"/>
                  <a:gd name="connsiteY301" fmla="*/ 441047 h 1074917"/>
                  <a:gd name="connsiteX302" fmla="*/ 1687618 w 1731178"/>
                  <a:gd name="connsiteY302" fmla="*/ 431332 h 1074917"/>
                  <a:gd name="connsiteX303" fmla="*/ 1683193 w 1731178"/>
                  <a:gd name="connsiteY303" fmla="*/ 422156 h 1074917"/>
                  <a:gd name="connsiteX304" fmla="*/ 1671025 w 1731178"/>
                  <a:gd name="connsiteY304" fmla="*/ 421617 h 1074917"/>
                  <a:gd name="connsiteX305" fmla="*/ 1662728 w 1731178"/>
                  <a:gd name="connsiteY305" fmla="*/ 425935 h 1074917"/>
                  <a:gd name="connsiteX306" fmla="*/ 1653879 w 1731178"/>
                  <a:gd name="connsiteY306" fmla="*/ 441587 h 1074917"/>
                  <a:gd name="connsiteX307" fmla="*/ 1624565 w 1731178"/>
                  <a:gd name="connsiteY307" fmla="*/ 452921 h 1074917"/>
                  <a:gd name="connsiteX308" fmla="*/ 1609078 w 1731178"/>
                  <a:gd name="connsiteY308" fmla="*/ 452921 h 1074917"/>
                  <a:gd name="connsiteX309" fmla="*/ 1599676 w 1731178"/>
                  <a:gd name="connsiteY309" fmla="*/ 456699 h 1074917"/>
                  <a:gd name="connsiteX310" fmla="*/ 1584189 w 1731178"/>
                  <a:gd name="connsiteY310" fmla="*/ 457238 h 1074917"/>
                  <a:gd name="connsiteX311" fmla="*/ 1570362 w 1731178"/>
                  <a:gd name="connsiteY311" fmla="*/ 473430 h 1074917"/>
                  <a:gd name="connsiteX312" fmla="*/ 1558747 w 1731178"/>
                  <a:gd name="connsiteY312" fmla="*/ 473970 h 1074917"/>
                  <a:gd name="connsiteX313" fmla="*/ 1550451 w 1731178"/>
                  <a:gd name="connsiteY313" fmla="*/ 503655 h 1074917"/>
                  <a:gd name="connsiteX314" fmla="*/ 1536070 w 1731178"/>
                  <a:gd name="connsiteY314" fmla="*/ 520926 h 1074917"/>
                  <a:gd name="connsiteX315" fmla="*/ 136194 w 1731178"/>
                  <a:gd name="connsiteY315" fmla="*/ 437269 h 1074917"/>
                  <a:gd name="connsiteX316" fmla="*/ 140619 w 1731178"/>
                  <a:gd name="connsiteY316" fmla="*/ 452921 h 1074917"/>
                  <a:gd name="connsiteX317" fmla="*/ 150022 w 1731178"/>
                  <a:gd name="connsiteY317" fmla="*/ 462096 h 1074917"/>
                  <a:gd name="connsiteX318" fmla="*/ 158871 w 1731178"/>
                  <a:gd name="connsiteY318" fmla="*/ 473430 h 1074917"/>
                  <a:gd name="connsiteX319" fmla="*/ 194822 w 1731178"/>
                  <a:gd name="connsiteY319" fmla="*/ 494479 h 1074917"/>
                  <a:gd name="connsiteX320" fmla="*/ 207543 w 1731178"/>
                  <a:gd name="connsiteY320" fmla="*/ 498257 h 1074917"/>
                  <a:gd name="connsiteX321" fmla="*/ 228008 w 1731178"/>
                  <a:gd name="connsiteY321" fmla="*/ 493940 h 1074917"/>
                  <a:gd name="connsiteX322" fmla="*/ 239623 w 1731178"/>
                  <a:gd name="connsiteY322" fmla="*/ 495559 h 1074917"/>
                  <a:gd name="connsiteX323" fmla="*/ 239623 w 1731178"/>
                  <a:gd name="connsiteY323" fmla="*/ 523085 h 1074917"/>
                  <a:gd name="connsiteX324" fmla="*/ 228008 w 1731178"/>
                  <a:gd name="connsiteY324" fmla="*/ 531181 h 1074917"/>
                  <a:gd name="connsiteX325" fmla="*/ 206437 w 1731178"/>
                  <a:gd name="connsiteY325" fmla="*/ 528482 h 1074917"/>
                  <a:gd name="connsiteX326" fmla="*/ 193716 w 1731178"/>
                  <a:gd name="connsiteY326" fmla="*/ 533339 h 1074917"/>
                  <a:gd name="connsiteX327" fmla="*/ 171039 w 1731178"/>
                  <a:gd name="connsiteY327" fmla="*/ 540356 h 1074917"/>
                  <a:gd name="connsiteX328" fmla="*/ 154999 w 1731178"/>
                  <a:gd name="connsiteY328" fmla="*/ 552230 h 1074917"/>
                  <a:gd name="connsiteX329" fmla="*/ 140619 w 1731178"/>
                  <a:gd name="connsiteY329" fmla="*/ 556548 h 1074917"/>
                  <a:gd name="connsiteX330" fmla="*/ 118495 w 1731178"/>
                  <a:gd name="connsiteY330" fmla="*/ 569501 h 1074917"/>
                  <a:gd name="connsiteX331" fmla="*/ 103009 w 1731178"/>
                  <a:gd name="connsiteY331" fmla="*/ 609440 h 1074917"/>
                  <a:gd name="connsiteX332" fmla="*/ 72036 w 1731178"/>
                  <a:gd name="connsiteY332" fmla="*/ 636966 h 1074917"/>
                  <a:gd name="connsiteX333" fmla="*/ 43828 w 1731178"/>
                  <a:gd name="connsiteY333" fmla="*/ 676906 h 1074917"/>
                  <a:gd name="connsiteX334" fmla="*/ 30554 w 1731178"/>
                  <a:gd name="connsiteY334" fmla="*/ 692558 h 1074917"/>
                  <a:gd name="connsiteX335" fmla="*/ 26682 w 1731178"/>
                  <a:gd name="connsiteY335" fmla="*/ 690939 h 1074917"/>
                  <a:gd name="connsiteX336" fmla="*/ 26682 w 1731178"/>
                  <a:gd name="connsiteY336" fmla="*/ 674207 h 1074917"/>
                  <a:gd name="connsiteX337" fmla="*/ 47700 w 1731178"/>
                  <a:gd name="connsiteY337" fmla="*/ 645062 h 1074917"/>
                  <a:gd name="connsiteX338" fmla="*/ 71483 w 1731178"/>
                  <a:gd name="connsiteY338" fmla="*/ 629410 h 1074917"/>
                  <a:gd name="connsiteX339" fmla="*/ 73142 w 1731178"/>
                  <a:gd name="connsiteY339" fmla="*/ 620235 h 1074917"/>
                  <a:gd name="connsiteX340" fmla="*/ 67611 w 1731178"/>
                  <a:gd name="connsiteY340" fmla="*/ 620235 h 1074917"/>
                  <a:gd name="connsiteX341" fmla="*/ 44934 w 1731178"/>
                  <a:gd name="connsiteY341" fmla="*/ 631569 h 1074917"/>
                  <a:gd name="connsiteX342" fmla="*/ 8983 w 1731178"/>
                  <a:gd name="connsiteY342" fmla="*/ 632109 h 1074917"/>
                  <a:gd name="connsiteX343" fmla="*/ 1240 w 1731178"/>
                  <a:gd name="connsiteY343" fmla="*/ 618616 h 1074917"/>
                  <a:gd name="connsiteX344" fmla="*/ 14514 w 1731178"/>
                  <a:gd name="connsiteY344" fmla="*/ 588931 h 1074917"/>
                  <a:gd name="connsiteX345" fmla="*/ 8430 w 1731178"/>
                  <a:gd name="connsiteY345" fmla="*/ 550611 h 1074917"/>
                  <a:gd name="connsiteX346" fmla="*/ 23917 w 1731178"/>
                  <a:gd name="connsiteY346" fmla="*/ 539276 h 1074917"/>
                  <a:gd name="connsiteX347" fmla="*/ 25023 w 1731178"/>
                  <a:gd name="connsiteY347" fmla="*/ 532260 h 1074917"/>
                  <a:gd name="connsiteX348" fmla="*/ -972 w 1731178"/>
                  <a:gd name="connsiteY348" fmla="*/ 504194 h 1074917"/>
                  <a:gd name="connsiteX349" fmla="*/ 2346 w 1731178"/>
                  <a:gd name="connsiteY349" fmla="*/ 495019 h 1074917"/>
                  <a:gd name="connsiteX350" fmla="*/ 18386 w 1731178"/>
                  <a:gd name="connsiteY350" fmla="*/ 485304 h 1074917"/>
                  <a:gd name="connsiteX351" fmla="*/ 21151 w 1731178"/>
                  <a:gd name="connsiteY351" fmla="*/ 470192 h 1074917"/>
                  <a:gd name="connsiteX352" fmla="*/ 39956 w 1731178"/>
                  <a:gd name="connsiteY352" fmla="*/ 466414 h 1074917"/>
                  <a:gd name="connsiteX353" fmla="*/ 53231 w 1731178"/>
                  <a:gd name="connsiteY353" fmla="*/ 449143 h 1074917"/>
                  <a:gd name="connsiteX354" fmla="*/ 66505 w 1731178"/>
                  <a:gd name="connsiteY354" fmla="*/ 447523 h 1074917"/>
                  <a:gd name="connsiteX355" fmla="*/ 73142 w 1731178"/>
                  <a:gd name="connsiteY355" fmla="*/ 441587 h 1074917"/>
                  <a:gd name="connsiteX356" fmla="*/ 104668 w 1731178"/>
                  <a:gd name="connsiteY356" fmla="*/ 455080 h 1074917"/>
                  <a:gd name="connsiteX357" fmla="*/ 111305 w 1731178"/>
                  <a:gd name="connsiteY357" fmla="*/ 445904 h 1074917"/>
                  <a:gd name="connsiteX358" fmla="*/ 124026 w 1731178"/>
                  <a:gd name="connsiteY358" fmla="*/ 443745 h 1074917"/>
                  <a:gd name="connsiteX359" fmla="*/ 125132 w 1731178"/>
                  <a:gd name="connsiteY359" fmla="*/ 436729 h 1074917"/>
                  <a:gd name="connsiteX360" fmla="*/ 136194 w 1731178"/>
                  <a:gd name="connsiteY360" fmla="*/ 437269 h 107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</a:cxnLst>
                <a:rect l="l" t="t" r="r" b="b"/>
                <a:pathLst>
                  <a:path w="1731178" h="1074917">
                    <a:moveTo>
                      <a:pt x="1536070" y="520926"/>
                    </a:moveTo>
                    <a:cubicBezTo>
                      <a:pt x="1534411" y="518227"/>
                      <a:pt x="1532199" y="515529"/>
                      <a:pt x="1529986" y="512830"/>
                    </a:cubicBezTo>
                    <a:cubicBezTo>
                      <a:pt x="1522243" y="501496"/>
                      <a:pt x="1523349" y="505274"/>
                      <a:pt x="1511181" y="507433"/>
                    </a:cubicBezTo>
                    <a:lnTo>
                      <a:pt x="1505650" y="525783"/>
                    </a:lnTo>
                    <a:lnTo>
                      <a:pt x="1448682" y="569501"/>
                    </a:lnTo>
                    <a:lnTo>
                      <a:pt x="1400010" y="588931"/>
                    </a:lnTo>
                    <a:lnTo>
                      <a:pt x="1344147" y="661254"/>
                    </a:lnTo>
                    <a:lnTo>
                      <a:pt x="1288838" y="701733"/>
                    </a:lnTo>
                    <a:lnTo>
                      <a:pt x="1241825" y="716306"/>
                    </a:lnTo>
                    <a:lnTo>
                      <a:pt x="1216383" y="706051"/>
                    </a:lnTo>
                    <a:lnTo>
                      <a:pt x="1196472" y="710908"/>
                    </a:lnTo>
                    <a:lnTo>
                      <a:pt x="1147800" y="763262"/>
                    </a:lnTo>
                    <a:lnTo>
                      <a:pt x="1102999" y="788089"/>
                    </a:lnTo>
                    <a:lnTo>
                      <a:pt x="1088619" y="776755"/>
                    </a:lnTo>
                    <a:lnTo>
                      <a:pt x="1072579" y="776215"/>
                    </a:lnTo>
                    <a:lnTo>
                      <a:pt x="1058752" y="780533"/>
                    </a:lnTo>
                    <a:lnTo>
                      <a:pt x="1063730" y="823711"/>
                    </a:lnTo>
                    <a:lnTo>
                      <a:pt x="1084194" y="844760"/>
                    </a:lnTo>
                    <a:lnTo>
                      <a:pt x="1059858" y="859872"/>
                    </a:lnTo>
                    <a:lnTo>
                      <a:pt x="1064283" y="886858"/>
                    </a:lnTo>
                    <a:lnTo>
                      <a:pt x="1053774" y="898732"/>
                    </a:lnTo>
                    <a:lnTo>
                      <a:pt x="1053774" y="907368"/>
                    </a:lnTo>
                    <a:lnTo>
                      <a:pt x="1049902" y="916543"/>
                    </a:lnTo>
                    <a:lnTo>
                      <a:pt x="1027226" y="905209"/>
                    </a:lnTo>
                    <a:cubicBezTo>
                      <a:pt x="1030544" y="890636"/>
                      <a:pt x="1015058" y="884160"/>
                      <a:pt x="1007314" y="874445"/>
                    </a:cubicBezTo>
                    <a:cubicBezTo>
                      <a:pt x="1005655" y="872825"/>
                      <a:pt x="1002336" y="867428"/>
                      <a:pt x="1002336" y="865269"/>
                    </a:cubicBezTo>
                    <a:cubicBezTo>
                      <a:pt x="1002336" y="862571"/>
                      <a:pt x="1006208" y="855015"/>
                      <a:pt x="1007314" y="852316"/>
                    </a:cubicBezTo>
                    <a:cubicBezTo>
                      <a:pt x="1017270" y="837204"/>
                      <a:pt x="1034416" y="828028"/>
                      <a:pt x="1023907" y="808059"/>
                    </a:cubicBezTo>
                    <a:cubicBezTo>
                      <a:pt x="1022248" y="804820"/>
                      <a:pt x="1013951" y="794026"/>
                      <a:pt x="1011186" y="792407"/>
                    </a:cubicBezTo>
                    <a:cubicBezTo>
                      <a:pt x="1008420" y="791327"/>
                      <a:pt x="1000677" y="790248"/>
                      <a:pt x="998465" y="792407"/>
                    </a:cubicBezTo>
                    <a:cubicBezTo>
                      <a:pt x="993487" y="798344"/>
                      <a:pt x="991275" y="807519"/>
                      <a:pt x="986297" y="813996"/>
                    </a:cubicBezTo>
                    <a:cubicBezTo>
                      <a:pt x="982978" y="818313"/>
                      <a:pt x="977447" y="818313"/>
                      <a:pt x="975788" y="825330"/>
                    </a:cubicBezTo>
                    <a:cubicBezTo>
                      <a:pt x="974682" y="829108"/>
                      <a:pt x="982425" y="825870"/>
                      <a:pt x="983531" y="828568"/>
                    </a:cubicBezTo>
                    <a:cubicBezTo>
                      <a:pt x="985744" y="834505"/>
                      <a:pt x="967492" y="846919"/>
                      <a:pt x="963067" y="849617"/>
                    </a:cubicBezTo>
                    <a:cubicBezTo>
                      <a:pt x="955324" y="855015"/>
                      <a:pt x="950346" y="855015"/>
                      <a:pt x="940943" y="852316"/>
                    </a:cubicBezTo>
                    <a:cubicBezTo>
                      <a:pt x="937625" y="851776"/>
                      <a:pt x="934306" y="850157"/>
                      <a:pt x="930988" y="849617"/>
                    </a:cubicBezTo>
                    <a:cubicBezTo>
                      <a:pt x="927669" y="849078"/>
                      <a:pt x="923797" y="850157"/>
                      <a:pt x="920479" y="850157"/>
                    </a:cubicBezTo>
                    <a:cubicBezTo>
                      <a:pt x="914948" y="849617"/>
                      <a:pt x="900568" y="844220"/>
                      <a:pt x="897249" y="844760"/>
                    </a:cubicBezTo>
                    <a:cubicBezTo>
                      <a:pt x="894484" y="844760"/>
                      <a:pt x="886187" y="847458"/>
                      <a:pt x="883975" y="848538"/>
                    </a:cubicBezTo>
                    <a:cubicBezTo>
                      <a:pt x="874019" y="855015"/>
                      <a:pt x="850789" y="903050"/>
                      <a:pt x="846365" y="918702"/>
                    </a:cubicBezTo>
                    <a:cubicBezTo>
                      <a:pt x="845811" y="920321"/>
                      <a:pt x="845258" y="924639"/>
                      <a:pt x="844705" y="926258"/>
                    </a:cubicBezTo>
                    <a:cubicBezTo>
                      <a:pt x="843599" y="927337"/>
                      <a:pt x="831431" y="934354"/>
                      <a:pt x="828666" y="937592"/>
                    </a:cubicBezTo>
                    <a:cubicBezTo>
                      <a:pt x="824794" y="942450"/>
                      <a:pt x="822582" y="954863"/>
                      <a:pt x="818157" y="958102"/>
                    </a:cubicBezTo>
                    <a:cubicBezTo>
                      <a:pt x="814285" y="961340"/>
                      <a:pt x="801011" y="960800"/>
                      <a:pt x="795480" y="963499"/>
                    </a:cubicBezTo>
                    <a:cubicBezTo>
                      <a:pt x="787737" y="966737"/>
                      <a:pt x="779440" y="972135"/>
                      <a:pt x="772803" y="976992"/>
                    </a:cubicBezTo>
                    <a:cubicBezTo>
                      <a:pt x="770591" y="978611"/>
                      <a:pt x="769485" y="980230"/>
                      <a:pt x="767272" y="981850"/>
                    </a:cubicBezTo>
                    <a:cubicBezTo>
                      <a:pt x="763954" y="983469"/>
                      <a:pt x="759529" y="984008"/>
                      <a:pt x="756211" y="985628"/>
                    </a:cubicBezTo>
                    <a:cubicBezTo>
                      <a:pt x="750680" y="988866"/>
                      <a:pt x="750680" y="992104"/>
                      <a:pt x="742936" y="994263"/>
                    </a:cubicBezTo>
                    <a:cubicBezTo>
                      <a:pt x="719153" y="1001280"/>
                      <a:pt x="699795" y="995343"/>
                      <a:pt x="680437" y="980770"/>
                    </a:cubicBezTo>
                    <a:cubicBezTo>
                      <a:pt x="676012" y="977532"/>
                      <a:pt x="658866" y="962419"/>
                      <a:pt x="655548" y="961340"/>
                    </a:cubicBezTo>
                    <a:cubicBezTo>
                      <a:pt x="643933" y="958102"/>
                      <a:pt x="629552" y="962419"/>
                      <a:pt x="617384" y="960800"/>
                    </a:cubicBezTo>
                    <a:cubicBezTo>
                      <a:pt x="610194" y="959721"/>
                      <a:pt x="603557" y="955403"/>
                      <a:pt x="596367" y="953784"/>
                    </a:cubicBezTo>
                    <a:cubicBezTo>
                      <a:pt x="591389" y="952704"/>
                      <a:pt x="578668" y="950546"/>
                      <a:pt x="573690" y="951085"/>
                    </a:cubicBezTo>
                    <a:cubicBezTo>
                      <a:pt x="563181" y="952165"/>
                      <a:pt x="534974" y="958641"/>
                      <a:pt x="525571" y="962419"/>
                    </a:cubicBezTo>
                    <a:cubicBezTo>
                      <a:pt x="523359" y="962959"/>
                      <a:pt x="520040" y="966198"/>
                      <a:pt x="519487" y="967817"/>
                    </a:cubicBezTo>
                    <a:cubicBezTo>
                      <a:pt x="515062" y="974833"/>
                      <a:pt x="519487" y="988866"/>
                      <a:pt x="522806" y="995882"/>
                    </a:cubicBezTo>
                    <a:cubicBezTo>
                      <a:pt x="523359" y="997502"/>
                      <a:pt x="524465" y="998581"/>
                      <a:pt x="524465" y="1000200"/>
                    </a:cubicBezTo>
                    <a:cubicBezTo>
                      <a:pt x="525571" y="1007217"/>
                      <a:pt x="521699" y="1016932"/>
                      <a:pt x="522253" y="1024488"/>
                    </a:cubicBezTo>
                    <a:cubicBezTo>
                      <a:pt x="522253" y="1027726"/>
                      <a:pt x="523912" y="1030425"/>
                      <a:pt x="523912" y="1033123"/>
                    </a:cubicBezTo>
                    <a:cubicBezTo>
                      <a:pt x="523912" y="1035822"/>
                      <a:pt x="522806" y="1041219"/>
                      <a:pt x="521699" y="1043918"/>
                    </a:cubicBezTo>
                    <a:cubicBezTo>
                      <a:pt x="518381" y="1043918"/>
                      <a:pt x="515062" y="1042299"/>
                      <a:pt x="511744" y="1041759"/>
                    </a:cubicBezTo>
                    <a:cubicBezTo>
                      <a:pt x="503447" y="1041759"/>
                      <a:pt x="489620" y="1048236"/>
                      <a:pt x="482983" y="1053093"/>
                    </a:cubicBezTo>
                    <a:cubicBezTo>
                      <a:pt x="476346" y="1057951"/>
                      <a:pt x="463072" y="1071983"/>
                      <a:pt x="456988" y="1074142"/>
                    </a:cubicBezTo>
                    <a:cubicBezTo>
                      <a:pt x="453669" y="1075761"/>
                      <a:pt x="444267" y="1070904"/>
                      <a:pt x="439842" y="1070364"/>
                    </a:cubicBezTo>
                    <a:cubicBezTo>
                      <a:pt x="435417" y="1069824"/>
                      <a:pt x="428780" y="1069824"/>
                      <a:pt x="424355" y="1070364"/>
                    </a:cubicBezTo>
                    <a:cubicBezTo>
                      <a:pt x="422143" y="1070904"/>
                      <a:pt x="419377" y="1072523"/>
                      <a:pt x="417165" y="1071983"/>
                    </a:cubicBezTo>
                    <a:cubicBezTo>
                      <a:pt x="414953" y="1071983"/>
                      <a:pt x="403891" y="1068745"/>
                      <a:pt x="402232" y="1067126"/>
                    </a:cubicBezTo>
                    <a:cubicBezTo>
                      <a:pt x="400019" y="1066046"/>
                      <a:pt x="397254" y="1061729"/>
                      <a:pt x="396148" y="1059570"/>
                    </a:cubicBezTo>
                    <a:cubicBezTo>
                      <a:pt x="395041" y="1056331"/>
                      <a:pt x="394488" y="1052553"/>
                      <a:pt x="392829" y="1049315"/>
                    </a:cubicBezTo>
                    <a:cubicBezTo>
                      <a:pt x="391170" y="1047696"/>
                      <a:pt x="386745" y="1044997"/>
                      <a:pt x="386192" y="1043378"/>
                    </a:cubicBezTo>
                    <a:cubicBezTo>
                      <a:pt x="383426" y="1037441"/>
                      <a:pt x="392829" y="1036362"/>
                      <a:pt x="391170" y="1031504"/>
                    </a:cubicBezTo>
                    <a:cubicBezTo>
                      <a:pt x="390064" y="1028266"/>
                      <a:pt x="377896" y="1023948"/>
                      <a:pt x="374577" y="1024488"/>
                    </a:cubicBezTo>
                    <a:cubicBezTo>
                      <a:pt x="372918" y="1024488"/>
                      <a:pt x="369046" y="1026647"/>
                      <a:pt x="367940" y="1027726"/>
                    </a:cubicBezTo>
                    <a:cubicBezTo>
                      <a:pt x="364621" y="1030425"/>
                      <a:pt x="367940" y="1039060"/>
                      <a:pt x="363515" y="1039600"/>
                    </a:cubicBezTo>
                    <a:cubicBezTo>
                      <a:pt x="359090" y="1040140"/>
                      <a:pt x="354666" y="1036901"/>
                      <a:pt x="351347" y="1035282"/>
                    </a:cubicBezTo>
                    <a:cubicBezTo>
                      <a:pt x="348029" y="1034203"/>
                      <a:pt x="343604" y="1035282"/>
                      <a:pt x="340838" y="1033123"/>
                    </a:cubicBezTo>
                    <a:cubicBezTo>
                      <a:pt x="335861" y="1030964"/>
                      <a:pt x="336414" y="1022329"/>
                      <a:pt x="324246" y="1025567"/>
                    </a:cubicBezTo>
                    <a:cubicBezTo>
                      <a:pt x="320927" y="1026107"/>
                      <a:pt x="318715" y="1029345"/>
                      <a:pt x="315396" y="1030425"/>
                    </a:cubicBezTo>
                    <a:cubicBezTo>
                      <a:pt x="313184" y="1030964"/>
                      <a:pt x="308206" y="1030425"/>
                      <a:pt x="307100" y="1030964"/>
                    </a:cubicBezTo>
                    <a:cubicBezTo>
                      <a:pt x="306547" y="1031504"/>
                      <a:pt x="305441" y="1034742"/>
                      <a:pt x="305441" y="1035822"/>
                    </a:cubicBezTo>
                    <a:cubicBezTo>
                      <a:pt x="305994" y="1037981"/>
                      <a:pt x="309865" y="1040140"/>
                      <a:pt x="308206" y="1042838"/>
                    </a:cubicBezTo>
                    <a:cubicBezTo>
                      <a:pt x="307100" y="1044997"/>
                      <a:pt x="303781" y="1046077"/>
                      <a:pt x="302122" y="1048236"/>
                    </a:cubicBezTo>
                    <a:cubicBezTo>
                      <a:pt x="298250" y="1053093"/>
                      <a:pt x="300463" y="1062268"/>
                      <a:pt x="293826" y="1066586"/>
                    </a:cubicBezTo>
                    <a:cubicBezTo>
                      <a:pt x="293272" y="1067126"/>
                      <a:pt x="289954" y="1068205"/>
                      <a:pt x="288848" y="1068205"/>
                    </a:cubicBezTo>
                    <a:cubicBezTo>
                      <a:pt x="288295" y="1067666"/>
                      <a:pt x="286635" y="1066586"/>
                      <a:pt x="286635" y="1065507"/>
                    </a:cubicBezTo>
                    <a:cubicBezTo>
                      <a:pt x="286635" y="1064967"/>
                      <a:pt x="288295" y="1062808"/>
                      <a:pt x="288848" y="1062268"/>
                    </a:cubicBezTo>
                    <a:cubicBezTo>
                      <a:pt x="291060" y="1058490"/>
                      <a:pt x="290507" y="1053093"/>
                      <a:pt x="292166" y="1048775"/>
                    </a:cubicBezTo>
                    <a:cubicBezTo>
                      <a:pt x="292166" y="1048236"/>
                      <a:pt x="293272" y="1046616"/>
                      <a:pt x="293272" y="1045537"/>
                    </a:cubicBezTo>
                    <a:cubicBezTo>
                      <a:pt x="293272" y="1043378"/>
                      <a:pt x="291060" y="1042838"/>
                      <a:pt x="289401" y="1042838"/>
                    </a:cubicBezTo>
                    <a:cubicBezTo>
                      <a:pt x="286082" y="1042838"/>
                      <a:pt x="283870" y="1044997"/>
                      <a:pt x="281104" y="1046616"/>
                    </a:cubicBezTo>
                    <a:cubicBezTo>
                      <a:pt x="276127" y="1048775"/>
                      <a:pt x="270596" y="1050394"/>
                      <a:pt x="266171" y="1053633"/>
                    </a:cubicBezTo>
                    <a:cubicBezTo>
                      <a:pt x="260640" y="1056871"/>
                      <a:pt x="257875" y="1062808"/>
                      <a:pt x="252344" y="1066046"/>
                    </a:cubicBezTo>
                    <a:cubicBezTo>
                      <a:pt x="250131" y="1067126"/>
                      <a:pt x="241282" y="1069824"/>
                      <a:pt x="239069" y="1070364"/>
                    </a:cubicBezTo>
                    <a:cubicBezTo>
                      <a:pt x="236857" y="1070364"/>
                      <a:pt x="231879" y="1069824"/>
                      <a:pt x="231879" y="1067126"/>
                    </a:cubicBezTo>
                    <a:cubicBezTo>
                      <a:pt x="231326" y="1066046"/>
                      <a:pt x="231879" y="1064427"/>
                      <a:pt x="232432" y="1063888"/>
                    </a:cubicBezTo>
                    <a:cubicBezTo>
                      <a:pt x="232985" y="1062808"/>
                      <a:pt x="240729" y="1058490"/>
                      <a:pt x="242388" y="1057411"/>
                    </a:cubicBezTo>
                    <a:cubicBezTo>
                      <a:pt x="245153" y="1055252"/>
                      <a:pt x="247919" y="1051474"/>
                      <a:pt x="251237" y="1049855"/>
                    </a:cubicBezTo>
                    <a:cubicBezTo>
                      <a:pt x="252897" y="1048775"/>
                      <a:pt x="255662" y="1049855"/>
                      <a:pt x="257875" y="1048775"/>
                    </a:cubicBezTo>
                    <a:cubicBezTo>
                      <a:pt x="262299" y="1047696"/>
                      <a:pt x="265618" y="1044997"/>
                      <a:pt x="269490" y="1043378"/>
                    </a:cubicBezTo>
                    <a:cubicBezTo>
                      <a:pt x="272808" y="1042299"/>
                      <a:pt x="276680" y="1041759"/>
                      <a:pt x="279998" y="1040140"/>
                    </a:cubicBezTo>
                    <a:cubicBezTo>
                      <a:pt x="285529" y="1036362"/>
                      <a:pt x="281658" y="1029885"/>
                      <a:pt x="286635" y="1028805"/>
                    </a:cubicBezTo>
                    <a:cubicBezTo>
                      <a:pt x="288848" y="1027726"/>
                      <a:pt x="291060" y="1029345"/>
                      <a:pt x="293272" y="1028805"/>
                    </a:cubicBezTo>
                    <a:cubicBezTo>
                      <a:pt x="297144" y="1028266"/>
                      <a:pt x="298250" y="1015852"/>
                      <a:pt x="300463" y="1012614"/>
                    </a:cubicBezTo>
                    <a:cubicBezTo>
                      <a:pt x="301569" y="1010995"/>
                      <a:pt x="302675" y="1010995"/>
                      <a:pt x="302122" y="1008836"/>
                    </a:cubicBezTo>
                    <a:cubicBezTo>
                      <a:pt x="301016" y="1002899"/>
                      <a:pt x="279445" y="1012614"/>
                      <a:pt x="275574" y="1014233"/>
                    </a:cubicBezTo>
                    <a:cubicBezTo>
                      <a:pt x="272808" y="1015312"/>
                      <a:pt x="271149" y="1015852"/>
                      <a:pt x="268383" y="1016392"/>
                    </a:cubicBezTo>
                    <a:cubicBezTo>
                      <a:pt x="261193" y="1018011"/>
                      <a:pt x="245153" y="1027726"/>
                      <a:pt x="235751" y="1030425"/>
                    </a:cubicBezTo>
                    <a:cubicBezTo>
                      <a:pt x="231879" y="1031504"/>
                      <a:pt x="224689" y="1029885"/>
                      <a:pt x="224136" y="1029885"/>
                    </a:cubicBezTo>
                    <a:cubicBezTo>
                      <a:pt x="221924" y="1030964"/>
                      <a:pt x="216946" y="1037441"/>
                      <a:pt x="215286" y="1037441"/>
                    </a:cubicBezTo>
                    <a:cubicBezTo>
                      <a:pt x="208096" y="1039060"/>
                      <a:pt x="207543" y="1025027"/>
                      <a:pt x="210309" y="1021789"/>
                    </a:cubicBezTo>
                    <a:cubicBezTo>
                      <a:pt x="216946" y="1014233"/>
                      <a:pt x="221371" y="1018011"/>
                      <a:pt x="229114" y="1019630"/>
                    </a:cubicBezTo>
                    <a:cubicBezTo>
                      <a:pt x="231879" y="1015312"/>
                      <a:pt x="234645" y="1010455"/>
                      <a:pt x="233539" y="1005597"/>
                    </a:cubicBezTo>
                    <a:cubicBezTo>
                      <a:pt x="232985" y="1003978"/>
                      <a:pt x="231326" y="999660"/>
                      <a:pt x="230220" y="999121"/>
                    </a:cubicBezTo>
                    <a:cubicBezTo>
                      <a:pt x="228561" y="998041"/>
                      <a:pt x="222477" y="998581"/>
                      <a:pt x="220264" y="997502"/>
                    </a:cubicBezTo>
                    <a:cubicBezTo>
                      <a:pt x="216393" y="996422"/>
                      <a:pt x="209756" y="990485"/>
                      <a:pt x="205884" y="991565"/>
                    </a:cubicBezTo>
                    <a:cubicBezTo>
                      <a:pt x="202565" y="992104"/>
                      <a:pt x="200353" y="996962"/>
                      <a:pt x="195928" y="993184"/>
                    </a:cubicBezTo>
                    <a:cubicBezTo>
                      <a:pt x="194822" y="992104"/>
                      <a:pt x="193716" y="985628"/>
                      <a:pt x="193163" y="984008"/>
                    </a:cubicBezTo>
                    <a:cubicBezTo>
                      <a:pt x="192610" y="982389"/>
                      <a:pt x="191504" y="981310"/>
                      <a:pt x="190950" y="979691"/>
                    </a:cubicBezTo>
                    <a:cubicBezTo>
                      <a:pt x="189844" y="977532"/>
                      <a:pt x="190950" y="971055"/>
                      <a:pt x="189844" y="969436"/>
                    </a:cubicBezTo>
                    <a:cubicBezTo>
                      <a:pt x="189291" y="968356"/>
                      <a:pt x="184866" y="964578"/>
                      <a:pt x="183760" y="963499"/>
                    </a:cubicBezTo>
                    <a:cubicBezTo>
                      <a:pt x="182101" y="962959"/>
                      <a:pt x="179336" y="962959"/>
                      <a:pt x="177676" y="961880"/>
                    </a:cubicBezTo>
                    <a:cubicBezTo>
                      <a:pt x="181548" y="958641"/>
                      <a:pt x="186526" y="957022"/>
                      <a:pt x="189291" y="952165"/>
                    </a:cubicBezTo>
                    <a:cubicBezTo>
                      <a:pt x="192057" y="946228"/>
                      <a:pt x="190950" y="939751"/>
                      <a:pt x="189291" y="933274"/>
                    </a:cubicBezTo>
                    <a:cubicBezTo>
                      <a:pt x="189291" y="932195"/>
                      <a:pt x="188738" y="930576"/>
                      <a:pt x="187632" y="929496"/>
                    </a:cubicBezTo>
                    <a:cubicBezTo>
                      <a:pt x="186526" y="927877"/>
                      <a:pt x="168274" y="921940"/>
                      <a:pt x="165508" y="921401"/>
                    </a:cubicBezTo>
                    <a:cubicBezTo>
                      <a:pt x="159977" y="920321"/>
                      <a:pt x="146703" y="922480"/>
                      <a:pt x="142831" y="919781"/>
                    </a:cubicBezTo>
                    <a:cubicBezTo>
                      <a:pt x="139513" y="917622"/>
                      <a:pt x="134535" y="907368"/>
                      <a:pt x="132876" y="906288"/>
                    </a:cubicBezTo>
                    <a:cubicBezTo>
                      <a:pt x="131770" y="905749"/>
                      <a:pt x="130663" y="906288"/>
                      <a:pt x="129004" y="906288"/>
                    </a:cubicBezTo>
                    <a:cubicBezTo>
                      <a:pt x="120708" y="907907"/>
                      <a:pt x="120708" y="917083"/>
                      <a:pt x="115730" y="917622"/>
                    </a:cubicBezTo>
                    <a:cubicBezTo>
                      <a:pt x="112964" y="918162"/>
                      <a:pt x="88628" y="910606"/>
                      <a:pt x="85863" y="908447"/>
                    </a:cubicBezTo>
                    <a:lnTo>
                      <a:pt x="85863" y="906828"/>
                    </a:lnTo>
                    <a:cubicBezTo>
                      <a:pt x="85310" y="906288"/>
                      <a:pt x="87522" y="899812"/>
                      <a:pt x="88075" y="899272"/>
                    </a:cubicBezTo>
                    <a:cubicBezTo>
                      <a:pt x="90288" y="895494"/>
                      <a:pt x="94712" y="901431"/>
                      <a:pt x="97478" y="896573"/>
                    </a:cubicBezTo>
                    <a:cubicBezTo>
                      <a:pt x="98031" y="895494"/>
                      <a:pt x="100243" y="889017"/>
                      <a:pt x="100243" y="887938"/>
                    </a:cubicBezTo>
                    <a:cubicBezTo>
                      <a:pt x="100796" y="883620"/>
                      <a:pt x="89182" y="881461"/>
                      <a:pt x="86416" y="877143"/>
                    </a:cubicBezTo>
                    <a:cubicBezTo>
                      <a:pt x="85310" y="875524"/>
                      <a:pt x="84757" y="866888"/>
                      <a:pt x="85310" y="864730"/>
                    </a:cubicBezTo>
                    <a:cubicBezTo>
                      <a:pt x="87522" y="858793"/>
                      <a:pt x="100243" y="861491"/>
                      <a:pt x="104115" y="863650"/>
                    </a:cubicBezTo>
                    <a:cubicBezTo>
                      <a:pt x="106327" y="865269"/>
                      <a:pt x="111858" y="873365"/>
                      <a:pt x="112411" y="876064"/>
                    </a:cubicBezTo>
                    <a:cubicBezTo>
                      <a:pt x="113518" y="879842"/>
                      <a:pt x="109646" y="880921"/>
                      <a:pt x="112411" y="887398"/>
                    </a:cubicBezTo>
                    <a:cubicBezTo>
                      <a:pt x="112964" y="888477"/>
                      <a:pt x="114624" y="891176"/>
                      <a:pt x="115730" y="891716"/>
                    </a:cubicBezTo>
                    <a:cubicBezTo>
                      <a:pt x="120708" y="892795"/>
                      <a:pt x="118495" y="886319"/>
                      <a:pt x="121261" y="885239"/>
                    </a:cubicBezTo>
                    <a:cubicBezTo>
                      <a:pt x="122920" y="884699"/>
                      <a:pt x="126239" y="888477"/>
                      <a:pt x="132876" y="886858"/>
                    </a:cubicBezTo>
                    <a:cubicBezTo>
                      <a:pt x="135088" y="886319"/>
                      <a:pt x="153893" y="876603"/>
                      <a:pt x="154999" y="874984"/>
                    </a:cubicBezTo>
                    <a:cubicBezTo>
                      <a:pt x="155553" y="874445"/>
                      <a:pt x="156659" y="872286"/>
                      <a:pt x="156659" y="871746"/>
                    </a:cubicBezTo>
                    <a:cubicBezTo>
                      <a:pt x="156659" y="867428"/>
                      <a:pt x="143938" y="874445"/>
                      <a:pt x="140066" y="872286"/>
                    </a:cubicBezTo>
                    <a:cubicBezTo>
                      <a:pt x="137854" y="871206"/>
                      <a:pt x="123473" y="855015"/>
                      <a:pt x="121814" y="852316"/>
                    </a:cubicBezTo>
                    <a:cubicBezTo>
                      <a:pt x="116283" y="841521"/>
                      <a:pt x="126792" y="843141"/>
                      <a:pt x="129557" y="842061"/>
                    </a:cubicBezTo>
                    <a:cubicBezTo>
                      <a:pt x="133429" y="839902"/>
                      <a:pt x="130110" y="833965"/>
                      <a:pt x="131770" y="830187"/>
                    </a:cubicBezTo>
                    <a:cubicBezTo>
                      <a:pt x="132876" y="826949"/>
                      <a:pt x="137854" y="828568"/>
                      <a:pt x="137301" y="819933"/>
                    </a:cubicBezTo>
                    <a:cubicBezTo>
                      <a:pt x="137301" y="819393"/>
                      <a:pt x="137301" y="818313"/>
                      <a:pt x="136747" y="817774"/>
                    </a:cubicBezTo>
                    <a:cubicBezTo>
                      <a:pt x="134535" y="814535"/>
                      <a:pt x="125686" y="821012"/>
                      <a:pt x="120155" y="817234"/>
                    </a:cubicBezTo>
                    <a:cubicBezTo>
                      <a:pt x="112964" y="812376"/>
                      <a:pt x="119602" y="804820"/>
                      <a:pt x="115730" y="799963"/>
                    </a:cubicBezTo>
                    <a:cubicBezTo>
                      <a:pt x="112964" y="795645"/>
                      <a:pt x="107434" y="791867"/>
                      <a:pt x="103562" y="788629"/>
                    </a:cubicBezTo>
                    <a:cubicBezTo>
                      <a:pt x="100796" y="787009"/>
                      <a:pt x="98031" y="785930"/>
                      <a:pt x="95819" y="784311"/>
                    </a:cubicBezTo>
                    <a:cubicBezTo>
                      <a:pt x="95266" y="783231"/>
                      <a:pt x="94712" y="782692"/>
                      <a:pt x="94712" y="781612"/>
                    </a:cubicBezTo>
                    <a:cubicBezTo>
                      <a:pt x="94159" y="780533"/>
                      <a:pt x="95266" y="776215"/>
                      <a:pt x="95819" y="775136"/>
                    </a:cubicBezTo>
                    <a:cubicBezTo>
                      <a:pt x="96372" y="771897"/>
                      <a:pt x="99690" y="765420"/>
                      <a:pt x="101903" y="762722"/>
                    </a:cubicBezTo>
                    <a:cubicBezTo>
                      <a:pt x="105774" y="757325"/>
                      <a:pt x="118495" y="750848"/>
                      <a:pt x="115177" y="742752"/>
                    </a:cubicBezTo>
                    <a:cubicBezTo>
                      <a:pt x="114624" y="741133"/>
                      <a:pt x="112964" y="741133"/>
                      <a:pt x="111305" y="741133"/>
                    </a:cubicBezTo>
                    <a:cubicBezTo>
                      <a:pt x="98031" y="740593"/>
                      <a:pt x="92500" y="749229"/>
                      <a:pt x="81438" y="754626"/>
                    </a:cubicBezTo>
                    <a:cubicBezTo>
                      <a:pt x="77013" y="757325"/>
                      <a:pt x="48806" y="770278"/>
                      <a:pt x="45487" y="770818"/>
                    </a:cubicBezTo>
                    <a:cubicBezTo>
                      <a:pt x="44381" y="770818"/>
                      <a:pt x="41063" y="769738"/>
                      <a:pt x="39956" y="768659"/>
                    </a:cubicBezTo>
                    <a:cubicBezTo>
                      <a:pt x="38297" y="767579"/>
                      <a:pt x="36085" y="746530"/>
                      <a:pt x="35532" y="743292"/>
                    </a:cubicBezTo>
                    <a:cubicBezTo>
                      <a:pt x="34978" y="735196"/>
                      <a:pt x="33319" y="726560"/>
                      <a:pt x="34425" y="718465"/>
                    </a:cubicBezTo>
                    <a:cubicBezTo>
                      <a:pt x="34978" y="706051"/>
                      <a:pt x="43275" y="708750"/>
                      <a:pt x="46040" y="704432"/>
                    </a:cubicBezTo>
                    <a:cubicBezTo>
                      <a:pt x="49912" y="697415"/>
                      <a:pt x="48253" y="688780"/>
                      <a:pt x="51571" y="681763"/>
                    </a:cubicBezTo>
                    <a:cubicBezTo>
                      <a:pt x="52677" y="679604"/>
                      <a:pt x="55443" y="677985"/>
                      <a:pt x="56549" y="676366"/>
                    </a:cubicBezTo>
                    <a:cubicBezTo>
                      <a:pt x="62080" y="669889"/>
                      <a:pt x="64845" y="661794"/>
                      <a:pt x="71483" y="655857"/>
                    </a:cubicBezTo>
                    <a:cubicBezTo>
                      <a:pt x="78120" y="650459"/>
                      <a:pt x="86969" y="648840"/>
                      <a:pt x="93606" y="643983"/>
                    </a:cubicBezTo>
                    <a:cubicBezTo>
                      <a:pt x="96372" y="641824"/>
                      <a:pt x="98031" y="639125"/>
                      <a:pt x="100796" y="637506"/>
                    </a:cubicBezTo>
                    <a:cubicBezTo>
                      <a:pt x="103009" y="635887"/>
                      <a:pt x="110199" y="632649"/>
                      <a:pt x="112411" y="632109"/>
                    </a:cubicBezTo>
                    <a:cubicBezTo>
                      <a:pt x="121814" y="630490"/>
                      <a:pt x="117389" y="640744"/>
                      <a:pt x="127898" y="643983"/>
                    </a:cubicBezTo>
                    <a:cubicBezTo>
                      <a:pt x="134535" y="646142"/>
                      <a:pt x="150575" y="642903"/>
                      <a:pt x="156659" y="639125"/>
                    </a:cubicBezTo>
                    <a:cubicBezTo>
                      <a:pt x="163849" y="634807"/>
                      <a:pt x="176017" y="628331"/>
                      <a:pt x="162190" y="622394"/>
                    </a:cubicBezTo>
                    <a:cubicBezTo>
                      <a:pt x="161083" y="621854"/>
                      <a:pt x="159977" y="621854"/>
                      <a:pt x="159424" y="621314"/>
                    </a:cubicBezTo>
                    <a:cubicBezTo>
                      <a:pt x="157212" y="619155"/>
                      <a:pt x="159424" y="613219"/>
                      <a:pt x="160530" y="611599"/>
                    </a:cubicBezTo>
                    <a:cubicBezTo>
                      <a:pt x="162190" y="609440"/>
                      <a:pt x="168274" y="607821"/>
                      <a:pt x="170486" y="607821"/>
                    </a:cubicBezTo>
                    <a:cubicBezTo>
                      <a:pt x="172145" y="607821"/>
                      <a:pt x="178782" y="608901"/>
                      <a:pt x="179889" y="609440"/>
                    </a:cubicBezTo>
                    <a:cubicBezTo>
                      <a:pt x="184313" y="612139"/>
                      <a:pt x="177123" y="620235"/>
                      <a:pt x="179889" y="621854"/>
                    </a:cubicBezTo>
                    <a:cubicBezTo>
                      <a:pt x="180995" y="622394"/>
                      <a:pt x="187632" y="624013"/>
                      <a:pt x="188738" y="624013"/>
                    </a:cubicBezTo>
                    <a:cubicBezTo>
                      <a:pt x="190397" y="623473"/>
                      <a:pt x="193716" y="621314"/>
                      <a:pt x="195375" y="620775"/>
                    </a:cubicBezTo>
                    <a:cubicBezTo>
                      <a:pt x="198141" y="619155"/>
                      <a:pt x="226348" y="609980"/>
                      <a:pt x="228008" y="609980"/>
                    </a:cubicBezTo>
                    <a:cubicBezTo>
                      <a:pt x="230773" y="609980"/>
                      <a:pt x="233539" y="611060"/>
                      <a:pt x="236304" y="610520"/>
                    </a:cubicBezTo>
                    <a:cubicBezTo>
                      <a:pt x="243494" y="609440"/>
                      <a:pt x="249578" y="604043"/>
                      <a:pt x="256768" y="601884"/>
                    </a:cubicBezTo>
                    <a:cubicBezTo>
                      <a:pt x="261193" y="600805"/>
                      <a:pt x="266724" y="601884"/>
                      <a:pt x="271149" y="600265"/>
                    </a:cubicBezTo>
                    <a:cubicBezTo>
                      <a:pt x="272808" y="599725"/>
                      <a:pt x="277786" y="594328"/>
                      <a:pt x="278339" y="592169"/>
                    </a:cubicBezTo>
                    <a:cubicBezTo>
                      <a:pt x="278892" y="590550"/>
                      <a:pt x="278339" y="587852"/>
                      <a:pt x="278339" y="585693"/>
                    </a:cubicBezTo>
                    <a:cubicBezTo>
                      <a:pt x="266171" y="581915"/>
                      <a:pt x="259534" y="592709"/>
                      <a:pt x="250684" y="587852"/>
                    </a:cubicBezTo>
                    <a:cubicBezTo>
                      <a:pt x="249578" y="585693"/>
                      <a:pt x="249578" y="580835"/>
                      <a:pt x="250684" y="579216"/>
                    </a:cubicBezTo>
                    <a:cubicBezTo>
                      <a:pt x="251791" y="576517"/>
                      <a:pt x="261746" y="567882"/>
                      <a:pt x="264512" y="566263"/>
                    </a:cubicBezTo>
                    <a:cubicBezTo>
                      <a:pt x="274467" y="560326"/>
                      <a:pt x="286635" y="555468"/>
                      <a:pt x="297697" y="552230"/>
                    </a:cubicBezTo>
                    <a:cubicBezTo>
                      <a:pt x="305994" y="549531"/>
                      <a:pt x="314843" y="549531"/>
                      <a:pt x="322586" y="546833"/>
                    </a:cubicBezTo>
                    <a:cubicBezTo>
                      <a:pt x="325352" y="545753"/>
                      <a:pt x="336414" y="539816"/>
                      <a:pt x="338073" y="538197"/>
                    </a:cubicBezTo>
                    <a:cubicBezTo>
                      <a:pt x="338626" y="537118"/>
                      <a:pt x="340285" y="533339"/>
                      <a:pt x="339732" y="532260"/>
                    </a:cubicBezTo>
                    <a:cubicBezTo>
                      <a:pt x="339732" y="531181"/>
                      <a:pt x="339179" y="530641"/>
                      <a:pt x="338626" y="530641"/>
                    </a:cubicBezTo>
                    <a:cubicBezTo>
                      <a:pt x="337520" y="530101"/>
                      <a:pt x="318162" y="532800"/>
                      <a:pt x="315396" y="533339"/>
                    </a:cubicBezTo>
                    <a:cubicBezTo>
                      <a:pt x="306547" y="535498"/>
                      <a:pt x="297697" y="540896"/>
                      <a:pt x="288295" y="541435"/>
                    </a:cubicBezTo>
                    <a:cubicBezTo>
                      <a:pt x="284423" y="541975"/>
                      <a:pt x="260087" y="531720"/>
                      <a:pt x="256215" y="529022"/>
                    </a:cubicBezTo>
                    <a:cubicBezTo>
                      <a:pt x="252344" y="526323"/>
                      <a:pt x="251237" y="519846"/>
                      <a:pt x="251237" y="515529"/>
                    </a:cubicBezTo>
                    <a:cubicBezTo>
                      <a:pt x="251237" y="511751"/>
                      <a:pt x="252344" y="498797"/>
                      <a:pt x="254556" y="496099"/>
                    </a:cubicBezTo>
                    <a:cubicBezTo>
                      <a:pt x="256215" y="493940"/>
                      <a:pt x="264512" y="492860"/>
                      <a:pt x="267277" y="492320"/>
                    </a:cubicBezTo>
                    <a:cubicBezTo>
                      <a:pt x="272255" y="491781"/>
                      <a:pt x="277233" y="493400"/>
                      <a:pt x="282211" y="492860"/>
                    </a:cubicBezTo>
                    <a:cubicBezTo>
                      <a:pt x="299356" y="490701"/>
                      <a:pt x="317055" y="488003"/>
                      <a:pt x="333648" y="484225"/>
                    </a:cubicBezTo>
                    <a:cubicBezTo>
                      <a:pt x="348029" y="480986"/>
                      <a:pt x="349688" y="469652"/>
                      <a:pt x="356325" y="468033"/>
                    </a:cubicBezTo>
                    <a:cubicBezTo>
                      <a:pt x="365174" y="466414"/>
                      <a:pt x="374577" y="472890"/>
                      <a:pt x="383426" y="471811"/>
                    </a:cubicBezTo>
                    <a:cubicBezTo>
                      <a:pt x="385086" y="471811"/>
                      <a:pt x="386192" y="470732"/>
                      <a:pt x="387851" y="470192"/>
                    </a:cubicBezTo>
                    <a:cubicBezTo>
                      <a:pt x="391170" y="470192"/>
                      <a:pt x="394488" y="471271"/>
                      <a:pt x="397807" y="471271"/>
                    </a:cubicBezTo>
                    <a:cubicBezTo>
                      <a:pt x="403891" y="470732"/>
                      <a:pt x="412187" y="469112"/>
                      <a:pt x="417718" y="466953"/>
                    </a:cubicBezTo>
                    <a:cubicBezTo>
                      <a:pt x="429333" y="463175"/>
                      <a:pt x="439842" y="455080"/>
                      <a:pt x="445926" y="444825"/>
                    </a:cubicBezTo>
                    <a:cubicBezTo>
                      <a:pt x="450904" y="436729"/>
                      <a:pt x="444267" y="425935"/>
                      <a:pt x="451457" y="418378"/>
                    </a:cubicBezTo>
                    <a:cubicBezTo>
                      <a:pt x="462519" y="407584"/>
                      <a:pt x="476346" y="399488"/>
                      <a:pt x="486855" y="387614"/>
                    </a:cubicBezTo>
                    <a:cubicBezTo>
                      <a:pt x="494045" y="378979"/>
                      <a:pt x="496810" y="366565"/>
                      <a:pt x="504001" y="357390"/>
                    </a:cubicBezTo>
                    <a:cubicBezTo>
                      <a:pt x="507872" y="351992"/>
                      <a:pt x="515615" y="349834"/>
                      <a:pt x="519487" y="343897"/>
                    </a:cubicBezTo>
                    <a:cubicBezTo>
                      <a:pt x="522253" y="340119"/>
                      <a:pt x="524465" y="332562"/>
                      <a:pt x="527784" y="329864"/>
                    </a:cubicBezTo>
                    <a:cubicBezTo>
                      <a:pt x="536633" y="322308"/>
                      <a:pt x="548248" y="318530"/>
                      <a:pt x="557650" y="311513"/>
                    </a:cubicBezTo>
                    <a:cubicBezTo>
                      <a:pt x="564841" y="305576"/>
                      <a:pt x="573690" y="292623"/>
                      <a:pt x="581433" y="288845"/>
                    </a:cubicBezTo>
                    <a:cubicBezTo>
                      <a:pt x="599685" y="281289"/>
                      <a:pt x="619044" y="276431"/>
                      <a:pt x="638402" y="273193"/>
                    </a:cubicBezTo>
                    <a:cubicBezTo>
                      <a:pt x="650017" y="271034"/>
                      <a:pt x="661079" y="269954"/>
                      <a:pt x="672694" y="265637"/>
                    </a:cubicBezTo>
                    <a:cubicBezTo>
                      <a:pt x="681543" y="262398"/>
                      <a:pt x="694264" y="258620"/>
                      <a:pt x="702007" y="253223"/>
                    </a:cubicBezTo>
                    <a:cubicBezTo>
                      <a:pt x="707538" y="249445"/>
                      <a:pt x="710304" y="229475"/>
                      <a:pt x="717494" y="228936"/>
                    </a:cubicBezTo>
                    <a:cubicBezTo>
                      <a:pt x="719706" y="228396"/>
                      <a:pt x="727450" y="230555"/>
                      <a:pt x="729109" y="232174"/>
                    </a:cubicBezTo>
                    <a:cubicBezTo>
                      <a:pt x="739065" y="240270"/>
                      <a:pt x="738512" y="255382"/>
                      <a:pt x="752892" y="260779"/>
                    </a:cubicBezTo>
                    <a:cubicBezTo>
                      <a:pt x="762848" y="264557"/>
                      <a:pt x="778334" y="263478"/>
                      <a:pt x="787184" y="257541"/>
                    </a:cubicBezTo>
                    <a:cubicBezTo>
                      <a:pt x="793821" y="253223"/>
                      <a:pt x="798246" y="248905"/>
                      <a:pt x="805989" y="244048"/>
                    </a:cubicBezTo>
                    <a:cubicBezTo>
                      <a:pt x="807648" y="242968"/>
                      <a:pt x="809307" y="241349"/>
                      <a:pt x="810967" y="240809"/>
                    </a:cubicBezTo>
                    <a:cubicBezTo>
                      <a:pt x="812626" y="240809"/>
                      <a:pt x="820922" y="243508"/>
                      <a:pt x="822028" y="244048"/>
                    </a:cubicBezTo>
                    <a:cubicBezTo>
                      <a:pt x="829772" y="248905"/>
                      <a:pt x="825347" y="252683"/>
                      <a:pt x="829219" y="258081"/>
                    </a:cubicBezTo>
                    <a:cubicBezTo>
                      <a:pt x="834196" y="263478"/>
                      <a:pt x="841940" y="269954"/>
                      <a:pt x="849130" y="272113"/>
                    </a:cubicBezTo>
                    <a:cubicBezTo>
                      <a:pt x="851895" y="273193"/>
                      <a:pt x="860745" y="274812"/>
                      <a:pt x="863510" y="274272"/>
                    </a:cubicBezTo>
                    <a:cubicBezTo>
                      <a:pt x="877891" y="273193"/>
                      <a:pt x="876785" y="259160"/>
                      <a:pt x="880656" y="255922"/>
                    </a:cubicBezTo>
                    <a:cubicBezTo>
                      <a:pt x="881762" y="254842"/>
                      <a:pt x="890612" y="252144"/>
                      <a:pt x="892271" y="252144"/>
                    </a:cubicBezTo>
                    <a:cubicBezTo>
                      <a:pt x="895590" y="251604"/>
                      <a:pt x="902227" y="253763"/>
                      <a:pt x="903886" y="253763"/>
                    </a:cubicBezTo>
                    <a:cubicBezTo>
                      <a:pt x="904992" y="253223"/>
                      <a:pt x="905545" y="252683"/>
                      <a:pt x="906652" y="252683"/>
                    </a:cubicBezTo>
                    <a:cubicBezTo>
                      <a:pt x="911629" y="251604"/>
                      <a:pt x="917713" y="259700"/>
                      <a:pt x="921585" y="261859"/>
                    </a:cubicBezTo>
                    <a:cubicBezTo>
                      <a:pt x="928222" y="265637"/>
                      <a:pt x="932647" y="260239"/>
                      <a:pt x="938731" y="260239"/>
                    </a:cubicBezTo>
                    <a:cubicBezTo>
                      <a:pt x="945921" y="260239"/>
                      <a:pt x="952558" y="264018"/>
                      <a:pt x="959195" y="263478"/>
                    </a:cubicBezTo>
                    <a:cubicBezTo>
                      <a:pt x="970257" y="262938"/>
                      <a:pt x="972469" y="248366"/>
                      <a:pt x="980213" y="245667"/>
                    </a:cubicBezTo>
                    <a:cubicBezTo>
                      <a:pt x="987956" y="243508"/>
                      <a:pt x="987403" y="252683"/>
                      <a:pt x="998465" y="252683"/>
                    </a:cubicBezTo>
                    <a:cubicBezTo>
                      <a:pt x="1002890" y="252683"/>
                      <a:pt x="1009527" y="250524"/>
                      <a:pt x="1013398" y="249445"/>
                    </a:cubicBezTo>
                    <a:cubicBezTo>
                      <a:pt x="1016717" y="248366"/>
                      <a:pt x="1019482" y="245667"/>
                      <a:pt x="1022801" y="245127"/>
                    </a:cubicBezTo>
                    <a:cubicBezTo>
                      <a:pt x="1028332" y="244048"/>
                      <a:pt x="1037734" y="245667"/>
                      <a:pt x="1042159" y="242968"/>
                    </a:cubicBezTo>
                    <a:cubicBezTo>
                      <a:pt x="1054327" y="237031"/>
                      <a:pt x="1067048" y="224078"/>
                      <a:pt x="1077557" y="214903"/>
                    </a:cubicBezTo>
                    <a:cubicBezTo>
                      <a:pt x="1080322" y="212204"/>
                      <a:pt x="1081982" y="208966"/>
                      <a:pt x="1085300" y="206807"/>
                    </a:cubicBezTo>
                    <a:cubicBezTo>
                      <a:pt x="1094150" y="200330"/>
                      <a:pt x="1104659" y="194393"/>
                      <a:pt x="1114614" y="190075"/>
                    </a:cubicBezTo>
                    <a:cubicBezTo>
                      <a:pt x="1127888" y="183599"/>
                      <a:pt x="1132313" y="187917"/>
                      <a:pt x="1142822" y="185758"/>
                    </a:cubicBezTo>
                    <a:cubicBezTo>
                      <a:pt x="1153331" y="183599"/>
                      <a:pt x="1162180" y="178741"/>
                      <a:pt x="1172136" y="176043"/>
                    </a:cubicBezTo>
                    <a:cubicBezTo>
                      <a:pt x="1174901" y="175503"/>
                      <a:pt x="1178220" y="175503"/>
                      <a:pt x="1180432" y="174423"/>
                    </a:cubicBezTo>
                    <a:cubicBezTo>
                      <a:pt x="1190388" y="169566"/>
                      <a:pt x="1199237" y="149056"/>
                      <a:pt x="1207534" y="140421"/>
                    </a:cubicBezTo>
                    <a:cubicBezTo>
                      <a:pt x="1211405" y="136643"/>
                      <a:pt x="1216383" y="133944"/>
                      <a:pt x="1220255" y="130166"/>
                    </a:cubicBezTo>
                    <a:cubicBezTo>
                      <a:pt x="1223573" y="126928"/>
                      <a:pt x="1225786" y="123150"/>
                      <a:pt x="1227998" y="119372"/>
                    </a:cubicBezTo>
                    <a:cubicBezTo>
                      <a:pt x="1245697" y="97783"/>
                      <a:pt x="1257865" y="89147"/>
                      <a:pt x="1265055" y="60542"/>
                    </a:cubicBezTo>
                    <a:lnTo>
                      <a:pt x="1293816" y="56224"/>
                    </a:lnTo>
                    <a:lnTo>
                      <a:pt x="1301559" y="39493"/>
                    </a:lnTo>
                    <a:lnTo>
                      <a:pt x="1341935" y="26539"/>
                    </a:lnTo>
                    <a:lnTo>
                      <a:pt x="1351891" y="3331"/>
                    </a:lnTo>
                    <a:lnTo>
                      <a:pt x="1362952" y="-447"/>
                    </a:lnTo>
                    <a:lnTo>
                      <a:pt x="1404987" y="13586"/>
                    </a:lnTo>
                    <a:lnTo>
                      <a:pt x="1405541" y="18443"/>
                    </a:lnTo>
                    <a:lnTo>
                      <a:pt x="1419368" y="22221"/>
                    </a:lnTo>
                    <a:lnTo>
                      <a:pt x="1426005" y="16285"/>
                    </a:lnTo>
                    <a:lnTo>
                      <a:pt x="1434301" y="17364"/>
                    </a:lnTo>
                    <a:lnTo>
                      <a:pt x="1440385" y="31397"/>
                    </a:lnTo>
                    <a:lnTo>
                      <a:pt x="1461956" y="33016"/>
                    </a:lnTo>
                    <a:lnTo>
                      <a:pt x="1473571" y="49208"/>
                    </a:lnTo>
                    <a:lnTo>
                      <a:pt x="1471359" y="73495"/>
                    </a:lnTo>
                    <a:cubicBezTo>
                      <a:pt x="1471359" y="76194"/>
                      <a:pt x="1470805" y="80512"/>
                      <a:pt x="1471912" y="82671"/>
                    </a:cubicBezTo>
                    <a:cubicBezTo>
                      <a:pt x="1473018" y="84829"/>
                      <a:pt x="1476336" y="85369"/>
                      <a:pt x="1477996" y="86988"/>
                    </a:cubicBezTo>
                    <a:cubicBezTo>
                      <a:pt x="1482973" y="92386"/>
                      <a:pt x="1478549" y="95084"/>
                      <a:pt x="1479655" y="99402"/>
                    </a:cubicBezTo>
                    <a:cubicBezTo>
                      <a:pt x="1480761" y="103720"/>
                      <a:pt x="1486292" y="104799"/>
                      <a:pt x="1487951" y="107498"/>
                    </a:cubicBezTo>
                    <a:cubicBezTo>
                      <a:pt x="1491270" y="111276"/>
                      <a:pt x="1492929" y="117213"/>
                      <a:pt x="1494588" y="122070"/>
                    </a:cubicBezTo>
                    <a:cubicBezTo>
                      <a:pt x="1495141" y="122070"/>
                      <a:pt x="1501226" y="125848"/>
                      <a:pt x="1503991" y="126388"/>
                    </a:cubicBezTo>
                    <a:cubicBezTo>
                      <a:pt x="1510628" y="127468"/>
                      <a:pt x="1518371" y="126928"/>
                      <a:pt x="1523902" y="123150"/>
                    </a:cubicBezTo>
                    <a:cubicBezTo>
                      <a:pt x="1530539" y="118832"/>
                      <a:pt x="1548791" y="101561"/>
                      <a:pt x="1555429" y="102101"/>
                    </a:cubicBezTo>
                    <a:cubicBezTo>
                      <a:pt x="1563172" y="102640"/>
                      <a:pt x="1574787" y="108577"/>
                      <a:pt x="1581977" y="110196"/>
                    </a:cubicBezTo>
                    <a:cubicBezTo>
                      <a:pt x="1588061" y="111816"/>
                      <a:pt x="1598017" y="113974"/>
                      <a:pt x="1604101" y="115594"/>
                    </a:cubicBezTo>
                    <a:cubicBezTo>
                      <a:pt x="1605207" y="115594"/>
                      <a:pt x="1605760" y="117213"/>
                      <a:pt x="1606313" y="117753"/>
                    </a:cubicBezTo>
                    <a:lnTo>
                      <a:pt x="1617375" y="126928"/>
                    </a:lnTo>
                    <a:lnTo>
                      <a:pt x="1591933" y="123689"/>
                    </a:lnTo>
                    <a:lnTo>
                      <a:pt x="1586955" y="138802"/>
                    </a:lnTo>
                    <a:lnTo>
                      <a:pt x="1591933" y="166867"/>
                    </a:lnTo>
                    <a:lnTo>
                      <a:pt x="1565384" y="191695"/>
                    </a:lnTo>
                    <a:lnTo>
                      <a:pt x="1577552" y="207886"/>
                    </a:lnTo>
                    <a:lnTo>
                      <a:pt x="1589167" y="213823"/>
                    </a:lnTo>
                    <a:lnTo>
                      <a:pt x="1593039" y="231634"/>
                    </a:lnTo>
                    <a:lnTo>
                      <a:pt x="1610738" y="237031"/>
                    </a:lnTo>
                    <a:lnTo>
                      <a:pt x="1634521" y="289385"/>
                    </a:lnTo>
                    <a:lnTo>
                      <a:pt x="1650560" y="285606"/>
                    </a:lnTo>
                    <a:lnTo>
                      <a:pt x="1654985" y="348754"/>
                    </a:lnTo>
                    <a:lnTo>
                      <a:pt x="1668259" y="349294"/>
                    </a:lnTo>
                    <a:lnTo>
                      <a:pt x="1677109" y="353612"/>
                    </a:lnTo>
                    <a:lnTo>
                      <a:pt x="1684852" y="347135"/>
                    </a:lnTo>
                    <a:lnTo>
                      <a:pt x="1691489" y="354151"/>
                    </a:lnTo>
                    <a:lnTo>
                      <a:pt x="1690383" y="362247"/>
                    </a:lnTo>
                    <a:lnTo>
                      <a:pt x="1697573" y="365486"/>
                    </a:lnTo>
                    <a:lnTo>
                      <a:pt x="1701445" y="382757"/>
                    </a:lnTo>
                    <a:lnTo>
                      <a:pt x="1730206" y="391932"/>
                    </a:lnTo>
                    <a:lnTo>
                      <a:pt x="1728546" y="408663"/>
                    </a:lnTo>
                    <a:lnTo>
                      <a:pt x="1719697" y="409743"/>
                    </a:lnTo>
                    <a:lnTo>
                      <a:pt x="1704210" y="436729"/>
                    </a:lnTo>
                    <a:lnTo>
                      <a:pt x="1701445" y="449143"/>
                    </a:lnTo>
                    <a:lnTo>
                      <a:pt x="1692595" y="445904"/>
                    </a:lnTo>
                    <a:lnTo>
                      <a:pt x="1687064" y="441047"/>
                    </a:lnTo>
                    <a:lnTo>
                      <a:pt x="1687618" y="431332"/>
                    </a:lnTo>
                    <a:lnTo>
                      <a:pt x="1683193" y="422156"/>
                    </a:lnTo>
                    <a:lnTo>
                      <a:pt x="1671025" y="421617"/>
                    </a:lnTo>
                    <a:lnTo>
                      <a:pt x="1662728" y="425935"/>
                    </a:lnTo>
                    <a:lnTo>
                      <a:pt x="1653879" y="441587"/>
                    </a:lnTo>
                    <a:lnTo>
                      <a:pt x="1624565" y="452921"/>
                    </a:lnTo>
                    <a:lnTo>
                      <a:pt x="1609078" y="452921"/>
                    </a:lnTo>
                    <a:lnTo>
                      <a:pt x="1599676" y="456699"/>
                    </a:lnTo>
                    <a:lnTo>
                      <a:pt x="1584189" y="457238"/>
                    </a:lnTo>
                    <a:lnTo>
                      <a:pt x="1570362" y="473430"/>
                    </a:lnTo>
                    <a:lnTo>
                      <a:pt x="1558747" y="473970"/>
                    </a:lnTo>
                    <a:lnTo>
                      <a:pt x="1550451" y="503655"/>
                    </a:lnTo>
                    <a:lnTo>
                      <a:pt x="1536070" y="520926"/>
                    </a:lnTo>
                    <a:close/>
                    <a:moveTo>
                      <a:pt x="136194" y="437269"/>
                    </a:moveTo>
                    <a:cubicBezTo>
                      <a:pt x="140066" y="441587"/>
                      <a:pt x="138960" y="448063"/>
                      <a:pt x="140619" y="452921"/>
                    </a:cubicBezTo>
                    <a:cubicBezTo>
                      <a:pt x="142831" y="457238"/>
                      <a:pt x="147256" y="458858"/>
                      <a:pt x="150022" y="462096"/>
                    </a:cubicBezTo>
                    <a:cubicBezTo>
                      <a:pt x="153340" y="465874"/>
                      <a:pt x="155553" y="470192"/>
                      <a:pt x="158871" y="473430"/>
                    </a:cubicBezTo>
                    <a:cubicBezTo>
                      <a:pt x="168827" y="483145"/>
                      <a:pt x="182101" y="489082"/>
                      <a:pt x="194822" y="494479"/>
                    </a:cubicBezTo>
                    <a:cubicBezTo>
                      <a:pt x="198141" y="495559"/>
                      <a:pt x="204225" y="497718"/>
                      <a:pt x="207543" y="498257"/>
                    </a:cubicBezTo>
                    <a:cubicBezTo>
                      <a:pt x="214180" y="498257"/>
                      <a:pt x="221371" y="495019"/>
                      <a:pt x="228008" y="493940"/>
                    </a:cubicBezTo>
                    <a:cubicBezTo>
                      <a:pt x="229667" y="493400"/>
                      <a:pt x="238516" y="493940"/>
                      <a:pt x="239623" y="495559"/>
                    </a:cubicBezTo>
                    <a:cubicBezTo>
                      <a:pt x="243494" y="499337"/>
                      <a:pt x="241835" y="518227"/>
                      <a:pt x="239623" y="523085"/>
                    </a:cubicBezTo>
                    <a:cubicBezTo>
                      <a:pt x="237963" y="526323"/>
                      <a:pt x="231326" y="530641"/>
                      <a:pt x="228008" y="531181"/>
                    </a:cubicBezTo>
                    <a:cubicBezTo>
                      <a:pt x="213627" y="536038"/>
                      <a:pt x="215286" y="527403"/>
                      <a:pt x="206437" y="528482"/>
                    </a:cubicBezTo>
                    <a:cubicBezTo>
                      <a:pt x="202565" y="529022"/>
                      <a:pt x="197588" y="532260"/>
                      <a:pt x="193716" y="533339"/>
                    </a:cubicBezTo>
                    <a:cubicBezTo>
                      <a:pt x="184866" y="536038"/>
                      <a:pt x="179889" y="534419"/>
                      <a:pt x="171039" y="540356"/>
                    </a:cubicBezTo>
                    <a:cubicBezTo>
                      <a:pt x="164955" y="543594"/>
                      <a:pt x="161083" y="548991"/>
                      <a:pt x="154999" y="552230"/>
                    </a:cubicBezTo>
                    <a:cubicBezTo>
                      <a:pt x="150575" y="554389"/>
                      <a:pt x="145597" y="554928"/>
                      <a:pt x="140619" y="556548"/>
                    </a:cubicBezTo>
                    <a:cubicBezTo>
                      <a:pt x="134535" y="558706"/>
                      <a:pt x="121261" y="563024"/>
                      <a:pt x="118495" y="569501"/>
                    </a:cubicBezTo>
                    <a:cubicBezTo>
                      <a:pt x="113518" y="579216"/>
                      <a:pt x="109646" y="601345"/>
                      <a:pt x="103009" y="609440"/>
                    </a:cubicBezTo>
                    <a:cubicBezTo>
                      <a:pt x="94712" y="619695"/>
                      <a:pt x="81991" y="627791"/>
                      <a:pt x="72036" y="636966"/>
                    </a:cubicBezTo>
                    <a:cubicBezTo>
                      <a:pt x="59868" y="647761"/>
                      <a:pt x="52124" y="663413"/>
                      <a:pt x="43828" y="676906"/>
                    </a:cubicBezTo>
                    <a:cubicBezTo>
                      <a:pt x="41063" y="681224"/>
                      <a:pt x="35532" y="692018"/>
                      <a:pt x="30554" y="692558"/>
                    </a:cubicBezTo>
                    <a:cubicBezTo>
                      <a:pt x="29448" y="692558"/>
                      <a:pt x="27788" y="692018"/>
                      <a:pt x="26682" y="690939"/>
                    </a:cubicBezTo>
                    <a:cubicBezTo>
                      <a:pt x="26129" y="690399"/>
                      <a:pt x="26129" y="676366"/>
                      <a:pt x="26682" y="674207"/>
                    </a:cubicBezTo>
                    <a:cubicBezTo>
                      <a:pt x="28341" y="662873"/>
                      <a:pt x="38850" y="652079"/>
                      <a:pt x="47700" y="645062"/>
                    </a:cubicBezTo>
                    <a:cubicBezTo>
                      <a:pt x="53784" y="640205"/>
                      <a:pt x="67611" y="633728"/>
                      <a:pt x="71483" y="629410"/>
                    </a:cubicBezTo>
                    <a:cubicBezTo>
                      <a:pt x="72589" y="628331"/>
                      <a:pt x="75354" y="621314"/>
                      <a:pt x="73142" y="620235"/>
                    </a:cubicBezTo>
                    <a:cubicBezTo>
                      <a:pt x="72036" y="619695"/>
                      <a:pt x="68717" y="619695"/>
                      <a:pt x="67611" y="620235"/>
                    </a:cubicBezTo>
                    <a:cubicBezTo>
                      <a:pt x="60421" y="621854"/>
                      <a:pt x="52677" y="628871"/>
                      <a:pt x="44934" y="631569"/>
                    </a:cubicBezTo>
                    <a:cubicBezTo>
                      <a:pt x="36085" y="634807"/>
                      <a:pt x="17280" y="637506"/>
                      <a:pt x="8983" y="632109"/>
                    </a:cubicBezTo>
                    <a:cubicBezTo>
                      <a:pt x="7877" y="631569"/>
                      <a:pt x="2346" y="620775"/>
                      <a:pt x="1240" y="618616"/>
                    </a:cubicBezTo>
                    <a:cubicBezTo>
                      <a:pt x="3452" y="613758"/>
                      <a:pt x="14514" y="592169"/>
                      <a:pt x="14514" y="588931"/>
                    </a:cubicBezTo>
                    <a:cubicBezTo>
                      <a:pt x="14514" y="580295"/>
                      <a:pt x="3452" y="562485"/>
                      <a:pt x="8430" y="550611"/>
                    </a:cubicBezTo>
                    <a:cubicBezTo>
                      <a:pt x="10642" y="546293"/>
                      <a:pt x="22257" y="542515"/>
                      <a:pt x="23917" y="539276"/>
                    </a:cubicBezTo>
                    <a:cubicBezTo>
                      <a:pt x="25023" y="537118"/>
                      <a:pt x="25023" y="534419"/>
                      <a:pt x="25023" y="532260"/>
                    </a:cubicBezTo>
                    <a:cubicBezTo>
                      <a:pt x="25023" y="505814"/>
                      <a:pt x="18939" y="512290"/>
                      <a:pt x="-972" y="504194"/>
                    </a:cubicBezTo>
                    <a:lnTo>
                      <a:pt x="2346" y="495019"/>
                    </a:lnTo>
                    <a:lnTo>
                      <a:pt x="18386" y="485304"/>
                    </a:lnTo>
                    <a:lnTo>
                      <a:pt x="21151" y="470192"/>
                    </a:lnTo>
                    <a:lnTo>
                      <a:pt x="39956" y="466414"/>
                    </a:lnTo>
                    <a:lnTo>
                      <a:pt x="53231" y="449143"/>
                    </a:lnTo>
                    <a:lnTo>
                      <a:pt x="66505" y="447523"/>
                    </a:lnTo>
                    <a:lnTo>
                      <a:pt x="73142" y="441587"/>
                    </a:lnTo>
                    <a:lnTo>
                      <a:pt x="104668" y="455080"/>
                    </a:lnTo>
                    <a:lnTo>
                      <a:pt x="111305" y="445904"/>
                    </a:lnTo>
                    <a:lnTo>
                      <a:pt x="124026" y="443745"/>
                    </a:lnTo>
                    <a:lnTo>
                      <a:pt x="125132" y="436729"/>
                    </a:lnTo>
                    <a:lnTo>
                      <a:pt x="136194" y="437269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0" name="Freeform 1052">
                <a:extLst>
                  <a:ext uri="{FF2B5EF4-FFF2-40B4-BE49-F238E27FC236}">
                    <a16:creationId xmlns:a16="http://schemas.microsoft.com/office/drawing/2014/main" id="{BD6A61BF-E208-40B1-894A-156CBEF7FF4C}"/>
                  </a:ext>
                </a:extLst>
              </p:cNvPr>
              <p:cNvSpPr/>
              <p:nvPr/>
            </p:nvSpPr>
            <p:spPr>
              <a:xfrm>
                <a:off x="8873498" y="4704070"/>
                <a:ext cx="514511" cy="797932"/>
              </a:xfrm>
              <a:custGeom>
                <a:avLst/>
                <a:gdLst>
                  <a:gd name="connsiteX0" fmla="*/ 84288 w 514511"/>
                  <a:gd name="connsiteY0" fmla="*/ 793660 h 797932"/>
                  <a:gd name="connsiteX1" fmla="*/ 106411 w 514511"/>
                  <a:gd name="connsiteY1" fmla="*/ 778548 h 797932"/>
                  <a:gd name="connsiteX2" fmla="*/ 131300 w 514511"/>
                  <a:gd name="connsiteY2" fmla="*/ 780707 h 797932"/>
                  <a:gd name="connsiteX3" fmla="*/ 140703 w 514511"/>
                  <a:gd name="connsiteY3" fmla="*/ 794200 h 797932"/>
                  <a:gd name="connsiteX4" fmla="*/ 149552 w 514511"/>
                  <a:gd name="connsiteY4" fmla="*/ 787723 h 797932"/>
                  <a:gd name="connsiteX5" fmla="*/ 171676 w 514511"/>
                  <a:gd name="connsiteY5" fmla="*/ 797438 h 797932"/>
                  <a:gd name="connsiteX6" fmla="*/ 216477 w 514511"/>
                  <a:gd name="connsiteY6" fmla="*/ 788803 h 797932"/>
                  <a:gd name="connsiteX7" fmla="*/ 355856 w 514511"/>
                  <a:gd name="connsiteY7" fmla="*/ 591264 h 797932"/>
                  <a:gd name="connsiteX8" fmla="*/ 506850 w 514511"/>
                  <a:gd name="connsiteY8" fmla="*/ 381312 h 797932"/>
                  <a:gd name="connsiteX9" fmla="*/ 513487 w 514511"/>
                  <a:gd name="connsiteY9" fmla="*/ 338673 h 797932"/>
                  <a:gd name="connsiteX10" fmla="*/ 489151 w 514511"/>
                  <a:gd name="connsiteY10" fmla="*/ 262572 h 797932"/>
                  <a:gd name="connsiteX11" fmla="*/ 490810 w 514511"/>
                  <a:gd name="connsiteY11" fmla="*/ 229110 h 797932"/>
                  <a:gd name="connsiteX12" fmla="*/ 484173 w 514511"/>
                  <a:gd name="connsiteY12" fmla="*/ 206981 h 797932"/>
                  <a:gd name="connsiteX13" fmla="*/ 464815 w 514511"/>
                  <a:gd name="connsiteY13" fmla="*/ 184852 h 797932"/>
                  <a:gd name="connsiteX14" fmla="*/ 453753 w 514511"/>
                  <a:gd name="connsiteY14" fmla="*/ 139516 h 797932"/>
                  <a:gd name="connsiteX15" fmla="*/ 455412 w 514511"/>
                  <a:gd name="connsiteY15" fmla="*/ 128181 h 797932"/>
                  <a:gd name="connsiteX16" fmla="*/ 486385 w 514511"/>
                  <a:gd name="connsiteY16" fmla="*/ 96877 h 797932"/>
                  <a:gd name="connsiteX17" fmla="*/ 511828 w 514511"/>
                  <a:gd name="connsiteY17" fmla="*/ 15379 h 797932"/>
                  <a:gd name="connsiteX18" fmla="*/ 505744 w 514511"/>
                  <a:gd name="connsiteY18" fmla="*/ 7283 h 797932"/>
                  <a:gd name="connsiteX19" fmla="*/ 486939 w 514511"/>
                  <a:gd name="connsiteY19" fmla="*/ 1886 h 797932"/>
                  <a:gd name="connsiteX20" fmla="*/ 481408 w 514511"/>
                  <a:gd name="connsiteY20" fmla="*/ 20237 h 797932"/>
                  <a:gd name="connsiteX21" fmla="*/ 424439 w 514511"/>
                  <a:gd name="connsiteY21" fmla="*/ 63954 h 797932"/>
                  <a:gd name="connsiteX22" fmla="*/ 375767 w 514511"/>
                  <a:gd name="connsiteY22" fmla="*/ 83384 h 797932"/>
                  <a:gd name="connsiteX23" fmla="*/ 319905 w 514511"/>
                  <a:gd name="connsiteY23" fmla="*/ 155707 h 797932"/>
                  <a:gd name="connsiteX24" fmla="*/ 264596 w 514511"/>
                  <a:gd name="connsiteY24" fmla="*/ 196187 h 797932"/>
                  <a:gd name="connsiteX25" fmla="*/ 217583 w 514511"/>
                  <a:gd name="connsiteY25" fmla="*/ 210759 h 797932"/>
                  <a:gd name="connsiteX26" fmla="*/ 192140 w 514511"/>
                  <a:gd name="connsiteY26" fmla="*/ 200504 h 797932"/>
                  <a:gd name="connsiteX27" fmla="*/ 172229 w 514511"/>
                  <a:gd name="connsiteY27" fmla="*/ 205362 h 797932"/>
                  <a:gd name="connsiteX28" fmla="*/ 123557 w 514511"/>
                  <a:gd name="connsiteY28" fmla="*/ 257715 h 797932"/>
                  <a:gd name="connsiteX29" fmla="*/ 78757 w 514511"/>
                  <a:gd name="connsiteY29" fmla="*/ 282542 h 797932"/>
                  <a:gd name="connsiteX30" fmla="*/ 64376 w 514511"/>
                  <a:gd name="connsiteY30" fmla="*/ 271208 h 797932"/>
                  <a:gd name="connsiteX31" fmla="*/ 48337 w 514511"/>
                  <a:gd name="connsiteY31" fmla="*/ 270668 h 797932"/>
                  <a:gd name="connsiteX32" fmla="*/ 34509 w 514511"/>
                  <a:gd name="connsiteY32" fmla="*/ 274986 h 797932"/>
                  <a:gd name="connsiteX33" fmla="*/ 39487 w 514511"/>
                  <a:gd name="connsiteY33" fmla="*/ 318164 h 797932"/>
                  <a:gd name="connsiteX34" fmla="*/ 59951 w 514511"/>
                  <a:gd name="connsiteY34" fmla="*/ 339213 h 797932"/>
                  <a:gd name="connsiteX35" fmla="*/ 35615 w 514511"/>
                  <a:gd name="connsiteY35" fmla="*/ 354325 h 797932"/>
                  <a:gd name="connsiteX36" fmla="*/ 40040 w 514511"/>
                  <a:gd name="connsiteY36" fmla="*/ 381312 h 797932"/>
                  <a:gd name="connsiteX37" fmla="*/ 29531 w 514511"/>
                  <a:gd name="connsiteY37" fmla="*/ 393186 h 797932"/>
                  <a:gd name="connsiteX38" fmla="*/ 29531 w 514511"/>
                  <a:gd name="connsiteY38" fmla="*/ 401821 h 797932"/>
                  <a:gd name="connsiteX39" fmla="*/ 25660 w 514511"/>
                  <a:gd name="connsiteY39" fmla="*/ 410996 h 797932"/>
                  <a:gd name="connsiteX40" fmla="*/ 2983 w 514511"/>
                  <a:gd name="connsiteY40" fmla="*/ 399662 h 797932"/>
                  <a:gd name="connsiteX41" fmla="*/ -889 w 514511"/>
                  <a:gd name="connsiteY41" fmla="*/ 446078 h 797932"/>
                  <a:gd name="connsiteX42" fmla="*/ 6855 w 514511"/>
                  <a:gd name="connsiteY42" fmla="*/ 457952 h 797932"/>
                  <a:gd name="connsiteX43" fmla="*/ 24554 w 514511"/>
                  <a:gd name="connsiteY43" fmla="*/ 468207 h 797932"/>
                  <a:gd name="connsiteX44" fmla="*/ 28425 w 514511"/>
                  <a:gd name="connsiteY44" fmla="*/ 489256 h 797932"/>
                  <a:gd name="connsiteX45" fmla="*/ 38934 w 514511"/>
                  <a:gd name="connsiteY45" fmla="*/ 531355 h 797932"/>
                  <a:gd name="connsiteX46" fmla="*/ 44465 w 514511"/>
                  <a:gd name="connsiteY46" fmla="*/ 537831 h 797932"/>
                  <a:gd name="connsiteX47" fmla="*/ 52761 w 514511"/>
                  <a:gd name="connsiteY47" fmla="*/ 552404 h 797932"/>
                  <a:gd name="connsiteX48" fmla="*/ 78757 w 514511"/>
                  <a:gd name="connsiteY48" fmla="*/ 544308 h 797932"/>
                  <a:gd name="connsiteX49" fmla="*/ 82075 w 514511"/>
                  <a:gd name="connsiteY49" fmla="*/ 534053 h 797932"/>
                  <a:gd name="connsiteX50" fmla="*/ 98115 w 514511"/>
                  <a:gd name="connsiteY50" fmla="*/ 533514 h 797932"/>
                  <a:gd name="connsiteX51" fmla="*/ 94243 w 514511"/>
                  <a:gd name="connsiteY51" fmla="*/ 549705 h 797932"/>
                  <a:gd name="connsiteX52" fmla="*/ 105305 w 514511"/>
                  <a:gd name="connsiteY52" fmla="*/ 550785 h 797932"/>
                  <a:gd name="connsiteX53" fmla="*/ 117473 w 514511"/>
                  <a:gd name="connsiteY53" fmla="*/ 557261 h 797932"/>
                  <a:gd name="connsiteX54" fmla="*/ 115814 w 514511"/>
                  <a:gd name="connsiteY54" fmla="*/ 562659 h 797932"/>
                  <a:gd name="connsiteX55" fmla="*/ 129088 w 514511"/>
                  <a:gd name="connsiteY55" fmla="*/ 580470 h 797932"/>
                  <a:gd name="connsiteX56" fmla="*/ 123557 w 514511"/>
                  <a:gd name="connsiteY56" fmla="*/ 599900 h 797932"/>
                  <a:gd name="connsiteX57" fmla="*/ 112495 w 514511"/>
                  <a:gd name="connsiteY57" fmla="*/ 605837 h 797932"/>
                  <a:gd name="connsiteX58" fmla="*/ 108071 w 514511"/>
                  <a:gd name="connsiteY58" fmla="*/ 621488 h 797932"/>
                  <a:gd name="connsiteX59" fmla="*/ 119685 w 514511"/>
                  <a:gd name="connsiteY59" fmla="*/ 630124 h 797932"/>
                  <a:gd name="connsiteX60" fmla="*/ 100327 w 514511"/>
                  <a:gd name="connsiteY60" fmla="*/ 636061 h 797932"/>
                  <a:gd name="connsiteX61" fmla="*/ 93690 w 514511"/>
                  <a:gd name="connsiteY61" fmla="*/ 640919 h 797932"/>
                  <a:gd name="connsiteX62" fmla="*/ 88712 w 514511"/>
                  <a:gd name="connsiteY62" fmla="*/ 667365 h 797932"/>
                  <a:gd name="connsiteX63" fmla="*/ 97562 w 514511"/>
                  <a:gd name="connsiteY63" fmla="*/ 671683 h 797932"/>
                  <a:gd name="connsiteX64" fmla="*/ 73226 w 514511"/>
                  <a:gd name="connsiteY64" fmla="*/ 725655 h 797932"/>
                  <a:gd name="connsiteX65" fmla="*/ 78204 w 514511"/>
                  <a:gd name="connsiteY65" fmla="*/ 744006 h 797932"/>
                  <a:gd name="connsiteX66" fmla="*/ 79310 w 514511"/>
                  <a:gd name="connsiteY66" fmla="*/ 754800 h 797932"/>
                  <a:gd name="connsiteX67" fmla="*/ 83734 w 514511"/>
                  <a:gd name="connsiteY67" fmla="*/ 768293 h 797932"/>
                  <a:gd name="connsiteX68" fmla="*/ 84288 w 514511"/>
                  <a:gd name="connsiteY68" fmla="*/ 793660 h 797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514511" h="797932">
                    <a:moveTo>
                      <a:pt x="84288" y="793660"/>
                    </a:moveTo>
                    <a:lnTo>
                      <a:pt x="106411" y="778548"/>
                    </a:lnTo>
                    <a:lnTo>
                      <a:pt x="131300" y="780707"/>
                    </a:lnTo>
                    <a:lnTo>
                      <a:pt x="140703" y="794200"/>
                    </a:lnTo>
                    <a:lnTo>
                      <a:pt x="149552" y="787723"/>
                    </a:lnTo>
                    <a:lnTo>
                      <a:pt x="171676" y="797438"/>
                    </a:lnTo>
                    <a:lnTo>
                      <a:pt x="216477" y="788803"/>
                    </a:lnTo>
                    <a:lnTo>
                      <a:pt x="355856" y="591264"/>
                    </a:lnTo>
                    <a:lnTo>
                      <a:pt x="506850" y="381312"/>
                    </a:lnTo>
                    <a:lnTo>
                      <a:pt x="513487" y="338673"/>
                    </a:lnTo>
                    <a:lnTo>
                      <a:pt x="489151" y="262572"/>
                    </a:lnTo>
                    <a:lnTo>
                      <a:pt x="490810" y="229110"/>
                    </a:lnTo>
                    <a:lnTo>
                      <a:pt x="484173" y="206981"/>
                    </a:lnTo>
                    <a:lnTo>
                      <a:pt x="464815" y="184852"/>
                    </a:lnTo>
                    <a:lnTo>
                      <a:pt x="453753" y="139516"/>
                    </a:lnTo>
                    <a:lnTo>
                      <a:pt x="455412" y="128181"/>
                    </a:lnTo>
                    <a:lnTo>
                      <a:pt x="486385" y="96877"/>
                    </a:lnTo>
                    <a:lnTo>
                      <a:pt x="511828" y="15379"/>
                    </a:lnTo>
                    <a:cubicBezTo>
                      <a:pt x="510168" y="12681"/>
                      <a:pt x="507956" y="9982"/>
                      <a:pt x="505744" y="7283"/>
                    </a:cubicBezTo>
                    <a:cubicBezTo>
                      <a:pt x="498000" y="-4051"/>
                      <a:pt x="499107" y="-273"/>
                      <a:pt x="486939" y="1886"/>
                    </a:cubicBezTo>
                    <a:lnTo>
                      <a:pt x="481408" y="20237"/>
                    </a:lnTo>
                    <a:lnTo>
                      <a:pt x="424439" y="63954"/>
                    </a:lnTo>
                    <a:lnTo>
                      <a:pt x="375767" y="83384"/>
                    </a:lnTo>
                    <a:lnTo>
                      <a:pt x="319905" y="155707"/>
                    </a:lnTo>
                    <a:lnTo>
                      <a:pt x="264596" y="196187"/>
                    </a:lnTo>
                    <a:lnTo>
                      <a:pt x="217583" y="210759"/>
                    </a:lnTo>
                    <a:lnTo>
                      <a:pt x="192140" y="200504"/>
                    </a:lnTo>
                    <a:lnTo>
                      <a:pt x="172229" y="205362"/>
                    </a:lnTo>
                    <a:lnTo>
                      <a:pt x="123557" y="257715"/>
                    </a:lnTo>
                    <a:lnTo>
                      <a:pt x="78757" y="282542"/>
                    </a:lnTo>
                    <a:lnTo>
                      <a:pt x="64376" y="271208"/>
                    </a:lnTo>
                    <a:lnTo>
                      <a:pt x="48337" y="270668"/>
                    </a:lnTo>
                    <a:lnTo>
                      <a:pt x="34509" y="274986"/>
                    </a:lnTo>
                    <a:lnTo>
                      <a:pt x="39487" y="318164"/>
                    </a:lnTo>
                    <a:lnTo>
                      <a:pt x="59951" y="339213"/>
                    </a:lnTo>
                    <a:lnTo>
                      <a:pt x="35615" y="354325"/>
                    </a:lnTo>
                    <a:lnTo>
                      <a:pt x="40040" y="381312"/>
                    </a:lnTo>
                    <a:lnTo>
                      <a:pt x="29531" y="393186"/>
                    </a:lnTo>
                    <a:lnTo>
                      <a:pt x="29531" y="401821"/>
                    </a:lnTo>
                    <a:lnTo>
                      <a:pt x="25660" y="410996"/>
                    </a:lnTo>
                    <a:lnTo>
                      <a:pt x="2983" y="399662"/>
                    </a:lnTo>
                    <a:cubicBezTo>
                      <a:pt x="-336" y="414774"/>
                      <a:pt x="-1442" y="430426"/>
                      <a:pt x="-889" y="446078"/>
                    </a:cubicBezTo>
                    <a:cubicBezTo>
                      <a:pt x="2430" y="449856"/>
                      <a:pt x="2983" y="454714"/>
                      <a:pt x="6855" y="457952"/>
                    </a:cubicBezTo>
                    <a:cubicBezTo>
                      <a:pt x="12386" y="462270"/>
                      <a:pt x="19576" y="460111"/>
                      <a:pt x="24554" y="468207"/>
                    </a:cubicBezTo>
                    <a:cubicBezTo>
                      <a:pt x="26766" y="472525"/>
                      <a:pt x="27319" y="483859"/>
                      <a:pt x="28425" y="489256"/>
                    </a:cubicBezTo>
                    <a:cubicBezTo>
                      <a:pt x="30085" y="498971"/>
                      <a:pt x="33956" y="523259"/>
                      <a:pt x="38934" y="531355"/>
                    </a:cubicBezTo>
                    <a:cubicBezTo>
                      <a:pt x="40040" y="534053"/>
                      <a:pt x="42806" y="535672"/>
                      <a:pt x="44465" y="537831"/>
                    </a:cubicBezTo>
                    <a:cubicBezTo>
                      <a:pt x="47783" y="542689"/>
                      <a:pt x="48890" y="548086"/>
                      <a:pt x="52761" y="552404"/>
                    </a:cubicBezTo>
                    <a:lnTo>
                      <a:pt x="78757" y="544308"/>
                    </a:lnTo>
                    <a:lnTo>
                      <a:pt x="82075" y="534053"/>
                    </a:lnTo>
                    <a:lnTo>
                      <a:pt x="98115" y="533514"/>
                    </a:lnTo>
                    <a:lnTo>
                      <a:pt x="94243" y="549705"/>
                    </a:lnTo>
                    <a:lnTo>
                      <a:pt x="105305" y="550785"/>
                    </a:lnTo>
                    <a:lnTo>
                      <a:pt x="117473" y="557261"/>
                    </a:lnTo>
                    <a:lnTo>
                      <a:pt x="115814" y="562659"/>
                    </a:lnTo>
                    <a:lnTo>
                      <a:pt x="129088" y="580470"/>
                    </a:lnTo>
                    <a:lnTo>
                      <a:pt x="123557" y="599900"/>
                    </a:lnTo>
                    <a:lnTo>
                      <a:pt x="112495" y="605837"/>
                    </a:lnTo>
                    <a:lnTo>
                      <a:pt x="108071" y="621488"/>
                    </a:lnTo>
                    <a:lnTo>
                      <a:pt x="119685" y="630124"/>
                    </a:lnTo>
                    <a:lnTo>
                      <a:pt x="100327" y="636061"/>
                    </a:lnTo>
                    <a:lnTo>
                      <a:pt x="93690" y="640919"/>
                    </a:lnTo>
                    <a:lnTo>
                      <a:pt x="88712" y="667365"/>
                    </a:lnTo>
                    <a:lnTo>
                      <a:pt x="97562" y="671683"/>
                    </a:lnTo>
                    <a:lnTo>
                      <a:pt x="73226" y="725655"/>
                    </a:lnTo>
                    <a:cubicBezTo>
                      <a:pt x="74885" y="730513"/>
                      <a:pt x="77097" y="739148"/>
                      <a:pt x="78204" y="744006"/>
                    </a:cubicBezTo>
                    <a:cubicBezTo>
                      <a:pt x="79310" y="747244"/>
                      <a:pt x="78757" y="752102"/>
                      <a:pt x="79310" y="754800"/>
                    </a:cubicBezTo>
                    <a:cubicBezTo>
                      <a:pt x="80416" y="758578"/>
                      <a:pt x="83181" y="764515"/>
                      <a:pt x="83734" y="768293"/>
                    </a:cubicBezTo>
                    <a:cubicBezTo>
                      <a:pt x="84288" y="775310"/>
                      <a:pt x="84288" y="786644"/>
                      <a:pt x="84288" y="793660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1" name="Freeform 1053">
                <a:extLst>
                  <a:ext uri="{FF2B5EF4-FFF2-40B4-BE49-F238E27FC236}">
                    <a16:creationId xmlns:a16="http://schemas.microsoft.com/office/drawing/2014/main" id="{2450AA55-5419-4644-B9FA-E1CCA19D2EFC}"/>
                  </a:ext>
                </a:extLst>
              </p:cNvPr>
              <p:cNvSpPr/>
              <p:nvPr/>
            </p:nvSpPr>
            <p:spPr>
              <a:xfrm>
                <a:off x="6600425" y="4623333"/>
                <a:ext cx="11061" cy="12953"/>
              </a:xfrm>
              <a:custGeom>
                <a:avLst/>
                <a:gdLst>
                  <a:gd name="connsiteX0" fmla="*/ -709 w 11061"/>
                  <a:gd name="connsiteY0" fmla="*/ 4424 h 12953"/>
                  <a:gd name="connsiteX1" fmla="*/ 9247 w 11061"/>
                  <a:gd name="connsiteY1" fmla="*/ -433 h 12953"/>
                  <a:gd name="connsiteX2" fmla="*/ 10353 w 11061"/>
                  <a:gd name="connsiteY2" fmla="*/ 7123 h 12953"/>
                  <a:gd name="connsiteX3" fmla="*/ 7587 w 11061"/>
                  <a:gd name="connsiteY3" fmla="*/ 12520 h 12953"/>
                  <a:gd name="connsiteX4" fmla="*/ 950 w 11061"/>
                  <a:gd name="connsiteY4" fmla="*/ 10901 h 12953"/>
                  <a:gd name="connsiteX5" fmla="*/ -709 w 11061"/>
                  <a:gd name="connsiteY5" fmla="*/ 4424 h 12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061" h="12953">
                    <a:moveTo>
                      <a:pt x="-709" y="4424"/>
                    </a:moveTo>
                    <a:lnTo>
                      <a:pt x="9247" y="-433"/>
                    </a:lnTo>
                    <a:lnTo>
                      <a:pt x="10353" y="7123"/>
                    </a:lnTo>
                    <a:lnTo>
                      <a:pt x="7587" y="12520"/>
                    </a:lnTo>
                    <a:lnTo>
                      <a:pt x="950" y="10901"/>
                    </a:lnTo>
                    <a:lnTo>
                      <a:pt x="-709" y="4424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2" name="Freeform 1054">
                <a:extLst>
                  <a:ext uri="{FF2B5EF4-FFF2-40B4-BE49-F238E27FC236}">
                    <a16:creationId xmlns:a16="http://schemas.microsoft.com/office/drawing/2014/main" id="{D707A1A9-A79F-4B50-A80A-B7085AEA4F00}"/>
                  </a:ext>
                </a:extLst>
              </p:cNvPr>
              <p:cNvSpPr/>
              <p:nvPr/>
            </p:nvSpPr>
            <p:spPr>
              <a:xfrm>
                <a:off x="6922209" y="3888769"/>
                <a:ext cx="432634" cy="244932"/>
              </a:xfrm>
              <a:custGeom>
                <a:avLst/>
                <a:gdLst>
                  <a:gd name="connsiteX0" fmla="*/ 3212 w 432634"/>
                  <a:gd name="connsiteY0" fmla="*/ 142673 h 244932"/>
                  <a:gd name="connsiteX1" fmla="*/ 3212 w 432634"/>
                  <a:gd name="connsiteY1" fmla="*/ 191248 h 244932"/>
                  <a:gd name="connsiteX2" fmla="*/ 10402 w 432634"/>
                  <a:gd name="connsiteY2" fmla="*/ 202582 h 244932"/>
                  <a:gd name="connsiteX3" fmla="*/ 17593 w 432634"/>
                  <a:gd name="connsiteY3" fmla="*/ 214456 h 244932"/>
                  <a:gd name="connsiteX4" fmla="*/ 20358 w 432634"/>
                  <a:gd name="connsiteY4" fmla="*/ 222552 h 244932"/>
                  <a:gd name="connsiteX5" fmla="*/ 47460 w 432634"/>
                  <a:gd name="connsiteY5" fmla="*/ 224171 h 244932"/>
                  <a:gd name="connsiteX6" fmla="*/ 77880 w 432634"/>
                  <a:gd name="connsiteY6" fmla="*/ 243061 h 244932"/>
                  <a:gd name="connsiteX7" fmla="*/ 107193 w 432634"/>
                  <a:gd name="connsiteY7" fmla="*/ 243601 h 244932"/>
                  <a:gd name="connsiteX8" fmla="*/ 158631 w 432634"/>
                  <a:gd name="connsiteY8" fmla="*/ 231187 h 244932"/>
                  <a:gd name="connsiteX9" fmla="*/ 163609 w 432634"/>
                  <a:gd name="connsiteY9" fmla="*/ 218234 h 244932"/>
                  <a:gd name="connsiteX10" fmla="*/ 160290 w 432634"/>
                  <a:gd name="connsiteY10" fmla="*/ 210678 h 244932"/>
                  <a:gd name="connsiteX11" fmla="*/ 166927 w 432634"/>
                  <a:gd name="connsiteY11" fmla="*/ 196645 h 244932"/>
                  <a:gd name="connsiteX12" fmla="*/ 207303 w 432634"/>
                  <a:gd name="connsiteY12" fmla="*/ 186930 h 244932"/>
                  <a:gd name="connsiteX13" fmla="*/ 218918 w 432634"/>
                  <a:gd name="connsiteY13" fmla="*/ 164801 h 244932"/>
                  <a:gd name="connsiteX14" fmla="*/ 249891 w 432634"/>
                  <a:gd name="connsiteY14" fmla="*/ 173437 h 244932"/>
                  <a:gd name="connsiteX15" fmla="*/ 259847 w 432634"/>
                  <a:gd name="connsiteY15" fmla="*/ 159944 h 244932"/>
                  <a:gd name="connsiteX16" fmla="*/ 271462 w 432634"/>
                  <a:gd name="connsiteY16" fmla="*/ 154546 h 244932"/>
                  <a:gd name="connsiteX17" fmla="*/ 282524 w 432634"/>
                  <a:gd name="connsiteY17" fmla="*/ 121084 h 244932"/>
                  <a:gd name="connsiteX18" fmla="*/ 297457 w 432634"/>
                  <a:gd name="connsiteY18" fmla="*/ 112448 h 244932"/>
                  <a:gd name="connsiteX19" fmla="*/ 330090 w 432634"/>
                  <a:gd name="connsiteY19" fmla="*/ 116766 h 244932"/>
                  <a:gd name="connsiteX20" fmla="*/ 360510 w 432634"/>
                  <a:gd name="connsiteY20" fmla="*/ 102733 h 244932"/>
                  <a:gd name="connsiteX21" fmla="*/ 389823 w 432634"/>
                  <a:gd name="connsiteY21" fmla="*/ 124862 h 244932"/>
                  <a:gd name="connsiteX22" fmla="*/ 413053 w 432634"/>
                  <a:gd name="connsiteY22" fmla="*/ 109210 h 244932"/>
                  <a:gd name="connsiteX23" fmla="*/ 413606 w 432634"/>
                  <a:gd name="connsiteY23" fmla="*/ 90319 h 244932"/>
                  <a:gd name="connsiteX24" fmla="*/ 423009 w 432634"/>
                  <a:gd name="connsiteY24" fmla="*/ 74667 h 244932"/>
                  <a:gd name="connsiteX25" fmla="*/ 431858 w 432634"/>
                  <a:gd name="connsiteY25" fmla="*/ 27712 h 244932"/>
                  <a:gd name="connsiteX26" fmla="*/ 390930 w 432634"/>
                  <a:gd name="connsiteY26" fmla="*/ 19616 h 244932"/>
                  <a:gd name="connsiteX27" fmla="*/ 378762 w 432634"/>
                  <a:gd name="connsiteY27" fmla="*/ 3424 h 244932"/>
                  <a:gd name="connsiteX28" fmla="*/ 348895 w 432634"/>
                  <a:gd name="connsiteY28" fmla="*/ -354 h 244932"/>
                  <a:gd name="connsiteX29" fmla="*/ 312391 w 432634"/>
                  <a:gd name="connsiteY29" fmla="*/ 9361 h 244932"/>
                  <a:gd name="connsiteX30" fmla="*/ 302988 w 432634"/>
                  <a:gd name="connsiteY30" fmla="*/ 21775 h 244932"/>
                  <a:gd name="connsiteX31" fmla="*/ 285289 w 432634"/>
                  <a:gd name="connsiteY31" fmla="*/ 14218 h 244932"/>
                  <a:gd name="connsiteX32" fmla="*/ 270356 w 432634"/>
                  <a:gd name="connsiteY32" fmla="*/ 21775 h 244932"/>
                  <a:gd name="connsiteX33" fmla="*/ 256528 w 432634"/>
                  <a:gd name="connsiteY33" fmla="*/ 21235 h 244932"/>
                  <a:gd name="connsiteX34" fmla="*/ 245466 w 432634"/>
                  <a:gd name="connsiteY34" fmla="*/ 29331 h 244932"/>
                  <a:gd name="connsiteX35" fmla="*/ 235511 w 432634"/>
                  <a:gd name="connsiteY35" fmla="*/ 47681 h 244932"/>
                  <a:gd name="connsiteX36" fmla="*/ 217812 w 432634"/>
                  <a:gd name="connsiteY36" fmla="*/ 49300 h 244932"/>
                  <a:gd name="connsiteX37" fmla="*/ 216153 w 432634"/>
                  <a:gd name="connsiteY37" fmla="*/ 35807 h 244932"/>
                  <a:gd name="connsiteX38" fmla="*/ 211728 w 432634"/>
                  <a:gd name="connsiteY38" fmla="*/ 28251 h 244932"/>
                  <a:gd name="connsiteX39" fmla="*/ 198454 w 432634"/>
                  <a:gd name="connsiteY39" fmla="*/ 25013 h 244932"/>
                  <a:gd name="connsiteX40" fmla="*/ 181308 w 432634"/>
                  <a:gd name="connsiteY40" fmla="*/ 6123 h 244932"/>
                  <a:gd name="connsiteX41" fmla="*/ 165821 w 432634"/>
                  <a:gd name="connsiteY41" fmla="*/ 18536 h 244932"/>
                  <a:gd name="connsiteX42" fmla="*/ 163609 w 432634"/>
                  <a:gd name="connsiteY42" fmla="*/ 33109 h 244932"/>
                  <a:gd name="connsiteX43" fmla="*/ 148675 w 432634"/>
                  <a:gd name="connsiteY43" fmla="*/ 39046 h 244932"/>
                  <a:gd name="connsiteX44" fmla="*/ 147016 w 432634"/>
                  <a:gd name="connsiteY44" fmla="*/ 29331 h 244932"/>
                  <a:gd name="connsiteX45" fmla="*/ 139826 w 432634"/>
                  <a:gd name="connsiteY45" fmla="*/ 23933 h 244932"/>
                  <a:gd name="connsiteX46" fmla="*/ 133742 w 432634"/>
                  <a:gd name="connsiteY46" fmla="*/ 13139 h 244932"/>
                  <a:gd name="connsiteX47" fmla="*/ 96132 w 432634"/>
                  <a:gd name="connsiteY47" fmla="*/ 57396 h 244932"/>
                  <a:gd name="connsiteX48" fmla="*/ 90048 w 432634"/>
                  <a:gd name="connsiteY48" fmla="*/ 81684 h 244932"/>
                  <a:gd name="connsiteX49" fmla="*/ 94472 w 432634"/>
                  <a:gd name="connsiteY49" fmla="*/ 103812 h 244932"/>
                  <a:gd name="connsiteX50" fmla="*/ 93366 w 432634"/>
                  <a:gd name="connsiteY50" fmla="*/ 113528 h 244932"/>
                  <a:gd name="connsiteX51" fmla="*/ 78433 w 432634"/>
                  <a:gd name="connsiteY51" fmla="*/ 137275 h 244932"/>
                  <a:gd name="connsiteX52" fmla="*/ 65158 w 432634"/>
                  <a:gd name="connsiteY52" fmla="*/ 135116 h 244932"/>
                  <a:gd name="connsiteX53" fmla="*/ 43588 w 432634"/>
                  <a:gd name="connsiteY53" fmla="*/ 142133 h 244932"/>
                  <a:gd name="connsiteX54" fmla="*/ 3212 w 432634"/>
                  <a:gd name="connsiteY54" fmla="*/ 142673 h 24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432634" h="244932">
                    <a:moveTo>
                      <a:pt x="3212" y="142673"/>
                    </a:moveTo>
                    <a:cubicBezTo>
                      <a:pt x="1000" y="158864"/>
                      <a:pt x="-4531" y="176135"/>
                      <a:pt x="3212" y="191248"/>
                    </a:cubicBezTo>
                    <a:cubicBezTo>
                      <a:pt x="5425" y="195565"/>
                      <a:pt x="8190" y="198264"/>
                      <a:pt x="10402" y="202582"/>
                    </a:cubicBezTo>
                    <a:lnTo>
                      <a:pt x="17593" y="214456"/>
                    </a:lnTo>
                    <a:lnTo>
                      <a:pt x="20358" y="222552"/>
                    </a:lnTo>
                    <a:lnTo>
                      <a:pt x="47460" y="224171"/>
                    </a:lnTo>
                    <a:cubicBezTo>
                      <a:pt x="55203" y="229568"/>
                      <a:pt x="69030" y="241982"/>
                      <a:pt x="77880" y="243061"/>
                    </a:cubicBezTo>
                    <a:cubicBezTo>
                      <a:pt x="86176" y="244680"/>
                      <a:pt x="98897" y="245220"/>
                      <a:pt x="107193" y="243601"/>
                    </a:cubicBezTo>
                    <a:cubicBezTo>
                      <a:pt x="124892" y="240902"/>
                      <a:pt x="141485" y="237124"/>
                      <a:pt x="158631" y="231187"/>
                    </a:cubicBezTo>
                    <a:lnTo>
                      <a:pt x="163609" y="218234"/>
                    </a:lnTo>
                    <a:lnTo>
                      <a:pt x="160290" y="210678"/>
                    </a:lnTo>
                    <a:lnTo>
                      <a:pt x="166927" y="196645"/>
                    </a:lnTo>
                    <a:lnTo>
                      <a:pt x="207303" y="186930"/>
                    </a:lnTo>
                    <a:lnTo>
                      <a:pt x="218918" y="164801"/>
                    </a:lnTo>
                    <a:lnTo>
                      <a:pt x="249891" y="173437"/>
                    </a:lnTo>
                    <a:lnTo>
                      <a:pt x="259847" y="159944"/>
                    </a:lnTo>
                    <a:lnTo>
                      <a:pt x="271462" y="154546"/>
                    </a:lnTo>
                    <a:lnTo>
                      <a:pt x="282524" y="121084"/>
                    </a:lnTo>
                    <a:lnTo>
                      <a:pt x="297457" y="112448"/>
                    </a:lnTo>
                    <a:lnTo>
                      <a:pt x="330090" y="116766"/>
                    </a:lnTo>
                    <a:lnTo>
                      <a:pt x="360510" y="102733"/>
                    </a:lnTo>
                    <a:lnTo>
                      <a:pt x="389823" y="124862"/>
                    </a:lnTo>
                    <a:lnTo>
                      <a:pt x="413053" y="109210"/>
                    </a:lnTo>
                    <a:lnTo>
                      <a:pt x="413606" y="90319"/>
                    </a:lnTo>
                    <a:lnTo>
                      <a:pt x="423009" y="74667"/>
                    </a:lnTo>
                    <a:lnTo>
                      <a:pt x="431858" y="27712"/>
                    </a:lnTo>
                    <a:lnTo>
                      <a:pt x="390930" y="19616"/>
                    </a:lnTo>
                    <a:lnTo>
                      <a:pt x="378762" y="3424"/>
                    </a:lnTo>
                    <a:lnTo>
                      <a:pt x="348895" y="-354"/>
                    </a:lnTo>
                    <a:lnTo>
                      <a:pt x="312391" y="9361"/>
                    </a:lnTo>
                    <a:lnTo>
                      <a:pt x="302988" y="21775"/>
                    </a:lnTo>
                    <a:lnTo>
                      <a:pt x="285289" y="14218"/>
                    </a:lnTo>
                    <a:lnTo>
                      <a:pt x="270356" y="21775"/>
                    </a:lnTo>
                    <a:lnTo>
                      <a:pt x="256528" y="21235"/>
                    </a:lnTo>
                    <a:lnTo>
                      <a:pt x="245466" y="29331"/>
                    </a:lnTo>
                    <a:lnTo>
                      <a:pt x="235511" y="47681"/>
                    </a:lnTo>
                    <a:lnTo>
                      <a:pt x="217812" y="49300"/>
                    </a:lnTo>
                    <a:lnTo>
                      <a:pt x="216153" y="35807"/>
                    </a:lnTo>
                    <a:lnTo>
                      <a:pt x="211728" y="28251"/>
                    </a:lnTo>
                    <a:lnTo>
                      <a:pt x="198454" y="25013"/>
                    </a:lnTo>
                    <a:lnTo>
                      <a:pt x="181308" y="6123"/>
                    </a:lnTo>
                    <a:lnTo>
                      <a:pt x="165821" y="18536"/>
                    </a:lnTo>
                    <a:lnTo>
                      <a:pt x="163609" y="33109"/>
                    </a:lnTo>
                    <a:lnTo>
                      <a:pt x="148675" y="39046"/>
                    </a:lnTo>
                    <a:lnTo>
                      <a:pt x="147016" y="29331"/>
                    </a:lnTo>
                    <a:lnTo>
                      <a:pt x="139826" y="23933"/>
                    </a:lnTo>
                    <a:lnTo>
                      <a:pt x="133742" y="13139"/>
                    </a:lnTo>
                    <a:lnTo>
                      <a:pt x="96132" y="57396"/>
                    </a:lnTo>
                    <a:lnTo>
                      <a:pt x="90048" y="81684"/>
                    </a:lnTo>
                    <a:lnTo>
                      <a:pt x="94472" y="103812"/>
                    </a:lnTo>
                    <a:lnTo>
                      <a:pt x="93366" y="113528"/>
                    </a:lnTo>
                    <a:lnTo>
                      <a:pt x="78433" y="137275"/>
                    </a:lnTo>
                    <a:lnTo>
                      <a:pt x="65158" y="135116"/>
                    </a:lnTo>
                    <a:lnTo>
                      <a:pt x="43588" y="142133"/>
                    </a:lnTo>
                    <a:lnTo>
                      <a:pt x="3212" y="142673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3" name="Freeform 1055">
                <a:extLst>
                  <a:ext uri="{FF2B5EF4-FFF2-40B4-BE49-F238E27FC236}">
                    <a16:creationId xmlns:a16="http://schemas.microsoft.com/office/drawing/2014/main" id="{D8E91E1A-C76D-49BE-93D6-F3DCBD415221}"/>
                  </a:ext>
                </a:extLst>
              </p:cNvPr>
              <p:cNvSpPr/>
              <p:nvPr/>
            </p:nvSpPr>
            <p:spPr>
              <a:xfrm>
                <a:off x="6663478" y="4257940"/>
                <a:ext cx="260506" cy="179188"/>
              </a:xfrm>
              <a:custGeom>
                <a:avLst/>
                <a:gdLst>
                  <a:gd name="connsiteX0" fmla="*/ 133669 w 260506"/>
                  <a:gd name="connsiteY0" fmla="*/ 33605 h 179188"/>
                  <a:gd name="connsiteX1" fmla="*/ 165748 w 260506"/>
                  <a:gd name="connsiteY1" fmla="*/ 34685 h 179188"/>
                  <a:gd name="connsiteX2" fmla="*/ 173491 w 260506"/>
                  <a:gd name="connsiteY2" fmla="*/ 34145 h 179188"/>
                  <a:gd name="connsiteX3" fmla="*/ 180682 w 260506"/>
                  <a:gd name="connsiteY3" fmla="*/ 26589 h 179188"/>
                  <a:gd name="connsiteX4" fmla="*/ 193956 w 260506"/>
                  <a:gd name="connsiteY4" fmla="*/ 19573 h 179188"/>
                  <a:gd name="connsiteX5" fmla="*/ 214420 w 260506"/>
                  <a:gd name="connsiteY5" fmla="*/ 21731 h 179188"/>
                  <a:gd name="connsiteX6" fmla="*/ 210549 w 260506"/>
                  <a:gd name="connsiteY6" fmla="*/ 5540 h 179188"/>
                  <a:gd name="connsiteX7" fmla="*/ 219398 w 260506"/>
                  <a:gd name="connsiteY7" fmla="*/ 1762 h 179188"/>
                  <a:gd name="connsiteX8" fmla="*/ 238203 w 260506"/>
                  <a:gd name="connsiteY8" fmla="*/ -397 h 179188"/>
                  <a:gd name="connsiteX9" fmla="*/ 245393 w 260506"/>
                  <a:gd name="connsiteY9" fmla="*/ 19573 h 179188"/>
                  <a:gd name="connsiteX10" fmla="*/ 259774 w 260506"/>
                  <a:gd name="connsiteY10" fmla="*/ 36304 h 179188"/>
                  <a:gd name="connsiteX11" fmla="*/ 229907 w 260506"/>
                  <a:gd name="connsiteY11" fmla="*/ 57353 h 179188"/>
                  <a:gd name="connsiteX12" fmla="*/ 203912 w 260506"/>
                  <a:gd name="connsiteY12" fmla="*/ 67068 h 179188"/>
                  <a:gd name="connsiteX13" fmla="*/ 202805 w 260506"/>
                  <a:gd name="connsiteY13" fmla="*/ 110786 h 179188"/>
                  <a:gd name="connsiteX14" fmla="*/ 181788 w 260506"/>
                  <a:gd name="connsiteY14" fmla="*/ 127517 h 179188"/>
                  <a:gd name="connsiteX15" fmla="*/ 180682 w 260506"/>
                  <a:gd name="connsiteY15" fmla="*/ 152345 h 179188"/>
                  <a:gd name="connsiteX16" fmla="*/ 176257 w 260506"/>
                  <a:gd name="connsiteY16" fmla="*/ 160440 h 179188"/>
                  <a:gd name="connsiteX17" fmla="*/ 166301 w 260506"/>
                  <a:gd name="connsiteY17" fmla="*/ 165298 h 179188"/>
                  <a:gd name="connsiteX18" fmla="*/ 151368 w 260506"/>
                  <a:gd name="connsiteY18" fmla="*/ 161520 h 179188"/>
                  <a:gd name="connsiteX19" fmla="*/ 139753 w 260506"/>
                  <a:gd name="connsiteY19" fmla="*/ 165298 h 179188"/>
                  <a:gd name="connsiteX20" fmla="*/ 125926 w 260506"/>
                  <a:gd name="connsiteY20" fmla="*/ 164218 h 179188"/>
                  <a:gd name="connsiteX21" fmla="*/ 117076 w 260506"/>
                  <a:gd name="connsiteY21" fmla="*/ 146947 h 179188"/>
                  <a:gd name="connsiteX22" fmla="*/ 106567 w 260506"/>
                  <a:gd name="connsiteY22" fmla="*/ 152884 h 179188"/>
                  <a:gd name="connsiteX23" fmla="*/ 90528 w 260506"/>
                  <a:gd name="connsiteY23" fmla="*/ 168536 h 179188"/>
                  <a:gd name="connsiteX24" fmla="*/ 68957 w 260506"/>
                  <a:gd name="connsiteY24" fmla="*/ 178791 h 179188"/>
                  <a:gd name="connsiteX25" fmla="*/ 26922 w 260506"/>
                  <a:gd name="connsiteY25" fmla="*/ 178251 h 179188"/>
                  <a:gd name="connsiteX26" fmla="*/ 41302 w 260506"/>
                  <a:gd name="connsiteY26" fmla="*/ 164758 h 179188"/>
                  <a:gd name="connsiteX27" fmla="*/ 47386 w 260506"/>
                  <a:gd name="connsiteY27" fmla="*/ 165838 h 179188"/>
                  <a:gd name="connsiteX28" fmla="*/ 53471 w 260506"/>
                  <a:gd name="connsiteY28" fmla="*/ 159901 h 179188"/>
                  <a:gd name="connsiteX29" fmla="*/ 41302 w 260506"/>
                  <a:gd name="connsiteY29" fmla="*/ 145328 h 179188"/>
                  <a:gd name="connsiteX30" fmla="*/ 31347 w 260506"/>
                  <a:gd name="connsiteY30" fmla="*/ 139931 h 179188"/>
                  <a:gd name="connsiteX31" fmla="*/ 24710 w 260506"/>
                  <a:gd name="connsiteY31" fmla="*/ 130216 h 179188"/>
                  <a:gd name="connsiteX32" fmla="*/ 11436 w 260506"/>
                  <a:gd name="connsiteY32" fmla="*/ 124819 h 179188"/>
                  <a:gd name="connsiteX33" fmla="*/ 13095 w 260506"/>
                  <a:gd name="connsiteY33" fmla="*/ 116723 h 179188"/>
                  <a:gd name="connsiteX34" fmla="*/ 25816 w 260506"/>
                  <a:gd name="connsiteY34" fmla="*/ 104309 h 179188"/>
                  <a:gd name="connsiteX35" fmla="*/ 15860 w 260506"/>
                  <a:gd name="connsiteY35" fmla="*/ 98912 h 179188"/>
                  <a:gd name="connsiteX36" fmla="*/ 3139 w 260506"/>
                  <a:gd name="connsiteY36" fmla="*/ 97832 h 179188"/>
                  <a:gd name="connsiteX37" fmla="*/ -733 w 260506"/>
                  <a:gd name="connsiteY37" fmla="*/ 89197 h 179188"/>
                  <a:gd name="connsiteX38" fmla="*/ 26922 w 260506"/>
                  <a:gd name="connsiteY38" fmla="*/ 58972 h 179188"/>
                  <a:gd name="connsiteX39" fmla="*/ 97165 w 260506"/>
                  <a:gd name="connsiteY39" fmla="*/ 64909 h 179188"/>
                  <a:gd name="connsiteX40" fmla="*/ 119288 w 260506"/>
                  <a:gd name="connsiteY40" fmla="*/ 43320 h 179188"/>
                  <a:gd name="connsiteX41" fmla="*/ 129797 w 260506"/>
                  <a:gd name="connsiteY41" fmla="*/ 37923 h 179188"/>
                  <a:gd name="connsiteX42" fmla="*/ 133669 w 260506"/>
                  <a:gd name="connsiteY42" fmla="*/ 33605 h 179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260506" h="179188">
                    <a:moveTo>
                      <a:pt x="133669" y="33605"/>
                    </a:moveTo>
                    <a:cubicBezTo>
                      <a:pt x="145837" y="34685"/>
                      <a:pt x="154133" y="31986"/>
                      <a:pt x="165748" y="34685"/>
                    </a:cubicBezTo>
                    <a:lnTo>
                      <a:pt x="173491" y="34145"/>
                    </a:lnTo>
                    <a:lnTo>
                      <a:pt x="180682" y="26589"/>
                    </a:lnTo>
                    <a:lnTo>
                      <a:pt x="193956" y="19573"/>
                    </a:lnTo>
                    <a:lnTo>
                      <a:pt x="214420" y="21731"/>
                    </a:lnTo>
                    <a:lnTo>
                      <a:pt x="210549" y="5540"/>
                    </a:lnTo>
                    <a:lnTo>
                      <a:pt x="219398" y="1762"/>
                    </a:lnTo>
                    <a:lnTo>
                      <a:pt x="238203" y="-397"/>
                    </a:lnTo>
                    <a:lnTo>
                      <a:pt x="245393" y="19573"/>
                    </a:lnTo>
                    <a:lnTo>
                      <a:pt x="259774" y="36304"/>
                    </a:lnTo>
                    <a:lnTo>
                      <a:pt x="229907" y="57353"/>
                    </a:lnTo>
                    <a:lnTo>
                      <a:pt x="203912" y="67068"/>
                    </a:lnTo>
                    <a:lnTo>
                      <a:pt x="202805" y="110786"/>
                    </a:lnTo>
                    <a:lnTo>
                      <a:pt x="181788" y="127517"/>
                    </a:lnTo>
                    <a:lnTo>
                      <a:pt x="180682" y="152345"/>
                    </a:lnTo>
                    <a:lnTo>
                      <a:pt x="176257" y="160440"/>
                    </a:lnTo>
                    <a:lnTo>
                      <a:pt x="166301" y="165298"/>
                    </a:lnTo>
                    <a:lnTo>
                      <a:pt x="151368" y="161520"/>
                    </a:lnTo>
                    <a:lnTo>
                      <a:pt x="139753" y="165298"/>
                    </a:lnTo>
                    <a:lnTo>
                      <a:pt x="125926" y="164218"/>
                    </a:lnTo>
                    <a:lnTo>
                      <a:pt x="117076" y="146947"/>
                    </a:lnTo>
                    <a:lnTo>
                      <a:pt x="106567" y="152884"/>
                    </a:lnTo>
                    <a:lnTo>
                      <a:pt x="90528" y="168536"/>
                    </a:lnTo>
                    <a:lnTo>
                      <a:pt x="68957" y="178791"/>
                    </a:lnTo>
                    <a:lnTo>
                      <a:pt x="26922" y="178251"/>
                    </a:lnTo>
                    <a:cubicBezTo>
                      <a:pt x="30794" y="176632"/>
                      <a:pt x="40749" y="168536"/>
                      <a:pt x="41302" y="164758"/>
                    </a:cubicBezTo>
                    <a:lnTo>
                      <a:pt x="47386" y="165838"/>
                    </a:lnTo>
                    <a:lnTo>
                      <a:pt x="53471" y="159901"/>
                    </a:lnTo>
                    <a:lnTo>
                      <a:pt x="41302" y="145328"/>
                    </a:lnTo>
                    <a:lnTo>
                      <a:pt x="31347" y="139931"/>
                    </a:lnTo>
                    <a:lnTo>
                      <a:pt x="24710" y="130216"/>
                    </a:lnTo>
                    <a:lnTo>
                      <a:pt x="11436" y="124819"/>
                    </a:lnTo>
                    <a:lnTo>
                      <a:pt x="13095" y="116723"/>
                    </a:lnTo>
                    <a:lnTo>
                      <a:pt x="25816" y="104309"/>
                    </a:lnTo>
                    <a:lnTo>
                      <a:pt x="15860" y="98912"/>
                    </a:lnTo>
                    <a:lnTo>
                      <a:pt x="3139" y="97832"/>
                    </a:lnTo>
                    <a:lnTo>
                      <a:pt x="-733" y="89197"/>
                    </a:lnTo>
                    <a:lnTo>
                      <a:pt x="26922" y="58972"/>
                    </a:lnTo>
                    <a:lnTo>
                      <a:pt x="97165" y="64909"/>
                    </a:lnTo>
                    <a:lnTo>
                      <a:pt x="119288" y="43320"/>
                    </a:lnTo>
                    <a:lnTo>
                      <a:pt x="129797" y="37923"/>
                    </a:lnTo>
                    <a:lnTo>
                      <a:pt x="133669" y="33605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4" name="Freeform 1056">
                <a:extLst>
                  <a:ext uri="{FF2B5EF4-FFF2-40B4-BE49-F238E27FC236}">
                    <a16:creationId xmlns:a16="http://schemas.microsoft.com/office/drawing/2014/main" id="{DB6CCF5E-1978-40F6-9A9D-82B0D116FB2B}"/>
                  </a:ext>
                </a:extLst>
              </p:cNvPr>
              <p:cNvSpPr/>
              <p:nvPr/>
            </p:nvSpPr>
            <p:spPr>
              <a:xfrm>
                <a:off x="6400380" y="1631107"/>
                <a:ext cx="594952" cy="1644780"/>
              </a:xfrm>
              <a:custGeom>
                <a:avLst/>
                <a:gdLst>
                  <a:gd name="connsiteX0" fmla="*/ 501866 w 594952"/>
                  <a:gd name="connsiteY0" fmla="*/ 1376679 h 1644780"/>
                  <a:gd name="connsiteX1" fmla="*/ 486379 w 594952"/>
                  <a:gd name="connsiteY1" fmla="*/ 1395570 h 1644780"/>
                  <a:gd name="connsiteX2" fmla="*/ 482508 w 594952"/>
                  <a:gd name="connsiteY2" fmla="*/ 1417159 h 1644780"/>
                  <a:gd name="connsiteX3" fmla="*/ 476977 w 594952"/>
                  <a:gd name="connsiteY3" fmla="*/ 1421477 h 1644780"/>
                  <a:gd name="connsiteX4" fmla="*/ 473105 w 594952"/>
                  <a:gd name="connsiteY4" fmla="*/ 1420397 h 1644780"/>
                  <a:gd name="connsiteX5" fmla="*/ 471999 w 594952"/>
                  <a:gd name="connsiteY5" fmla="*/ 1403666 h 1644780"/>
                  <a:gd name="connsiteX6" fmla="*/ 464809 w 594952"/>
                  <a:gd name="connsiteY6" fmla="*/ 1391252 h 1644780"/>
                  <a:gd name="connsiteX7" fmla="*/ 463149 w 594952"/>
                  <a:gd name="connsiteY7" fmla="*/ 1369123 h 1644780"/>
                  <a:gd name="connsiteX8" fmla="*/ 460384 w 594952"/>
                  <a:gd name="connsiteY8" fmla="*/ 1354551 h 1644780"/>
                  <a:gd name="connsiteX9" fmla="*/ 464256 w 594952"/>
                  <a:gd name="connsiteY9" fmla="*/ 1339978 h 1644780"/>
                  <a:gd name="connsiteX10" fmla="*/ 482508 w 594952"/>
                  <a:gd name="connsiteY10" fmla="*/ 1311373 h 1644780"/>
                  <a:gd name="connsiteX11" fmla="*/ 484720 w 594952"/>
                  <a:gd name="connsiteY11" fmla="*/ 1309754 h 1644780"/>
                  <a:gd name="connsiteX12" fmla="*/ 490804 w 594952"/>
                  <a:gd name="connsiteY12" fmla="*/ 1305436 h 1644780"/>
                  <a:gd name="connsiteX13" fmla="*/ 499653 w 594952"/>
                  <a:gd name="connsiteY13" fmla="*/ 1307595 h 1644780"/>
                  <a:gd name="connsiteX14" fmla="*/ 504631 w 594952"/>
                  <a:gd name="connsiteY14" fmla="*/ 1304896 h 1644780"/>
                  <a:gd name="connsiteX15" fmla="*/ 512928 w 594952"/>
                  <a:gd name="connsiteY15" fmla="*/ 1307595 h 1644780"/>
                  <a:gd name="connsiteX16" fmla="*/ 512375 w 594952"/>
                  <a:gd name="connsiteY16" fmla="*/ 1314072 h 1644780"/>
                  <a:gd name="connsiteX17" fmla="*/ 501313 w 594952"/>
                  <a:gd name="connsiteY17" fmla="*/ 1331882 h 1644780"/>
                  <a:gd name="connsiteX18" fmla="*/ 504078 w 594952"/>
                  <a:gd name="connsiteY18" fmla="*/ 1351852 h 1644780"/>
                  <a:gd name="connsiteX19" fmla="*/ 511268 w 594952"/>
                  <a:gd name="connsiteY19" fmla="*/ 1362647 h 1644780"/>
                  <a:gd name="connsiteX20" fmla="*/ 501866 w 594952"/>
                  <a:gd name="connsiteY20" fmla="*/ 1376679 h 1644780"/>
                  <a:gd name="connsiteX21" fmla="*/ 522330 w 594952"/>
                  <a:gd name="connsiteY21" fmla="*/ 185510 h 1644780"/>
                  <a:gd name="connsiteX22" fmla="*/ 552750 w 594952"/>
                  <a:gd name="connsiteY22" fmla="*/ 217894 h 1644780"/>
                  <a:gd name="connsiteX23" fmla="*/ 553857 w 594952"/>
                  <a:gd name="connsiteY23" fmla="*/ 235704 h 1644780"/>
                  <a:gd name="connsiteX24" fmla="*/ 557175 w 594952"/>
                  <a:gd name="connsiteY24" fmla="*/ 246499 h 1644780"/>
                  <a:gd name="connsiteX25" fmla="*/ 552750 w 594952"/>
                  <a:gd name="connsiteY25" fmla="*/ 261071 h 1644780"/>
                  <a:gd name="connsiteX26" fmla="*/ 555516 w 594952"/>
                  <a:gd name="connsiteY26" fmla="*/ 283200 h 1644780"/>
                  <a:gd name="connsiteX27" fmla="*/ 569896 w 594952"/>
                  <a:gd name="connsiteY27" fmla="*/ 296153 h 1644780"/>
                  <a:gd name="connsiteX28" fmla="*/ 594232 w 594952"/>
                  <a:gd name="connsiteY28" fmla="*/ 335553 h 1644780"/>
                  <a:gd name="connsiteX29" fmla="*/ 569343 w 594952"/>
                  <a:gd name="connsiteY29" fmla="*/ 339871 h 1644780"/>
                  <a:gd name="connsiteX30" fmla="*/ 557728 w 594952"/>
                  <a:gd name="connsiteY30" fmla="*/ 345268 h 1644780"/>
                  <a:gd name="connsiteX31" fmla="*/ 549985 w 594952"/>
                  <a:gd name="connsiteY31" fmla="*/ 346887 h 1644780"/>
                  <a:gd name="connsiteX32" fmla="*/ 541688 w 594952"/>
                  <a:gd name="connsiteY32" fmla="*/ 353904 h 1644780"/>
                  <a:gd name="connsiteX33" fmla="*/ 520671 w 594952"/>
                  <a:gd name="connsiteY33" fmla="*/ 341490 h 1644780"/>
                  <a:gd name="connsiteX34" fmla="*/ 519565 w 594952"/>
                  <a:gd name="connsiteY34" fmla="*/ 351745 h 1644780"/>
                  <a:gd name="connsiteX35" fmla="*/ 509609 w 594952"/>
                  <a:gd name="connsiteY35" fmla="*/ 349046 h 1644780"/>
                  <a:gd name="connsiteX36" fmla="*/ 507950 w 594952"/>
                  <a:gd name="connsiteY36" fmla="*/ 350126 h 1644780"/>
                  <a:gd name="connsiteX37" fmla="*/ 508503 w 594952"/>
                  <a:gd name="connsiteY37" fmla="*/ 366317 h 1644780"/>
                  <a:gd name="connsiteX38" fmla="*/ 515693 w 594952"/>
                  <a:gd name="connsiteY38" fmla="*/ 382509 h 1644780"/>
                  <a:gd name="connsiteX39" fmla="*/ 500207 w 594952"/>
                  <a:gd name="connsiteY39" fmla="*/ 384128 h 1644780"/>
                  <a:gd name="connsiteX40" fmla="*/ 497441 w 594952"/>
                  <a:gd name="connsiteY40" fmla="*/ 391145 h 1644780"/>
                  <a:gd name="connsiteX41" fmla="*/ 493016 w 594952"/>
                  <a:gd name="connsiteY41" fmla="*/ 392764 h 1644780"/>
                  <a:gd name="connsiteX42" fmla="*/ 494123 w 594952"/>
                  <a:gd name="connsiteY42" fmla="*/ 400320 h 1644780"/>
                  <a:gd name="connsiteX43" fmla="*/ 478083 w 594952"/>
                  <a:gd name="connsiteY43" fmla="*/ 408956 h 1644780"/>
                  <a:gd name="connsiteX44" fmla="*/ 477530 w 594952"/>
                  <a:gd name="connsiteY44" fmla="*/ 410575 h 1644780"/>
                  <a:gd name="connsiteX45" fmla="*/ 489145 w 594952"/>
                  <a:gd name="connsiteY45" fmla="*/ 428386 h 1644780"/>
                  <a:gd name="connsiteX46" fmla="*/ 484720 w 594952"/>
                  <a:gd name="connsiteY46" fmla="*/ 458070 h 1644780"/>
                  <a:gd name="connsiteX47" fmla="*/ 478636 w 594952"/>
                  <a:gd name="connsiteY47" fmla="*/ 471563 h 1644780"/>
                  <a:gd name="connsiteX48" fmla="*/ 475317 w 594952"/>
                  <a:gd name="connsiteY48" fmla="*/ 475342 h 1644780"/>
                  <a:gd name="connsiteX49" fmla="*/ 479189 w 594952"/>
                  <a:gd name="connsiteY49" fmla="*/ 483437 h 1644780"/>
                  <a:gd name="connsiteX50" fmla="*/ 477530 w 594952"/>
                  <a:gd name="connsiteY50" fmla="*/ 494772 h 1644780"/>
                  <a:gd name="connsiteX51" fmla="*/ 488592 w 594952"/>
                  <a:gd name="connsiteY51" fmla="*/ 503947 h 1644780"/>
                  <a:gd name="connsiteX52" fmla="*/ 498547 w 594952"/>
                  <a:gd name="connsiteY52" fmla="*/ 505026 h 1644780"/>
                  <a:gd name="connsiteX53" fmla="*/ 502419 w 594952"/>
                  <a:gd name="connsiteY53" fmla="*/ 518519 h 1644780"/>
                  <a:gd name="connsiteX54" fmla="*/ 506844 w 594952"/>
                  <a:gd name="connsiteY54" fmla="*/ 522297 h 1644780"/>
                  <a:gd name="connsiteX55" fmla="*/ 506291 w 594952"/>
                  <a:gd name="connsiteY55" fmla="*/ 524996 h 1644780"/>
                  <a:gd name="connsiteX56" fmla="*/ 487485 w 594952"/>
                  <a:gd name="connsiteY56" fmla="*/ 550903 h 1644780"/>
                  <a:gd name="connsiteX57" fmla="*/ 470340 w 594952"/>
                  <a:gd name="connsiteY57" fmla="*/ 601637 h 1644780"/>
                  <a:gd name="connsiteX58" fmla="*/ 456512 w 594952"/>
                  <a:gd name="connsiteY58" fmla="*/ 613511 h 1644780"/>
                  <a:gd name="connsiteX59" fmla="*/ 453747 w 594952"/>
                  <a:gd name="connsiteY59" fmla="*/ 617289 h 1644780"/>
                  <a:gd name="connsiteX60" fmla="*/ 446557 w 594952"/>
                  <a:gd name="connsiteY60" fmla="*/ 623765 h 1644780"/>
                  <a:gd name="connsiteX61" fmla="*/ 428858 w 594952"/>
                  <a:gd name="connsiteY61" fmla="*/ 650212 h 1644780"/>
                  <a:gd name="connsiteX62" fmla="*/ 418902 w 594952"/>
                  <a:gd name="connsiteY62" fmla="*/ 646434 h 1644780"/>
                  <a:gd name="connsiteX63" fmla="*/ 414477 w 594952"/>
                  <a:gd name="connsiteY63" fmla="*/ 653990 h 1644780"/>
                  <a:gd name="connsiteX64" fmla="*/ 406181 w 594952"/>
                  <a:gd name="connsiteY64" fmla="*/ 679357 h 1644780"/>
                  <a:gd name="connsiteX65" fmla="*/ 394013 w 594952"/>
                  <a:gd name="connsiteY65" fmla="*/ 679357 h 1644780"/>
                  <a:gd name="connsiteX66" fmla="*/ 373548 w 594952"/>
                  <a:gd name="connsiteY66" fmla="*/ 713899 h 1644780"/>
                  <a:gd name="connsiteX67" fmla="*/ 375761 w 594952"/>
                  <a:gd name="connsiteY67" fmla="*/ 717138 h 1644780"/>
                  <a:gd name="connsiteX68" fmla="*/ 353637 w 594952"/>
                  <a:gd name="connsiteY68" fmla="*/ 739266 h 1644780"/>
                  <a:gd name="connsiteX69" fmla="*/ 357509 w 594952"/>
                  <a:gd name="connsiteY69" fmla="*/ 752220 h 1644780"/>
                  <a:gd name="connsiteX70" fmla="*/ 334832 w 594952"/>
                  <a:gd name="connsiteY70" fmla="*/ 780825 h 1644780"/>
                  <a:gd name="connsiteX71" fmla="*/ 324323 w 594952"/>
                  <a:gd name="connsiteY71" fmla="*/ 774888 h 1644780"/>
                  <a:gd name="connsiteX72" fmla="*/ 319899 w 594952"/>
                  <a:gd name="connsiteY72" fmla="*/ 781365 h 1644780"/>
                  <a:gd name="connsiteX73" fmla="*/ 318239 w 594952"/>
                  <a:gd name="connsiteY73" fmla="*/ 785682 h 1644780"/>
                  <a:gd name="connsiteX74" fmla="*/ 333173 w 594952"/>
                  <a:gd name="connsiteY74" fmla="*/ 806732 h 1644780"/>
                  <a:gd name="connsiteX75" fmla="*/ 339810 w 594952"/>
                  <a:gd name="connsiteY75" fmla="*/ 812129 h 1644780"/>
                  <a:gd name="connsiteX76" fmla="*/ 340363 w 594952"/>
                  <a:gd name="connsiteY76" fmla="*/ 814288 h 1644780"/>
                  <a:gd name="connsiteX77" fmla="*/ 338704 w 594952"/>
                  <a:gd name="connsiteY77" fmla="*/ 817526 h 1644780"/>
                  <a:gd name="connsiteX78" fmla="*/ 332620 w 594952"/>
                  <a:gd name="connsiteY78" fmla="*/ 845052 h 1644780"/>
                  <a:gd name="connsiteX79" fmla="*/ 337044 w 594952"/>
                  <a:gd name="connsiteY79" fmla="*/ 860164 h 1644780"/>
                  <a:gd name="connsiteX80" fmla="*/ 342022 w 594952"/>
                  <a:gd name="connsiteY80" fmla="*/ 877975 h 1644780"/>
                  <a:gd name="connsiteX81" fmla="*/ 327089 w 594952"/>
                  <a:gd name="connsiteY81" fmla="*/ 878515 h 1644780"/>
                  <a:gd name="connsiteX82" fmla="*/ 325429 w 594952"/>
                  <a:gd name="connsiteY82" fmla="*/ 890928 h 1644780"/>
                  <a:gd name="connsiteX83" fmla="*/ 334832 w 594952"/>
                  <a:gd name="connsiteY83" fmla="*/ 915756 h 1644780"/>
                  <a:gd name="connsiteX84" fmla="*/ 340916 w 594952"/>
                  <a:gd name="connsiteY84" fmla="*/ 963251 h 1644780"/>
                  <a:gd name="connsiteX85" fmla="*/ 350872 w 594952"/>
                  <a:gd name="connsiteY85" fmla="*/ 977824 h 1644780"/>
                  <a:gd name="connsiteX86" fmla="*/ 347553 w 594952"/>
                  <a:gd name="connsiteY86" fmla="*/ 988618 h 1644780"/>
                  <a:gd name="connsiteX87" fmla="*/ 364699 w 594952"/>
                  <a:gd name="connsiteY87" fmla="*/ 999953 h 1644780"/>
                  <a:gd name="connsiteX88" fmla="*/ 372995 w 594952"/>
                  <a:gd name="connsiteY88" fmla="*/ 999413 h 1644780"/>
                  <a:gd name="connsiteX89" fmla="*/ 380186 w 594952"/>
                  <a:gd name="connsiteY89" fmla="*/ 1007509 h 1644780"/>
                  <a:gd name="connsiteX90" fmla="*/ 387376 w 594952"/>
                  <a:gd name="connsiteY90" fmla="*/ 999953 h 1644780"/>
                  <a:gd name="connsiteX91" fmla="*/ 392907 w 594952"/>
                  <a:gd name="connsiteY91" fmla="*/ 999953 h 1644780"/>
                  <a:gd name="connsiteX92" fmla="*/ 398438 w 594952"/>
                  <a:gd name="connsiteY92" fmla="*/ 1008048 h 1644780"/>
                  <a:gd name="connsiteX93" fmla="*/ 407287 w 594952"/>
                  <a:gd name="connsiteY93" fmla="*/ 1015605 h 1644780"/>
                  <a:gd name="connsiteX94" fmla="*/ 411159 w 594952"/>
                  <a:gd name="connsiteY94" fmla="*/ 1023161 h 1644780"/>
                  <a:gd name="connsiteX95" fmla="*/ 429964 w 594952"/>
                  <a:gd name="connsiteY95" fmla="*/ 1032336 h 1644780"/>
                  <a:gd name="connsiteX96" fmla="*/ 431070 w 594952"/>
                  <a:gd name="connsiteY96" fmla="*/ 1042591 h 1644780"/>
                  <a:gd name="connsiteX97" fmla="*/ 449322 w 594952"/>
                  <a:gd name="connsiteY97" fmla="*/ 1051226 h 1644780"/>
                  <a:gd name="connsiteX98" fmla="*/ 450428 w 594952"/>
                  <a:gd name="connsiteY98" fmla="*/ 1050147 h 1644780"/>
                  <a:gd name="connsiteX99" fmla="*/ 451534 w 594952"/>
                  <a:gd name="connsiteY99" fmla="*/ 1047448 h 1644780"/>
                  <a:gd name="connsiteX100" fmla="*/ 456512 w 594952"/>
                  <a:gd name="connsiteY100" fmla="*/ 1046909 h 1644780"/>
                  <a:gd name="connsiteX101" fmla="*/ 460384 w 594952"/>
                  <a:gd name="connsiteY101" fmla="*/ 1058243 h 1644780"/>
                  <a:gd name="connsiteX102" fmla="*/ 470340 w 594952"/>
                  <a:gd name="connsiteY102" fmla="*/ 1068497 h 1644780"/>
                  <a:gd name="connsiteX103" fmla="*/ 470340 w 594952"/>
                  <a:gd name="connsiteY103" fmla="*/ 1070117 h 1644780"/>
                  <a:gd name="connsiteX104" fmla="*/ 458725 w 594952"/>
                  <a:gd name="connsiteY104" fmla="*/ 1081451 h 1644780"/>
                  <a:gd name="connsiteX105" fmla="*/ 471446 w 594952"/>
                  <a:gd name="connsiteY105" fmla="*/ 1083070 h 1644780"/>
                  <a:gd name="connsiteX106" fmla="*/ 472552 w 594952"/>
                  <a:gd name="connsiteY106" fmla="*/ 1084689 h 1644780"/>
                  <a:gd name="connsiteX107" fmla="*/ 471446 w 594952"/>
                  <a:gd name="connsiteY107" fmla="*/ 1086848 h 1644780"/>
                  <a:gd name="connsiteX108" fmla="*/ 455406 w 594952"/>
                  <a:gd name="connsiteY108" fmla="*/ 1097643 h 1644780"/>
                  <a:gd name="connsiteX109" fmla="*/ 434942 w 594952"/>
                  <a:gd name="connsiteY109" fmla="*/ 1121930 h 1644780"/>
                  <a:gd name="connsiteX110" fmla="*/ 425539 w 594952"/>
                  <a:gd name="connsiteY110" fmla="*/ 1126788 h 1644780"/>
                  <a:gd name="connsiteX111" fmla="*/ 417796 w 594952"/>
                  <a:gd name="connsiteY111" fmla="*/ 1134344 h 1644780"/>
                  <a:gd name="connsiteX112" fmla="*/ 412265 w 594952"/>
                  <a:gd name="connsiteY112" fmla="*/ 1136503 h 1644780"/>
                  <a:gd name="connsiteX113" fmla="*/ 403969 w 594952"/>
                  <a:gd name="connsiteY113" fmla="*/ 1134883 h 1644780"/>
                  <a:gd name="connsiteX114" fmla="*/ 401756 w 594952"/>
                  <a:gd name="connsiteY114" fmla="*/ 1132185 h 1644780"/>
                  <a:gd name="connsiteX115" fmla="*/ 394013 w 594952"/>
                  <a:gd name="connsiteY115" fmla="*/ 1107358 h 1644780"/>
                  <a:gd name="connsiteX116" fmla="*/ 392354 w 594952"/>
                  <a:gd name="connsiteY116" fmla="*/ 1107897 h 1644780"/>
                  <a:gd name="connsiteX117" fmla="*/ 392354 w 594952"/>
                  <a:gd name="connsiteY117" fmla="*/ 1125708 h 1644780"/>
                  <a:gd name="connsiteX118" fmla="*/ 390141 w 594952"/>
                  <a:gd name="connsiteY118" fmla="*/ 1127327 h 1644780"/>
                  <a:gd name="connsiteX119" fmla="*/ 385163 w 594952"/>
                  <a:gd name="connsiteY119" fmla="*/ 1124629 h 1644780"/>
                  <a:gd name="connsiteX120" fmla="*/ 374102 w 594952"/>
                  <a:gd name="connsiteY120" fmla="*/ 1128407 h 1644780"/>
                  <a:gd name="connsiteX121" fmla="*/ 361380 w 594952"/>
                  <a:gd name="connsiteY121" fmla="*/ 1124629 h 1644780"/>
                  <a:gd name="connsiteX122" fmla="*/ 356956 w 594952"/>
                  <a:gd name="connsiteY122" fmla="*/ 1125168 h 1644780"/>
                  <a:gd name="connsiteX123" fmla="*/ 345341 w 594952"/>
                  <a:gd name="connsiteY123" fmla="*/ 1127327 h 1644780"/>
                  <a:gd name="connsiteX124" fmla="*/ 328195 w 594952"/>
                  <a:gd name="connsiteY124" fmla="*/ 1126788 h 1644780"/>
                  <a:gd name="connsiteX125" fmla="*/ 308284 w 594952"/>
                  <a:gd name="connsiteY125" fmla="*/ 1136503 h 1644780"/>
                  <a:gd name="connsiteX126" fmla="*/ 295009 w 594952"/>
                  <a:gd name="connsiteY126" fmla="*/ 1138122 h 1644780"/>
                  <a:gd name="connsiteX127" fmla="*/ 294456 w 594952"/>
                  <a:gd name="connsiteY127" fmla="*/ 1139201 h 1644780"/>
                  <a:gd name="connsiteX128" fmla="*/ 295563 w 594952"/>
                  <a:gd name="connsiteY128" fmla="*/ 1140820 h 1644780"/>
                  <a:gd name="connsiteX129" fmla="*/ 304412 w 594952"/>
                  <a:gd name="connsiteY129" fmla="*/ 1142440 h 1644780"/>
                  <a:gd name="connsiteX130" fmla="*/ 314368 w 594952"/>
                  <a:gd name="connsiteY130" fmla="*/ 1145138 h 1644780"/>
                  <a:gd name="connsiteX131" fmla="*/ 329854 w 594952"/>
                  <a:gd name="connsiteY131" fmla="*/ 1141900 h 1644780"/>
                  <a:gd name="connsiteX132" fmla="*/ 339810 w 594952"/>
                  <a:gd name="connsiteY132" fmla="*/ 1142440 h 1644780"/>
                  <a:gd name="connsiteX133" fmla="*/ 340916 w 594952"/>
                  <a:gd name="connsiteY133" fmla="*/ 1137582 h 1644780"/>
                  <a:gd name="connsiteX134" fmla="*/ 350319 w 594952"/>
                  <a:gd name="connsiteY134" fmla="*/ 1138122 h 1644780"/>
                  <a:gd name="connsiteX135" fmla="*/ 360827 w 594952"/>
                  <a:gd name="connsiteY135" fmla="*/ 1145678 h 1644780"/>
                  <a:gd name="connsiteX136" fmla="*/ 372442 w 594952"/>
                  <a:gd name="connsiteY136" fmla="*/ 1147837 h 1644780"/>
                  <a:gd name="connsiteX137" fmla="*/ 374655 w 594952"/>
                  <a:gd name="connsiteY137" fmla="*/ 1155933 h 1644780"/>
                  <a:gd name="connsiteX138" fmla="*/ 378526 w 594952"/>
                  <a:gd name="connsiteY138" fmla="*/ 1157012 h 1644780"/>
                  <a:gd name="connsiteX139" fmla="*/ 387376 w 594952"/>
                  <a:gd name="connsiteY139" fmla="*/ 1154853 h 1644780"/>
                  <a:gd name="connsiteX140" fmla="*/ 407287 w 594952"/>
                  <a:gd name="connsiteY140" fmla="*/ 1155933 h 1644780"/>
                  <a:gd name="connsiteX141" fmla="*/ 413371 w 594952"/>
                  <a:gd name="connsiteY141" fmla="*/ 1150535 h 1644780"/>
                  <a:gd name="connsiteX142" fmla="*/ 439920 w 594952"/>
                  <a:gd name="connsiteY142" fmla="*/ 1137042 h 1644780"/>
                  <a:gd name="connsiteX143" fmla="*/ 446557 w 594952"/>
                  <a:gd name="connsiteY143" fmla="*/ 1130026 h 1644780"/>
                  <a:gd name="connsiteX144" fmla="*/ 449875 w 594952"/>
                  <a:gd name="connsiteY144" fmla="*/ 1130026 h 1644780"/>
                  <a:gd name="connsiteX145" fmla="*/ 452641 w 594952"/>
                  <a:gd name="connsiteY145" fmla="*/ 1141900 h 1644780"/>
                  <a:gd name="connsiteX146" fmla="*/ 439366 w 594952"/>
                  <a:gd name="connsiteY146" fmla="*/ 1144059 h 1644780"/>
                  <a:gd name="connsiteX147" fmla="*/ 445450 w 594952"/>
                  <a:gd name="connsiteY147" fmla="*/ 1158631 h 1644780"/>
                  <a:gd name="connsiteX148" fmla="*/ 432176 w 594952"/>
                  <a:gd name="connsiteY148" fmla="*/ 1168886 h 1644780"/>
                  <a:gd name="connsiteX149" fmla="*/ 422221 w 594952"/>
                  <a:gd name="connsiteY149" fmla="*/ 1193174 h 1644780"/>
                  <a:gd name="connsiteX150" fmla="*/ 420561 w 594952"/>
                  <a:gd name="connsiteY150" fmla="*/ 1193713 h 1644780"/>
                  <a:gd name="connsiteX151" fmla="*/ 408393 w 594952"/>
                  <a:gd name="connsiteY151" fmla="*/ 1180760 h 1644780"/>
                  <a:gd name="connsiteX152" fmla="*/ 405075 w 594952"/>
                  <a:gd name="connsiteY152" fmla="*/ 1181300 h 1644780"/>
                  <a:gd name="connsiteX153" fmla="*/ 403415 w 594952"/>
                  <a:gd name="connsiteY153" fmla="*/ 1189935 h 1644780"/>
                  <a:gd name="connsiteX154" fmla="*/ 390141 w 594952"/>
                  <a:gd name="connsiteY154" fmla="*/ 1208826 h 1644780"/>
                  <a:gd name="connsiteX155" fmla="*/ 386823 w 594952"/>
                  <a:gd name="connsiteY155" fmla="*/ 1212604 h 1644780"/>
                  <a:gd name="connsiteX156" fmla="*/ 375208 w 594952"/>
                  <a:gd name="connsiteY156" fmla="*/ 1214223 h 1644780"/>
                  <a:gd name="connsiteX157" fmla="*/ 374102 w 594952"/>
                  <a:gd name="connsiteY157" fmla="*/ 1226097 h 1644780"/>
                  <a:gd name="connsiteX158" fmla="*/ 353637 w 594952"/>
                  <a:gd name="connsiteY158" fmla="*/ 1233653 h 1644780"/>
                  <a:gd name="connsiteX159" fmla="*/ 360274 w 594952"/>
                  <a:gd name="connsiteY159" fmla="*/ 1253623 h 1644780"/>
                  <a:gd name="connsiteX160" fmla="*/ 355296 w 594952"/>
                  <a:gd name="connsiteY160" fmla="*/ 1257401 h 1644780"/>
                  <a:gd name="connsiteX161" fmla="*/ 358615 w 594952"/>
                  <a:gd name="connsiteY161" fmla="*/ 1274672 h 1644780"/>
                  <a:gd name="connsiteX162" fmla="*/ 363593 w 594952"/>
                  <a:gd name="connsiteY162" fmla="*/ 1282228 h 1644780"/>
                  <a:gd name="connsiteX163" fmla="*/ 358615 w 594952"/>
                  <a:gd name="connsiteY163" fmla="*/ 1297880 h 1644780"/>
                  <a:gd name="connsiteX164" fmla="*/ 363593 w 594952"/>
                  <a:gd name="connsiteY164" fmla="*/ 1311373 h 1644780"/>
                  <a:gd name="connsiteX165" fmla="*/ 359721 w 594952"/>
                  <a:gd name="connsiteY165" fmla="*/ 1329184 h 1644780"/>
                  <a:gd name="connsiteX166" fmla="*/ 364146 w 594952"/>
                  <a:gd name="connsiteY166" fmla="*/ 1343217 h 1644780"/>
                  <a:gd name="connsiteX167" fmla="*/ 360274 w 594952"/>
                  <a:gd name="connsiteY167" fmla="*/ 1356710 h 1644780"/>
                  <a:gd name="connsiteX168" fmla="*/ 365805 w 594952"/>
                  <a:gd name="connsiteY168" fmla="*/ 1384236 h 1644780"/>
                  <a:gd name="connsiteX169" fmla="*/ 361380 w 594952"/>
                  <a:gd name="connsiteY169" fmla="*/ 1391252 h 1644780"/>
                  <a:gd name="connsiteX170" fmla="*/ 363040 w 594952"/>
                  <a:gd name="connsiteY170" fmla="*/ 1406904 h 1644780"/>
                  <a:gd name="connsiteX171" fmla="*/ 361380 w 594952"/>
                  <a:gd name="connsiteY171" fmla="*/ 1415540 h 1644780"/>
                  <a:gd name="connsiteX172" fmla="*/ 365252 w 594952"/>
                  <a:gd name="connsiteY172" fmla="*/ 1420397 h 1644780"/>
                  <a:gd name="connsiteX173" fmla="*/ 364146 w 594952"/>
                  <a:gd name="connsiteY173" fmla="*/ 1423096 h 1644780"/>
                  <a:gd name="connsiteX174" fmla="*/ 358615 w 594952"/>
                  <a:gd name="connsiteY174" fmla="*/ 1425255 h 1644780"/>
                  <a:gd name="connsiteX175" fmla="*/ 359721 w 594952"/>
                  <a:gd name="connsiteY175" fmla="*/ 1450082 h 1644780"/>
                  <a:gd name="connsiteX176" fmla="*/ 344788 w 594952"/>
                  <a:gd name="connsiteY176" fmla="*/ 1495419 h 1644780"/>
                  <a:gd name="connsiteX177" fmla="*/ 342022 w 594952"/>
                  <a:gd name="connsiteY177" fmla="*/ 1510531 h 1644780"/>
                  <a:gd name="connsiteX178" fmla="*/ 337044 w 594952"/>
                  <a:gd name="connsiteY178" fmla="*/ 1537517 h 1644780"/>
                  <a:gd name="connsiteX179" fmla="*/ 334832 w 594952"/>
                  <a:gd name="connsiteY179" fmla="*/ 1539676 h 1644780"/>
                  <a:gd name="connsiteX180" fmla="*/ 325983 w 594952"/>
                  <a:gd name="connsiteY180" fmla="*/ 1530501 h 1644780"/>
                  <a:gd name="connsiteX181" fmla="*/ 293903 w 594952"/>
                  <a:gd name="connsiteY181" fmla="*/ 1538057 h 1644780"/>
                  <a:gd name="connsiteX182" fmla="*/ 259612 w 594952"/>
                  <a:gd name="connsiteY182" fmla="*/ 1541835 h 1644780"/>
                  <a:gd name="connsiteX183" fmla="*/ 255187 w 594952"/>
                  <a:gd name="connsiteY183" fmla="*/ 1555328 h 1644780"/>
                  <a:gd name="connsiteX184" fmla="*/ 246890 w 594952"/>
                  <a:gd name="connsiteY184" fmla="*/ 1555328 h 1644780"/>
                  <a:gd name="connsiteX185" fmla="*/ 229191 w 594952"/>
                  <a:gd name="connsiteY185" fmla="*/ 1582854 h 1644780"/>
                  <a:gd name="connsiteX186" fmla="*/ 234722 w 594952"/>
                  <a:gd name="connsiteY186" fmla="*/ 1625492 h 1644780"/>
                  <a:gd name="connsiteX187" fmla="*/ 227532 w 594952"/>
                  <a:gd name="connsiteY187" fmla="*/ 1632508 h 1644780"/>
                  <a:gd name="connsiteX188" fmla="*/ 212599 w 594952"/>
                  <a:gd name="connsiteY188" fmla="*/ 1630349 h 1644780"/>
                  <a:gd name="connsiteX189" fmla="*/ 178860 w 594952"/>
                  <a:gd name="connsiteY189" fmla="*/ 1644382 h 1644780"/>
                  <a:gd name="connsiteX190" fmla="*/ 142909 w 594952"/>
                  <a:gd name="connsiteY190" fmla="*/ 1640064 h 1644780"/>
                  <a:gd name="connsiteX191" fmla="*/ 147887 w 594952"/>
                  <a:gd name="connsiteY191" fmla="*/ 1626032 h 1644780"/>
                  <a:gd name="connsiteX192" fmla="*/ 147887 w 594952"/>
                  <a:gd name="connsiteY192" fmla="*/ 1606062 h 1644780"/>
                  <a:gd name="connsiteX193" fmla="*/ 139037 w 594952"/>
                  <a:gd name="connsiteY193" fmla="*/ 1595807 h 1644780"/>
                  <a:gd name="connsiteX194" fmla="*/ 134613 w 594952"/>
                  <a:gd name="connsiteY194" fmla="*/ 1585013 h 1644780"/>
                  <a:gd name="connsiteX195" fmla="*/ 127423 w 594952"/>
                  <a:gd name="connsiteY195" fmla="*/ 1574758 h 1644780"/>
                  <a:gd name="connsiteX196" fmla="*/ 104193 w 594952"/>
                  <a:gd name="connsiteY196" fmla="*/ 1552090 h 1644780"/>
                  <a:gd name="connsiteX197" fmla="*/ 103640 w 594952"/>
                  <a:gd name="connsiteY197" fmla="*/ 1541835 h 1644780"/>
                  <a:gd name="connsiteX198" fmla="*/ 105852 w 594952"/>
                  <a:gd name="connsiteY198" fmla="*/ 1540755 h 1644780"/>
                  <a:gd name="connsiteX199" fmla="*/ 123551 w 594952"/>
                  <a:gd name="connsiteY199" fmla="*/ 1546153 h 1644780"/>
                  <a:gd name="connsiteX200" fmla="*/ 125210 w 594952"/>
                  <a:gd name="connsiteY200" fmla="*/ 1545073 h 1644780"/>
                  <a:gd name="connsiteX201" fmla="*/ 118573 w 594952"/>
                  <a:gd name="connsiteY201" fmla="*/ 1521325 h 1644780"/>
                  <a:gd name="connsiteX202" fmla="*/ 130188 w 594952"/>
                  <a:gd name="connsiteY202" fmla="*/ 1515928 h 1644780"/>
                  <a:gd name="connsiteX203" fmla="*/ 132400 w 594952"/>
                  <a:gd name="connsiteY203" fmla="*/ 1508912 h 1644780"/>
                  <a:gd name="connsiteX204" fmla="*/ 133507 w 594952"/>
                  <a:gd name="connsiteY204" fmla="*/ 1498117 h 1644780"/>
                  <a:gd name="connsiteX205" fmla="*/ 119126 w 594952"/>
                  <a:gd name="connsiteY205" fmla="*/ 1493260 h 1644780"/>
                  <a:gd name="connsiteX206" fmla="*/ 108617 w 594952"/>
                  <a:gd name="connsiteY206" fmla="*/ 1470591 h 1644780"/>
                  <a:gd name="connsiteX207" fmla="*/ 93131 w 594952"/>
                  <a:gd name="connsiteY207" fmla="*/ 1460337 h 1644780"/>
                  <a:gd name="connsiteX208" fmla="*/ 84834 w 594952"/>
                  <a:gd name="connsiteY208" fmla="*/ 1440367 h 1644780"/>
                  <a:gd name="connsiteX209" fmla="*/ 78750 w 594952"/>
                  <a:gd name="connsiteY209" fmla="*/ 1429033 h 1644780"/>
                  <a:gd name="connsiteX210" fmla="*/ 73773 w 594952"/>
                  <a:gd name="connsiteY210" fmla="*/ 1412841 h 1644780"/>
                  <a:gd name="connsiteX211" fmla="*/ 68242 w 594952"/>
                  <a:gd name="connsiteY211" fmla="*/ 1413381 h 1644780"/>
                  <a:gd name="connsiteX212" fmla="*/ 59945 w 594952"/>
                  <a:gd name="connsiteY212" fmla="*/ 1416079 h 1644780"/>
                  <a:gd name="connsiteX213" fmla="*/ 54414 w 594952"/>
                  <a:gd name="connsiteY213" fmla="*/ 1380458 h 1644780"/>
                  <a:gd name="connsiteX214" fmla="*/ 49437 w 594952"/>
                  <a:gd name="connsiteY214" fmla="*/ 1376140 h 1644780"/>
                  <a:gd name="connsiteX215" fmla="*/ 43906 w 594952"/>
                  <a:gd name="connsiteY215" fmla="*/ 1376140 h 1644780"/>
                  <a:gd name="connsiteX216" fmla="*/ 45565 w 594952"/>
                  <a:gd name="connsiteY216" fmla="*/ 1362647 h 1644780"/>
                  <a:gd name="connsiteX217" fmla="*/ 42799 w 594952"/>
                  <a:gd name="connsiteY217" fmla="*/ 1356710 h 1644780"/>
                  <a:gd name="connsiteX218" fmla="*/ 49437 w 594952"/>
                  <a:gd name="connsiteY218" fmla="*/ 1336200 h 1644780"/>
                  <a:gd name="connsiteX219" fmla="*/ 47777 w 594952"/>
                  <a:gd name="connsiteY219" fmla="*/ 1299499 h 1644780"/>
                  <a:gd name="connsiteX220" fmla="*/ 28419 w 594952"/>
                  <a:gd name="connsiteY220" fmla="*/ 1305436 h 1644780"/>
                  <a:gd name="connsiteX221" fmla="*/ 24547 w 594952"/>
                  <a:gd name="connsiteY221" fmla="*/ 1297340 h 1644780"/>
                  <a:gd name="connsiteX222" fmla="*/ 12379 w 594952"/>
                  <a:gd name="connsiteY222" fmla="*/ 1293022 h 1644780"/>
                  <a:gd name="connsiteX223" fmla="*/ 8508 w 594952"/>
                  <a:gd name="connsiteY223" fmla="*/ 1266036 h 1644780"/>
                  <a:gd name="connsiteX224" fmla="*/ 8508 w 594952"/>
                  <a:gd name="connsiteY224" fmla="*/ 1262798 h 1644780"/>
                  <a:gd name="connsiteX225" fmla="*/ -342 w 594952"/>
                  <a:gd name="connsiteY225" fmla="*/ 1228256 h 1644780"/>
                  <a:gd name="connsiteX226" fmla="*/ 3530 w 594952"/>
                  <a:gd name="connsiteY226" fmla="*/ 1211524 h 1644780"/>
                  <a:gd name="connsiteX227" fmla="*/ 11273 w 594952"/>
                  <a:gd name="connsiteY227" fmla="*/ 1214223 h 1644780"/>
                  <a:gd name="connsiteX228" fmla="*/ 12379 w 594952"/>
                  <a:gd name="connsiteY228" fmla="*/ 1236351 h 1644780"/>
                  <a:gd name="connsiteX229" fmla="*/ 19016 w 594952"/>
                  <a:gd name="connsiteY229" fmla="*/ 1237971 h 1644780"/>
                  <a:gd name="connsiteX230" fmla="*/ 25100 w 594952"/>
                  <a:gd name="connsiteY230" fmla="*/ 1236351 h 1644780"/>
                  <a:gd name="connsiteX231" fmla="*/ 37269 w 594952"/>
                  <a:gd name="connsiteY231" fmla="*/ 1191554 h 1644780"/>
                  <a:gd name="connsiteX232" fmla="*/ 28419 w 594952"/>
                  <a:gd name="connsiteY232" fmla="*/ 1152155 h 1644780"/>
                  <a:gd name="connsiteX233" fmla="*/ 38928 w 594952"/>
                  <a:gd name="connsiteY233" fmla="*/ 1142440 h 1644780"/>
                  <a:gd name="connsiteX234" fmla="*/ 36162 w 594952"/>
                  <a:gd name="connsiteY234" fmla="*/ 1121930 h 1644780"/>
                  <a:gd name="connsiteX235" fmla="*/ 55521 w 594952"/>
                  <a:gd name="connsiteY235" fmla="*/ 1117073 h 1644780"/>
                  <a:gd name="connsiteX236" fmla="*/ 68242 w 594952"/>
                  <a:gd name="connsiteY236" fmla="*/ 1097643 h 1644780"/>
                  <a:gd name="connsiteX237" fmla="*/ 69348 w 594952"/>
                  <a:gd name="connsiteY237" fmla="*/ 1072276 h 1644780"/>
                  <a:gd name="connsiteX238" fmla="*/ 75985 w 594952"/>
                  <a:gd name="connsiteY238" fmla="*/ 1049067 h 1644780"/>
                  <a:gd name="connsiteX239" fmla="*/ 47777 w 594952"/>
                  <a:gd name="connsiteY239" fmla="*/ 989698 h 1644780"/>
                  <a:gd name="connsiteX240" fmla="*/ 57180 w 594952"/>
                  <a:gd name="connsiteY240" fmla="*/ 981062 h 1644780"/>
                  <a:gd name="connsiteX241" fmla="*/ 67689 w 594952"/>
                  <a:gd name="connsiteY241" fmla="*/ 981062 h 1644780"/>
                  <a:gd name="connsiteX242" fmla="*/ 78750 w 594952"/>
                  <a:gd name="connsiteY242" fmla="*/ 949219 h 1644780"/>
                  <a:gd name="connsiteX243" fmla="*/ 75985 w 594952"/>
                  <a:gd name="connsiteY243" fmla="*/ 935726 h 1644780"/>
                  <a:gd name="connsiteX244" fmla="*/ 36715 w 594952"/>
                  <a:gd name="connsiteY244" fmla="*/ 902802 h 1644780"/>
                  <a:gd name="connsiteX245" fmla="*/ 41693 w 594952"/>
                  <a:gd name="connsiteY245" fmla="*/ 840734 h 1644780"/>
                  <a:gd name="connsiteX246" fmla="*/ 38928 w 594952"/>
                  <a:gd name="connsiteY246" fmla="*/ 833718 h 1644780"/>
                  <a:gd name="connsiteX247" fmla="*/ 20676 w 594952"/>
                  <a:gd name="connsiteY247" fmla="*/ 795937 h 1644780"/>
                  <a:gd name="connsiteX248" fmla="*/ 20123 w 594952"/>
                  <a:gd name="connsiteY248" fmla="*/ 764094 h 1644780"/>
                  <a:gd name="connsiteX249" fmla="*/ 26760 w 594952"/>
                  <a:gd name="connsiteY249" fmla="*/ 752220 h 1644780"/>
                  <a:gd name="connsiteX250" fmla="*/ 14592 w 594952"/>
                  <a:gd name="connsiteY250" fmla="*/ 720376 h 1644780"/>
                  <a:gd name="connsiteX251" fmla="*/ 23994 w 594952"/>
                  <a:gd name="connsiteY251" fmla="*/ 695009 h 1644780"/>
                  <a:gd name="connsiteX252" fmla="*/ 20123 w 594952"/>
                  <a:gd name="connsiteY252" fmla="*/ 683675 h 1644780"/>
                  <a:gd name="connsiteX253" fmla="*/ 25100 w 594952"/>
                  <a:gd name="connsiteY253" fmla="*/ 669642 h 1644780"/>
                  <a:gd name="connsiteX254" fmla="*/ 45565 w 594952"/>
                  <a:gd name="connsiteY254" fmla="*/ 637798 h 1644780"/>
                  <a:gd name="connsiteX255" fmla="*/ 71007 w 594952"/>
                  <a:gd name="connsiteY255" fmla="*/ 622686 h 1644780"/>
                  <a:gd name="connsiteX256" fmla="*/ 114148 w 594952"/>
                  <a:gd name="connsiteY256" fmla="*/ 625385 h 1644780"/>
                  <a:gd name="connsiteX257" fmla="*/ 119126 w 594952"/>
                  <a:gd name="connsiteY257" fmla="*/ 607574 h 1644780"/>
                  <a:gd name="connsiteX258" fmla="*/ 116361 w 594952"/>
                  <a:gd name="connsiteY258" fmla="*/ 576810 h 1644780"/>
                  <a:gd name="connsiteX259" fmla="*/ 91472 w 594952"/>
                  <a:gd name="connsiteY259" fmla="*/ 558999 h 1644780"/>
                  <a:gd name="connsiteX260" fmla="*/ 117467 w 594952"/>
                  <a:gd name="connsiteY260" fmla="*/ 495311 h 1644780"/>
                  <a:gd name="connsiteX261" fmla="*/ 124657 w 594952"/>
                  <a:gd name="connsiteY261" fmla="*/ 460769 h 1644780"/>
                  <a:gd name="connsiteX262" fmla="*/ 125763 w 594952"/>
                  <a:gd name="connsiteY262" fmla="*/ 416512 h 1644780"/>
                  <a:gd name="connsiteX263" fmla="*/ 116914 w 594952"/>
                  <a:gd name="connsiteY263" fmla="*/ 383049 h 1644780"/>
                  <a:gd name="connsiteX264" fmla="*/ 136825 w 594952"/>
                  <a:gd name="connsiteY264" fmla="*/ 373334 h 1644780"/>
                  <a:gd name="connsiteX265" fmla="*/ 160055 w 594952"/>
                  <a:gd name="connsiteY265" fmla="*/ 354444 h 1644780"/>
                  <a:gd name="connsiteX266" fmla="*/ 147887 w 594952"/>
                  <a:gd name="connsiteY266" fmla="*/ 335013 h 1644780"/>
                  <a:gd name="connsiteX267" fmla="*/ 189369 w 594952"/>
                  <a:gd name="connsiteY267" fmla="*/ 272406 h 1644780"/>
                  <a:gd name="connsiteX268" fmla="*/ 186050 w 594952"/>
                  <a:gd name="connsiteY268" fmla="*/ 241641 h 1644780"/>
                  <a:gd name="connsiteX269" fmla="*/ 171117 w 594952"/>
                  <a:gd name="connsiteY269" fmla="*/ 221132 h 1644780"/>
                  <a:gd name="connsiteX270" fmla="*/ 181626 w 594952"/>
                  <a:gd name="connsiteY270" fmla="*/ 205480 h 1644780"/>
                  <a:gd name="connsiteX271" fmla="*/ 191581 w 594952"/>
                  <a:gd name="connsiteY271" fmla="*/ 162842 h 1644780"/>
                  <a:gd name="connsiteX272" fmla="*/ 212599 w 594952"/>
                  <a:gd name="connsiteY272" fmla="*/ 140173 h 1644780"/>
                  <a:gd name="connsiteX273" fmla="*/ 236382 w 594952"/>
                  <a:gd name="connsiteY273" fmla="*/ 145571 h 1644780"/>
                  <a:gd name="connsiteX274" fmla="*/ 244678 w 594952"/>
                  <a:gd name="connsiteY274" fmla="*/ 145031 h 1644780"/>
                  <a:gd name="connsiteX275" fmla="*/ 251868 w 594952"/>
                  <a:gd name="connsiteY275" fmla="*/ 125601 h 1644780"/>
                  <a:gd name="connsiteX276" fmla="*/ 247997 w 594952"/>
                  <a:gd name="connsiteY276" fmla="*/ 120204 h 1644780"/>
                  <a:gd name="connsiteX277" fmla="*/ 240253 w 594952"/>
                  <a:gd name="connsiteY277" fmla="*/ 93217 h 1644780"/>
                  <a:gd name="connsiteX278" fmla="*/ 243572 w 594952"/>
                  <a:gd name="connsiteY278" fmla="*/ 81883 h 1644780"/>
                  <a:gd name="connsiteX279" fmla="*/ 277310 w 594952"/>
                  <a:gd name="connsiteY279" fmla="*/ 74327 h 1644780"/>
                  <a:gd name="connsiteX280" fmla="*/ 329854 w 594952"/>
                  <a:gd name="connsiteY280" fmla="*/ 84042 h 1644780"/>
                  <a:gd name="connsiteX281" fmla="*/ 333173 w 594952"/>
                  <a:gd name="connsiteY281" fmla="*/ 73248 h 1644780"/>
                  <a:gd name="connsiteX282" fmla="*/ 328195 w 594952"/>
                  <a:gd name="connsiteY282" fmla="*/ 70549 h 1644780"/>
                  <a:gd name="connsiteX283" fmla="*/ 335938 w 594952"/>
                  <a:gd name="connsiteY283" fmla="*/ 42483 h 1644780"/>
                  <a:gd name="connsiteX284" fmla="*/ 323217 w 594952"/>
                  <a:gd name="connsiteY284" fmla="*/ 7401 h 1644780"/>
                  <a:gd name="connsiteX285" fmla="*/ 339257 w 594952"/>
                  <a:gd name="connsiteY285" fmla="*/ -155 h 1644780"/>
                  <a:gd name="connsiteX286" fmla="*/ 355850 w 594952"/>
                  <a:gd name="connsiteY286" fmla="*/ 1464 h 1644780"/>
                  <a:gd name="connsiteX287" fmla="*/ 406734 w 594952"/>
                  <a:gd name="connsiteY287" fmla="*/ 44103 h 1644780"/>
                  <a:gd name="connsiteX288" fmla="*/ 446557 w 594952"/>
                  <a:gd name="connsiteY288" fmla="*/ 52198 h 1644780"/>
                  <a:gd name="connsiteX289" fmla="*/ 453747 w 594952"/>
                  <a:gd name="connsiteY289" fmla="*/ 55977 h 1644780"/>
                  <a:gd name="connsiteX290" fmla="*/ 462596 w 594952"/>
                  <a:gd name="connsiteY290" fmla="*/ 61913 h 1644780"/>
                  <a:gd name="connsiteX291" fmla="*/ 481955 w 594952"/>
                  <a:gd name="connsiteY291" fmla="*/ 82423 h 1644780"/>
                  <a:gd name="connsiteX292" fmla="*/ 498547 w 594952"/>
                  <a:gd name="connsiteY292" fmla="*/ 92138 h 1644780"/>
                  <a:gd name="connsiteX293" fmla="*/ 497441 w 594952"/>
                  <a:gd name="connsiteY293" fmla="*/ 111568 h 1644780"/>
                  <a:gd name="connsiteX294" fmla="*/ 510162 w 594952"/>
                  <a:gd name="connsiteY294" fmla="*/ 130998 h 1644780"/>
                  <a:gd name="connsiteX295" fmla="*/ 510162 w 594952"/>
                  <a:gd name="connsiteY295" fmla="*/ 148809 h 1644780"/>
                  <a:gd name="connsiteX296" fmla="*/ 525649 w 594952"/>
                  <a:gd name="connsiteY296" fmla="*/ 163381 h 1644780"/>
                  <a:gd name="connsiteX297" fmla="*/ 522330 w 594952"/>
                  <a:gd name="connsiteY297" fmla="*/ 185510 h 1644780"/>
                  <a:gd name="connsiteX298" fmla="*/ 375761 w 594952"/>
                  <a:gd name="connsiteY298" fmla="*/ 1511071 h 1644780"/>
                  <a:gd name="connsiteX299" fmla="*/ 372995 w 594952"/>
                  <a:gd name="connsiteY299" fmla="*/ 1516468 h 1644780"/>
                  <a:gd name="connsiteX300" fmla="*/ 368571 w 594952"/>
                  <a:gd name="connsiteY300" fmla="*/ 1514849 h 1644780"/>
                  <a:gd name="connsiteX301" fmla="*/ 366358 w 594952"/>
                  <a:gd name="connsiteY301" fmla="*/ 1501895 h 1644780"/>
                  <a:gd name="connsiteX302" fmla="*/ 371889 w 594952"/>
                  <a:gd name="connsiteY302" fmla="*/ 1458178 h 1644780"/>
                  <a:gd name="connsiteX303" fmla="*/ 384057 w 594952"/>
                  <a:gd name="connsiteY303" fmla="*/ 1422556 h 1644780"/>
                  <a:gd name="connsiteX304" fmla="*/ 390694 w 594952"/>
                  <a:gd name="connsiteY304" fmla="*/ 1389093 h 1644780"/>
                  <a:gd name="connsiteX305" fmla="*/ 392354 w 594952"/>
                  <a:gd name="connsiteY305" fmla="*/ 1386934 h 1644780"/>
                  <a:gd name="connsiteX306" fmla="*/ 394566 w 594952"/>
                  <a:gd name="connsiteY306" fmla="*/ 1385855 h 1644780"/>
                  <a:gd name="connsiteX307" fmla="*/ 396225 w 594952"/>
                  <a:gd name="connsiteY307" fmla="*/ 1385855 h 1644780"/>
                  <a:gd name="connsiteX308" fmla="*/ 397885 w 594952"/>
                  <a:gd name="connsiteY308" fmla="*/ 1388014 h 1644780"/>
                  <a:gd name="connsiteX309" fmla="*/ 397331 w 594952"/>
                  <a:gd name="connsiteY309" fmla="*/ 1396110 h 1644780"/>
                  <a:gd name="connsiteX310" fmla="*/ 375761 w 594952"/>
                  <a:gd name="connsiteY310" fmla="*/ 1511071 h 1644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</a:cxnLst>
                <a:rect l="l" t="t" r="r" b="b"/>
                <a:pathLst>
                  <a:path w="594952" h="1644780">
                    <a:moveTo>
                      <a:pt x="501866" y="1376679"/>
                    </a:moveTo>
                    <a:cubicBezTo>
                      <a:pt x="495782" y="1383696"/>
                      <a:pt x="489145" y="1385315"/>
                      <a:pt x="486379" y="1395570"/>
                    </a:cubicBezTo>
                    <a:cubicBezTo>
                      <a:pt x="485273" y="1400427"/>
                      <a:pt x="485273" y="1413920"/>
                      <a:pt x="482508" y="1417159"/>
                    </a:cubicBezTo>
                    <a:cubicBezTo>
                      <a:pt x="481955" y="1418238"/>
                      <a:pt x="478083" y="1421477"/>
                      <a:pt x="476977" y="1421477"/>
                    </a:cubicBezTo>
                    <a:cubicBezTo>
                      <a:pt x="475871" y="1421477"/>
                      <a:pt x="473658" y="1420937"/>
                      <a:pt x="473105" y="1420397"/>
                    </a:cubicBezTo>
                    <a:cubicBezTo>
                      <a:pt x="471999" y="1418778"/>
                      <a:pt x="472552" y="1407444"/>
                      <a:pt x="471999" y="1403666"/>
                    </a:cubicBezTo>
                    <a:cubicBezTo>
                      <a:pt x="470340" y="1399348"/>
                      <a:pt x="467021" y="1395570"/>
                      <a:pt x="464809" y="1391252"/>
                    </a:cubicBezTo>
                    <a:cubicBezTo>
                      <a:pt x="462043" y="1384236"/>
                      <a:pt x="464256" y="1376679"/>
                      <a:pt x="463149" y="1369123"/>
                    </a:cubicBezTo>
                    <a:cubicBezTo>
                      <a:pt x="463149" y="1364266"/>
                      <a:pt x="460937" y="1359408"/>
                      <a:pt x="460384" y="1354551"/>
                    </a:cubicBezTo>
                    <a:cubicBezTo>
                      <a:pt x="460384" y="1351312"/>
                      <a:pt x="463149" y="1342677"/>
                      <a:pt x="464256" y="1339978"/>
                    </a:cubicBezTo>
                    <a:cubicBezTo>
                      <a:pt x="465915" y="1337280"/>
                      <a:pt x="481955" y="1311373"/>
                      <a:pt x="482508" y="1311373"/>
                    </a:cubicBezTo>
                    <a:cubicBezTo>
                      <a:pt x="483061" y="1310833"/>
                      <a:pt x="484167" y="1310294"/>
                      <a:pt x="484720" y="1309754"/>
                    </a:cubicBezTo>
                    <a:cubicBezTo>
                      <a:pt x="486932" y="1308674"/>
                      <a:pt x="486932" y="1305436"/>
                      <a:pt x="490804" y="1305436"/>
                    </a:cubicBezTo>
                    <a:cubicBezTo>
                      <a:pt x="493569" y="1304896"/>
                      <a:pt x="496888" y="1307595"/>
                      <a:pt x="499653" y="1307595"/>
                    </a:cubicBezTo>
                    <a:cubicBezTo>
                      <a:pt x="501313" y="1307595"/>
                      <a:pt x="503525" y="1305436"/>
                      <a:pt x="504631" y="1304896"/>
                    </a:cubicBezTo>
                    <a:cubicBezTo>
                      <a:pt x="506844" y="1304896"/>
                      <a:pt x="511821" y="1305436"/>
                      <a:pt x="512928" y="1307595"/>
                    </a:cubicBezTo>
                    <a:cubicBezTo>
                      <a:pt x="512928" y="1308135"/>
                      <a:pt x="512928" y="1312992"/>
                      <a:pt x="512375" y="1314072"/>
                    </a:cubicBezTo>
                    <a:cubicBezTo>
                      <a:pt x="510715" y="1320548"/>
                      <a:pt x="501313" y="1321088"/>
                      <a:pt x="501313" y="1331882"/>
                    </a:cubicBezTo>
                    <a:cubicBezTo>
                      <a:pt x="500760" y="1335121"/>
                      <a:pt x="502419" y="1348614"/>
                      <a:pt x="504078" y="1351852"/>
                    </a:cubicBezTo>
                    <a:cubicBezTo>
                      <a:pt x="505184" y="1355091"/>
                      <a:pt x="512375" y="1358869"/>
                      <a:pt x="511268" y="1362647"/>
                    </a:cubicBezTo>
                    <a:cubicBezTo>
                      <a:pt x="510162" y="1364806"/>
                      <a:pt x="503525" y="1374521"/>
                      <a:pt x="501866" y="1376679"/>
                    </a:cubicBezTo>
                    <a:close/>
                    <a:moveTo>
                      <a:pt x="522330" y="185510"/>
                    </a:moveTo>
                    <a:cubicBezTo>
                      <a:pt x="529520" y="188748"/>
                      <a:pt x="549985" y="210877"/>
                      <a:pt x="552750" y="217894"/>
                    </a:cubicBezTo>
                    <a:cubicBezTo>
                      <a:pt x="554963" y="223291"/>
                      <a:pt x="552750" y="230307"/>
                      <a:pt x="553857" y="235704"/>
                    </a:cubicBezTo>
                    <a:cubicBezTo>
                      <a:pt x="554410" y="240022"/>
                      <a:pt x="557175" y="242721"/>
                      <a:pt x="557175" y="246499"/>
                    </a:cubicBezTo>
                    <a:cubicBezTo>
                      <a:pt x="557175" y="248118"/>
                      <a:pt x="553303" y="257833"/>
                      <a:pt x="552750" y="261071"/>
                    </a:cubicBezTo>
                    <a:cubicBezTo>
                      <a:pt x="552197" y="264849"/>
                      <a:pt x="553857" y="279422"/>
                      <a:pt x="555516" y="283200"/>
                    </a:cubicBezTo>
                    <a:cubicBezTo>
                      <a:pt x="558834" y="291296"/>
                      <a:pt x="567131" y="291836"/>
                      <a:pt x="569896" y="296153"/>
                    </a:cubicBezTo>
                    <a:cubicBezTo>
                      <a:pt x="580958" y="311805"/>
                      <a:pt x="576533" y="319362"/>
                      <a:pt x="594232" y="335553"/>
                    </a:cubicBezTo>
                    <a:cubicBezTo>
                      <a:pt x="582617" y="347427"/>
                      <a:pt x="580405" y="337172"/>
                      <a:pt x="569343" y="339871"/>
                    </a:cubicBezTo>
                    <a:cubicBezTo>
                      <a:pt x="565471" y="340411"/>
                      <a:pt x="561600" y="344189"/>
                      <a:pt x="557728" y="345268"/>
                    </a:cubicBezTo>
                    <a:cubicBezTo>
                      <a:pt x="555516" y="346348"/>
                      <a:pt x="552197" y="345808"/>
                      <a:pt x="549985" y="346887"/>
                    </a:cubicBezTo>
                    <a:cubicBezTo>
                      <a:pt x="546666" y="348507"/>
                      <a:pt x="544454" y="352285"/>
                      <a:pt x="541688" y="353904"/>
                    </a:cubicBezTo>
                    <a:cubicBezTo>
                      <a:pt x="533392" y="352285"/>
                      <a:pt x="532286" y="342570"/>
                      <a:pt x="520671" y="341490"/>
                    </a:cubicBezTo>
                    <a:cubicBezTo>
                      <a:pt x="517906" y="343649"/>
                      <a:pt x="516246" y="349046"/>
                      <a:pt x="519565" y="351745"/>
                    </a:cubicBezTo>
                    <a:cubicBezTo>
                      <a:pt x="515693" y="352824"/>
                      <a:pt x="512928" y="349586"/>
                      <a:pt x="509609" y="349046"/>
                    </a:cubicBezTo>
                    <a:lnTo>
                      <a:pt x="507950" y="350126"/>
                    </a:lnTo>
                    <a:cubicBezTo>
                      <a:pt x="507397" y="353904"/>
                      <a:pt x="507397" y="363079"/>
                      <a:pt x="508503" y="366317"/>
                    </a:cubicBezTo>
                    <a:cubicBezTo>
                      <a:pt x="510715" y="372794"/>
                      <a:pt x="519012" y="372794"/>
                      <a:pt x="515693" y="382509"/>
                    </a:cubicBezTo>
                    <a:cubicBezTo>
                      <a:pt x="511268" y="384668"/>
                      <a:pt x="501866" y="383049"/>
                      <a:pt x="500207" y="384128"/>
                    </a:cubicBezTo>
                    <a:cubicBezTo>
                      <a:pt x="499100" y="384668"/>
                      <a:pt x="498547" y="390065"/>
                      <a:pt x="497441" y="391145"/>
                    </a:cubicBezTo>
                    <a:cubicBezTo>
                      <a:pt x="496335" y="391684"/>
                      <a:pt x="493569" y="391684"/>
                      <a:pt x="493016" y="392764"/>
                    </a:cubicBezTo>
                    <a:cubicBezTo>
                      <a:pt x="492463" y="393843"/>
                      <a:pt x="494676" y="399780"/>
                      <a:pt x="494123" y="400320"/>
                    </a:cubicBezTo>
                    <a:cubicBezTo>
                      <a:pt x="492463" y="406797"/>
                      <a:pt x="483061" y="407336"/>
                      <a:pt x="478083" y="408956"/>
                    </a:cubicBezTo>
                    <a:lnTo>
                      <a:pt x="477530" y="410575"/>
                    </a:lnTo>
                    <a:cubicBezTo>
                      <a:pt x="480848" y="418131"/>
                      <a:pt x="489698" y="417591"/>
                      <a:pt x="489145" y="428386"/>
                    </a:cubicBezTo>
                    <a:cubicBezTo>
                      <a:pt x="489145" y="437561"/>
                      <a:pt x="486932" y="448895"/>
                      <a:pt x="484720" y="458070"/>
                    </a:cubicBezTo>
                    <a:cubicBezTo>
                      <a:pt x="483614" y="461848"/>
                      <a:pt x="480848" y="468325"/>
                      <a:pt x="478636" y="471563"/>
                    </a:cubicBezTo>
                    <a:cubicBezTo>
                      <a:pt x="478083" y="472103"/>
                      <a:pt x="475317" y="474802"/>
                      <a:pt x="475317" y="475342"/>
                    </a:cubicBezTo>
                    <a:cubicBezTo>
                      <a:pt x="474211" y="481278"/>
                      <a:pt x="477530" y="479659"/>
                      <a:pt x="479189" y="483437"/>
                    </a:cubicBezTo>
                    <a:cubicBezTo>
                      <a:pt x="479742" y="486136"/>
                      <a:pt x="476977" y="493152"/>
                      <a:pt x="477530" y="494772"/>
                    </a:cubicBezTo>
                    <a:cubicBezTo>
                      <a:pt x="478636" y="496391"/>
                      <a:pt x="486379" y="502867"/>
                      <a:pt x="488592" y="503947"/>
                    </a:cubicBezTo>
                    <a:cubicBezTo>
                      <a:pt x="490804" y="505026"/>
                      <a:pt x="495782" y="503947"/>
                      <a:pt x="498547" y="505026"/>
                    </a:cubicBezTo>
                    <a:cubicBezTo>
                      <a:pt x="501313" y="509344"/>
                      <a:pt x="500207" y="514202"/>
                      <a:pt x="502419" y="518519"/>
                    </a:cubicBezTo>
                    <a:cubicBezTo>
                      <a:pt x="502972" y="520139"/>
                      <a:pt x="505737" y="520678"/>
                      <a:pt x="506844" y="522297"/>
                    </a:cubicBezTo>
                    <a:lnTo>
                      <a:pt x="506291" y="524996"/>
                    </a:lnTo>
                    <a:cubicBezTo>
                      <a:pt x="499653" y="534171"/>
                      <a:pt x="491357" y="540108"/>
                      <a:pt x="487485" y="550903"/>
                    </a:cubicBezTo>
                    <a:cubicBezTo>
                      <a:pt x="481401" y="567095"/>
                      <a:pt x="480848" y="587064"/>
                      <a:pt x="470340" y="601637"/>
                    </a:cubicBezTo>
                    <a:cubicBezTo>
                      <a:pt x="466468" y="605955"/>
                      <a:pt x="461490" y="609733"/>
                      <a:pt x="456512" y="613511"/>
                    </a:cubicBezTo>
                    <a:cubicBezTo>
                      <a:pt x="455959" y="614050"/>
                      <a:pt x="454853" y="616749"/>
                      <a:pt x="453747" y="617289"/>
                    </a:cubicBezTo>
                    <a:cubicBezTo>
                      <a:pt x="452088" y="619987"/>
                      <a:pt x="448769" y="621607"/>
                      <a:pt x="446557" y="623765"/>
                    </a:cubicBezTo>
                    <a:cubicBezTo>
                      <a:pt x="442132" y="629702"/>
                      <a:pt x="433282" y="646974"/>
                      <a:pt x="428858" y="650212"/>
                    </a:cubicBezTo>
                    <a:cubicBezTo>
                      <a:pt x="427198" y="651291"/>
                      <a:pt x="422221" y="645894"/>
                      <a:pt x="418902" y="646434"/>
                    </a:cubicBezTo>
                    <a:cubicBezTo>
                      <a:pt x="417243" y="648593"/>
                      <a:pt x="416690" y="651291"/>
                      <a:pt x="414477" y="653990"/>
                    </a:cubicBezTo>
                    <a:cubicBezTo>
                      <a:pt x="407840" y="661006"/>
                      <a:pt x="409499" y="670721"/>
                      <a:pt x="406181" y="679357"/>
                    </a:cubicBezTo>
                    <a:cubicBezTo>
                      <a:pt x="403415" y="687993"/>
                      <a:pt x="398438" y="678817"/>
                      <a:pt x="394013" y="679357"/>
                    </a:cubicBezTo>
                    <a:cubicBezTo>
                      <a:pt x="385717" y="679897"/>
                      <a:pt x="374655" y="707423"/>
                      <a:pt x="373548" y="713899"/>
                    </a:cubicBezTo>
                    <a:cubicBezTo>
                      <a:pt x="373548" y="714439"/>
                      <a:pt x="375208" y="716598"/>
                      <a:pt x="375761" y="717138"/>
                    </a:cubicBezTo>
                    <a:cubicBezTo>
                      <a:pt x="371889" y="741425"/>
                      <a:pt x="363040" y="728472"/>
                      <a:pt x="353637" y="739266"/>
                    </a:cubicBezTo>
                    <a:cubicBezTo>
                      <a:pt x="351425" y="741965"/>
                      <a:pt x="356956" y="748981"/>
                      <a:pt x="357509" y="752220"/>
                    </a:cubicBezTo>
                    <a:cubicBezTo>
                      <a:pt x="358615" y="763554"/>
                      <a:pt x="348659" y="782444"/>
                      <a:pt x="334832" y="780825"/>
                    </a:cubicBezTo>
                    <a:cubicBezTo>
                      <a:pt x="329854" y="778666"/>
                      <a:pt x="332067" y="774888"/>
                      <a:pt x="324323" y="774888"/>
                    </a:cubicBezTo>
                    <a:cubicBezTo>
                      <a:pt x="320452" y="776507"/>
                      <a:pt x="321005" y="777587"/>
                      <a:pt x="319899" y="781365"/>
                    </a:cubicBezTo>
                    <a:cubicBezTo>
                      <a:pt x="319345" y="782444"/>
                      <a:pt x="318239" y="784603"/>
                      <a:pt x="318239" y="785682"/>
                    </a:cubicBezTo>
                    <a:cubicBezTo>
                      <a:pt x="318792" y="789461"/>
                      <a:pt x="329854" y="803493"/>
                      <a:pt x="333173" y="806732"/>
                    </a:cubicBezTo>
                    <a:cubicBezTo>
                      <a:pt x="335385" y="808891"/>
                      <a:pt x="338151" y="809970"/>
                      <a:pt x="339810" y="812129"/>
                    </a:cubicBezTo>
                    <a:lnTo>
                      <a:pt x="340363" y="814288"/>
                    </a:lnTo>
                    <a:lnTo>
                      <a:pt x="338704" y="817526"/>
                    </a:lnTo>
                    <a:cubicBezTo>
                      <a:pt x="334832" y="823463"/>
                      <a:pt x="332067" y="838575"/>
                      <a:pt x="332620" y="845052"/>
                    </a:cubicBezTo>
                    <a:cubicBezTo>
                      <a:pt x="332620" y="849910"/>
                      <a:pt x="337598" y="855846"/>
                      <a:pt x="337044" y="860164"/>
                    </a:cubicBezTo>
                    <a:cubicBezTo>
                      <a:pt x="339810" y="865022"/>
                      <a:pt x="351425" y="873657"/>
                      <a:pt x="342022" y="877975"/>
                    </a:cubicBezTo>
                    <a:cubicBezTo>
                      <a:pt x="338151" y="877435"/>
                      <a:pt x="329854" y="873118"/>
                      <a:pt x="327089" y="878515"/>
                    </a:cubicBezTo>
                    <a:cubicBezTo>
                      <a:pt x="325983" y="880134"/>
                      <a:pt x="324876" y="888770"/>
                      <a:pt x="325429" y="890928"/>
                    </a:cubicBezTo>
                    <a:cubicBezTo>
                      <a:pt x="327089" y="899564"/>
                      <a:pt x="333726" y="907660"/>
                      <a:pt x="334832" y="915756"/>
                    </a:cubicBezTo>
                    <a:cubicBezTo>
                      <a:pt x="337598" y="931408"/>
                      <a:pt x="337598" y="947599"/>
                      <a:pt x="340916" y="963251"/>
                    </a:cubicBezTo>
                    <a:cubicBezTo>
                      <a:pt x="342022" y="968109"/>
                      <a:pt x="350319" y="974046"/>
                      <a:pt x="350872" y="977824"/>
                    </a:cubicBezTo>
                    <a:cubicBezTo>
                      <a:pt x="351425" y="979983"/>
                      <a:pt x="347000" y="985920"/>
                      <a:pt x="347553" y="988618"/>
                    </a:cubicBezTo>
                    <a:cubicBezTo>
                      <a:pt x="348659" y="994555"/>
                      <a:pt x="359168" y="999413"/>
                      <a:pt x="364699" y="999953"/>
                    </a:cubicBezTo>
                    <a:cubicBezTo>
                      <a:pt x="367464" y="999953"/>
                      <a:pt x="371889" y="998333"/>
                      <a:pt x="372995" y="999413"/>
                    </a:cubicBezTo>
                    <a:cubicBezTo>
                      <a:pt x="373548" y="1000492"/>
                      <a:pt x="376314" y="1005890"/>
                      <a:pt x="380186" y="1007509"/>
                    </a:cubicBezTo>
                    <a:cubicBezTo>
                      <a:pt x="382398" y="1005890"/>
                      <a:pt x="385163" y="1000492"/>
                      <a:pt x="387376" y="999953"/>
                    </a:cubicBezTo>
                    <a:cubicBezTo>
                      <a:pt x="388482" y="999413"/>
                      <a:pt x="391801" y="999413"/>
                      <a:pt x="392907" y="999953"/>
                    </a:cubicBezTo>
                    <a:cubicBezTo>
                      <a:pt x="394566" y="1001032"/>
                      <a:pt x="396778" y="1006429"/>
                      <a:pt x="398438" y="1008048"/>
                    </a:cubicBezTo>
                    <a:cubicBezTo>
                      <a:pt x="401203" y="1010747"/>
                      <a:pt x="405075" y="1012906"/>
                      <a:pt x="407287" y="1015605"/>
                    </a:cubicBezTo>
                    <a:cubicBezTo>
                      <a:pt x="408946" y="1017763"/>
                      <a:pt x="409499" y="1022081"/>
                      <a:pt x="411159" y="1023161"/>
                    </a:cubicBezTo>
                    <a:cubicBezTo>
                      <a:pt x="415583" y="1026399"/>
                      <a:pt x="428858" y="1025859"/>
                      <a:pt x="429964" y="1032336"/>
                    </a:cubicBezTo>
                    <a:cubicBezTo>
                      <a:pt x="428305" y="1036114"/>
                      <a:pt x="423880" y="1039892"/>
                      <a:pt x="431070" y="1042591"/>
                    </a:cubicBezTo>
                    <a:cubicBezTo>
                      <a:pt x="435495" y="1044750"/>
                      <a:pt x="444344" y="1050687"/>
                      <a:pt x="449322" y="1051226"/>
                    </a:cubicBezTo>
                    <a:lnTo>
                      <a:pt x="450428" y="1050147"/>
                    </a:lnTo>
                    <a:lnTo>
                      <a:pt x="451534" y="1047448"/>
                    </a:lnTo>
                    <a:cubicBezTo>
                      <a:pt x="452088" y="1046909"/>
                      <a:pt x="455406" y="1045829"/>
                      <a:pt x="456512" y="1046909"/>
                    </a:cubicBezTo>
                    <a:cubicBezTo>
                      <a:pt x="457618" y="1047988"/>
                      <a:pt x="458725" y="1056084"/>
                      <a:pt x="460384" y="1058243"/>
                    </a:cubicBezTo>
                    <a:cubicBezTo>
                      <a:pt x="462596" y="1062561"/>
                      <a:pt x="467574" y="1064719"/>
                      <a:pt x="470340" y="1068497"/>
                    </a:cubicBezTo>
                    <a:lnTo>
                      <a:pt x="470340" y="1070117"/>
                    </a:lnTo>
                    <a:cubicBezTo>
                      <a:pt x="464256" y="1073895"/>
                      <a:pt x="460384" y="1072815"/>
                      <a:pt x="458725" y="1081451"/>
                    </a:cubicBezTo>
                    <a:cubicBezTo>
                      <a:pt x="462596" y="1083610"/>
                      <a:pt x="467021" y="1081991"/>
                      <a:pt x="471446" y="1083070"/>
                    </a:cubicBezTo>
                    <a:lnTo>
                      <a:pt x="472552" y="1084689"/>
                    </a:lnTo>
                    <a:lnTo>
                      <a:pt x="471446" y="1086848"/>
                    </a:lnTo>
                    <a:cubicBezTo>
                      <a:pt x="466468" y="1090626"/>
                      <a:pt x="459831" y="1092245"/>
                      <a:pt x="455406" y="1097643"/>
                    </a:cubicBezTo>
                    <a:cubicBezTo>
                      <a:pt x="448769" y="1105199"/>
                      <a:pt x="442685" y="1115453"/>
                      <a:pt x="434942" y="1121930"/>
                    </a:cubicBezTo>
                    <a:cubicBezTo>
                      <a:pt x="432176" y="1124089"/>
                      <a:pt x="428305" y="1124629"/>
                      <a:pt x="425539" y="1126788"/>
                    </a:cubicBezTo>
                    <a:cubicBezTo>
                      <a:pt x="424433" y="1127867"/>
                      <a:pt x="418349" y="1134344"/>
                      <a:pt x="417796" y="1134344"/>
                    </a:cubicBezTo>
                    <a:cubicBezTo>
                      <a:pt x="415583" y="1134883"/>
                      <a:pt x="413924" y="1134883"/>
                      <a:pt x="412265" y="1136503"/>
                    </a:cubicBezTo>
                    <a:cubicBezTo>
                      <a:pt x="410053" y="1136503"/>
                      <a:pt x="406181" y="1135423"/>
                      <a:pt x="403969" y="1134883"/>
                    </a:cubicBezTo>
                    <a:lnTo>
                      <a:pt x="401756" y="1132185"/>
                    </a:lnTo>
                    <a:cubicBezTo>
                      <a:pt x="401203" y="1124629"/>
                      <a:pt x="405075" y="1107358"/>
                      <a:pt x="394013" y="1107358"/>
                    </a:cubicBezTo>
                    <a:lnTo>
                      <a:pt x="392354" y="1107897"/>
                    </a:lnTo>
                    <a:cubicBezTo>
                      <a:pt x="391801" y="1113834"/>
                      <a:pt x="392907" y="1119771"/>
                      <a:pt x="392354" y="1125708"/>
                    </a:cubicBezTo>
                    <a:lnTo>
                      <a:pt x="390141" y="1127327"/>
                    </a:lnTo>
                    <a:cubicBezTo>
                      <a:pt x="389035" y="1127327"/>
                      <a:pt x="386270" y="1125708"/>
                      <a:pt x="385163" y="1124629"/>
                    </a:cubicBezTo>
                    <a:cubicBezTo>
                      <a:pt x="379079" y="1117612"/>
                      <a:pt x="377973" y="1127867"/>
                      <a:pt x="374102" y="1128407"/>
                    </a:cubicBezTo>
                    <a:cubicBezTo>
                      <a:pt x="370783" y="1128946"/>
                      <a:pt x="364699" y="1124629"/>
                      <a:pt x="361380" y="1124629"/>
                    </a:cubicBezTo>
                    <a:cubicBezTo>
                      <a:pt x="360274" y="1124089"/>
                      <a:pt x="358062" y="1124629"/>
                      <a:pt x="356956" y="1125168"/>
                    </a:cubicBezTo>
                    <a:cubicBezTo>
                      <a:pt x="353084" y="1125708"/>
                      <a:pt x="349212" y="1126788"/>
                      <a:pt x="345341" y="1127327"/>
                    </a:cubicBezTo>
                    <a:cubicBezTo>
                      <a:pt x="339810" y="1127327"/>
                      <a:pt x="333726" y="1126248"/>
                      <a:pt x="328195" y="1126788"/>
                    </a:cubicBezTo>
                    <a:cubicBezTo>
                      <a:pt x="319899" y="1127867"/>
                      <a:pt x="315474" y="1133804"/>
                      <a:pt x="308284" y="1136503"/>
                    </a:cubicBezTo>
                    <a:cubicBezTo>
                      <a:pt x="304965" y="1137582"/>
                      <a:pt x="298881" y="1137042"/>
                      <a:pt x="295009" y="1138122"/>
                    </a:cubicBezTo>
                    <a:lnTo>
                      <a:pt x="294456" y="1139201"/>
                    </a:lnTo>
                    <a:lnTo>
                      <a:pt x="295563" y="1140820"/>
                    </a:lnTo>
                    <a:cubicBezTo>
                      <a:pt x="298881" y="1142440"/>
                      <a:pt x="301093" y="1141900"/>
                      <a:pt x="304412" y="1142440"/>
                    </a:cubicBezTo>
                    <a:cubicBezTo>
                      <a:pt x="307731" y="1142979"/>
                      <a:pt x="308837" y="1145678"/>
                      <a:pt x="314368" y="1145138"/>
                    </a:cubicBezTo>
                    <a:cubicBezTo>
                      <a:pt x="319345" y="1144598"/>
                      <a:pt x="324323" y="1142440"/>
                      <a:pt x="329854" y="1141900"/>
                    </a:cubicBezTo>
                    <a:cubicBezTo>
                      <a:pt x="332067" y="1141900"/>
                      <a:pt x="338151" y="1143519"/>
                      <a:pt x="339810" y="1142440"/>
                    </a:cubicBezTo>
                    <a:cubicBezTo>
                      <a:pt x="340916" y="1141900"/>
                      <a:pt x="339810" y="1138122"/>
                      <a:pt x="340916" y="1137582"/>
                    </a:cubicBezTo>
                    <a:cubicBezTo>
                      <a:pt x="342575" y="1136503"/>
                      <a:pt x="348659" y="1137582"/>
                      <a:pt x="350319" y="1138122"/>
                    </a:cubicBezTo>
                    <a:cubicBezTo>
                      <a:pt x="353084" y="1138662"/>
                      <a:pt x="359721" y="1145678"/>
                      <a:pt x="360827" y="1145678"/>
                    </a:cubicBezTo>
                    <a:cubicBezTo>
                      <a:pt x="364699" y="1146757"/>
                      <a:pt x="368571" y="1146757"/>
                      <a:pt x="372442" y="1147837"/>
                    </a:cubicBezTo>
                    <a:cubicBezTo>
                      <a:pt x="373548" y="1148916"/>
                      <a:pt x="373548" y="1154853"/>
                      <a:pt x="374655" y="1155933"/>
                    </a:cubicBezTo>
                    <a:cubicBezTo>
                      <a:pt x="375208" y="1157552"/>
                      <a:pt x="378526" y="1157012"/>
                      <a:pt x="378526" y="1157012"/>
                    </a:cubicBezTo>
                    <a:cubicBezTo>
                      <a:pt x="381845" y="1157012"/>
                      <a:pt x="384610" y="1155393"/>
                      <a:pt x="387376" y="1154853"/>
                    </a:cubicBezTo>
                    <a:cubicBezTo>
                      <a:pt x="394013" y="1154313"/>
                      <a:pt x="401203" y="1157012"/>
                      <a:pt x="407287" y="1155933"/>
                    </a:cubicBezTo>
                    <a:cubicBezTo>
                      <a:pt x="410053" y="1155933"/>
                      <a:pt x="412265" y="1152694"/>
                      <a:pt x="413371" y="1150535"/>
                    </a:cubicBezTo>
                    <a:cubicBezTo>
                      <a:pt x="416690" y="1145678"/>
                      <a:pt x="434389" y="1140820"/>
                      <a:pt x="439920" y="1137042"/>
                    </a:cubicBezTo>
                    <a:cubicBezTo>
                      <a:pt x="442685" y="1135423"/>
                      <a:pt x="443791" y="1131645"/>
                      <a:pt x="446557" y="1130026"/>
                    </a:cubicBezTo>
                    <a:lnTo>
                      <a:pt x="449875" y="1130026"/>
                    </a:lnTo>
                    <a:cubicBezTo>
                      <a:pt x="453747" y="1132725"/>
                      <a:pt x="454300" y="1137582"/>
                      <a:pt x="452641" y="1141900"/>
                    </a:cubicBezTo>
                    <a:cubicBezTo>
                      <a:pt x="448769" y="1144059"/>
                      <a:pt x="443238" y="1141360"/>
                      <a:pt x="439366" y="1144059"/>
                    </a:cubicBezTo>
                    <a:cubicBezTo>
                      <a:pt x="434942" y="1153234"/>
                      <a:pt x="450428" y="1151075"/>
                      <a:pt x="445450" y="1158631"/>
                    </a:cubicBezTo>
                    <a:cubicBezTo>
                      <a:pt x="442685" y="1162409"/>
                      <a:pt x="434942" y="1164568"/>
                      <a:pt x="432176" y="1168886"/>
                    </a:cubicBezTo>
                    <a:cubicBezTo>
                      <a:pt x="426645" y="1175902"/>
                      <a:pt x="425539" y="1185617"/>
                      <a:pt x="422221" y="1193174"/>
                    </a:cubicBezTo>
                    <a:lnTo>
                      <a:pt x="420561" y="1193713"/>
                    </a:lnTo>
                    <a:cubicBezTo>
                      <a:pt x="413924" y="1193174"/>
                      <a:pt x="412818" y="1185078"/>
                      <a:pt x="408393" y="1180760"/>
                    </a:cubicBezTo>
                    <a:lnTo>
                      <a:pt x="405075" y="1181300"/>
                    </a:lnTo>
                    <a:cubicBezTo>
                      <a:pt x="403969" y="1182919"/>
                      <a:pt x="403415" y="1187776"/>
                      <a:pt x="403415" y="1189935"/>
                    </a:cubicBezTo>
                    <a:cubicBezTo>
                      <a:pt x="406734" y="1200730"/>
                      <a:pt x="396225" y="1203428"/>
                      <a:pt x="390141" y="1208826"/>
                    </a:cubicBezTo>
                    <a:cubicBezTo>
                      <a:pt x="389035" y="1209905"/>
                      <a:pt x="388482" y="1212064"/>
                      <a:pt x="386823" y="1212604"/>
                    </a:cubicBezTo>
                    <a:cubicBezTo>
                      <a:pt x="384610" y="1213683"/>
                      <a:pt x="376867" y="1213143"/>
                      <a:pt x="375208" y="1214223"/>
                    </a:cubicBezTo>
                    <a:cubicBezTo>
                      <a:pt x="373548" y="1215842"/>
                      <a:pt x="375761" y="1222858"/>
                      <a:pt x="374102" y="1226097"/>
                    </a:cubicBezTo>
                    <a:cubicBezTo>
                      <a:pt x="368571" y="1228795"/>
                      <a:pt x="358062" y="1230414"/>
                      <a:pt x="353637" y="1233653"/>
                    </a:cubicBezTo>
                    <a:cubicBezTo>
                      <a:pt x="354743" y="1239590"/>
                      <a:pt x="365252" y="1248225"/>
                      <a:pt x="360274" y="1253623"/>
                    </a:cubicBezTo>
                    <a:cubicBezTo>
                      <a:pt x="359168" y="1255242"/>
                      <a:pt x="356956" y="1255781"/>
                      <a:pt x="355296" y="1257401"/>
                    </a:cubicBezTo>
                    <a:cubicBezTo>
                      <a:pt x="354743" y="1261179"/>
                      <a:pt x="356956" y="1271433"/>
                      <a:pt x="358615" y="1274672"/>
                    </a:cubicBezTo>
                    <a:cubicBezTo>
                      <a:pt x="359721" y="1277370"/>
                      <a:pt x="363040" y="1280069"/>
                      <a:pt x="363593" y="1282228"/>
                    </a:cubicBezTo>
                    <a:cubicBezTo>
                      <a:pt x="365805" y="1291403"/>
                      <a:pt x="359721" y="1293022"/>
                      <a:pt x="358615" y="1297880"/>
                    </a:cubicBezTo>
                    <a:cubicBezTo>
                      <a:pt x="361380" y="1304357"/>
                      <a:pt x="362487" y="1303817"/>
                      <a:pt x="363593" y="1311373"/>
                    </a:cubicBezTo>
                    <a:cubicBezTo>
                      <a:pt x="366911" y="1320548"/>
                      <a:pt x="360274" y="1322167"/>
                      <a:pt x="359721" y="1329184"/>
                    </a:cubicBezTo>
                    <a:cubicBezTo>
                      <a:pt x="359721" y="1333502"/>
                      <a:pt x="364146" y="1338899"/>
                      <a:pt x="364146" y="1343217"/>
                    </a:cubicBezTo>
                    <a:cubicBezTo>
                      <a:pt x="364146" y="1347534"/>
                      <a:pt x="360274" y="1351312"/>
                      <a:pt x="360274" y="1356710"/>
                    </a:cubicBezTo>
                    <a:cubicBezTo>
                      <a:pt x="366911" y="1368044"/>
                      <a:pt x="372442" y="1366425"/>
                      <a:pt x="365805" y="1384236"/>
                    </a:cubicBezTo>
                    <a:cubicBezTo>
                      <a:pt x="364699" y="1386395"/>
                      <a:pt x="361934" y="1388553"/>
                      <a:pt x="361380" y="1391252"/>
                    </a:cubicBezTo>
                    <a:cubicBezTo>
                      <a:pt x="359721" y="1395570"/>
                      <a:pt x="363040" y="1402046"/>
                      <a:pt x="363040" y="1406904"/>
                    </a:cubicBezTo>
                    <a:cubicBezTo>
                      <a:pt x="363040" y="1409603"/>
                      <a:pt x="361934" y="1412841"/>
                      <a:pt x="361380" y="1415540"/>
                    </a:cubicBezTo>
                    <a:cubicBezTo>
                      <a:pt x="363593" y="1417159"/>
                      <a:pt x="365252" y="1417159"/>
                      <a:pt x="365252" y="1420397"/>
                    </a:cubicBezTo>
                    <a:lnTo>
                      <a:pt x="364146" y="1423096"/>
                    </a:lnTo>
                    <a:cubicBezTo>
                      <a:pt x="362487" y="1424175"/>
                      <a:pt x="360274" y="1424175"/>
                      <a:pt x="358615" y="1425255"/>
                    </a:cubicBezTo>
                    <a:cubicBezTo>
                      <a:pt x="355296" y="1431192"/>
                      <a:pt x="359721" y="1443065"/>
                      <a:pt x="359721" y="1450082"/>
                    </a:cubicBezTo>
                    <a:cubicBezTo>
                      <a:pt x="360274" y="1460876"/>
                      <a:pt x="348659" y="1483545"/>
                      <a:pt x="344788" y="1495419"/>
                    </a:cubicBezTo>
                    <a:cubicBezTo>
                      <a:pt x="343128" y="1499736"/>
                      <a:pt x="342575" y="1505673"/>
                      <a:pt x="342022" y="1510531"/>
                    </a:cubicBezTo>
                    <a:cubicBezTo>
                      <a:pt x="340363" y="1519706"/>
                      <a:pt x="338704" y="1528881"/>
                      <a:pt x="337044" y="1537517"/>
                    </a:cubicBezTo>
                    <a:lnTo>
                      <a:pt x="334832" y="1539676"/>
                    </a:lnTo>
                    <a:cubicBezTo>
                      <a:pt x="329301" y="1540216"/>
                      <a:pt x="328748" y="1533739"/>
                      <a:pt x="325983" y="1530501"/>
                    </a:cubicBezTo>
                    <a:cubicBezTo>
                      <a:pt x="317686" y="1528342"/>
                      <a:pt x="302200" y="1536438"/>
                      <a:pt x="293903" y="1538057"/>
                    </a:cubicBezTo>
                    <a:cubicBezTo>
                      <a:pt x="288372" y="1539136"/>
                      <a:pt x="261271" y="1540755"/>
                      <a:pt x="259612" y="1541835"/>
                    </a:cubicBezTo>
                    <a:cubicBezTo>
                      <a:pt x="258505" y="1544533"/>
                      <a:pt x="256846" y="1554248"/>
                      <a:pt x="255187" y="1555328"/>
                    </a:cubicBezTo>
                    <a:cubicBezTo>
                      <a:pt x="253528" y="1556407"/>
                      <a:pt x="249103" y="1554788"/>
                      <a:pt x="246890" y="1555328"/>
                    </a:cubicBezTo>
                    <a:cubicBezTo>
                      <a:pt x="240806" y="1557487"/>
                      <a:pt x="231404" y="1576917"/>
                      <a:pt x="229191" y="1582854"/>
                    </a:cubicBezTo>
                    <a:cubicBezTo>
                      <a:pt x="224214" y="1597426"/>
                      <a:pt x="241359" y="1610919"/>
                      <a:pt x="234722" y="1625492"/>
                    </a:cubicBezTo>
                    <a:cubicBezTo>
                      <a:pt x="233616" y="1628191"/>
                      <a:pt x="230298" y="1631969"/>
                      <a:pt x="227532" y="1632508"/>
                    </a:cubicBezTo>
                    <a:cubicBezTo>
                      <a:pt x="226979" y="1632508"/>
                      <a:pt x="215917" y="1629810"/>
                      <a:pt x="212599" y="1630349"/>
                    </a:cubicBezTo>
                    <a:cubicBezTo>
                      <a:pt x="197665" y="1631969"/>
                      <a:pt x="182732" y="1643843"/>
                      <a:pt x="178860" y="1644382"/>
                    </a:cubicBezTo>
                    <a:cubicBezTo>
                      <a:pt x="173329" y="1645462"/>
                      <a:pt x="148440" y="1642763"/>
                      <a:pt x="142909" y="1640064"/>
                    </a:cubicBezTo>
                    <a:cubicBezTo>
                      <a:pt x="142909" y="1637366"/>
                      <a:pt x="146781" y="1633588"/>
                      <a:pt x="147887" y="1626032"/>
                    </a:cubicBezTo>
                    <a:cubicBezTo>
                      <a:pt x="147887" y="1621174"/>
                      <a:pt x="148993" y="1610380"/>
                      <a:pt x="147887" y="1606062"/>
                    </a:cubicBezTo>
                    <a:cubicBezTo>
                      <a:pt x="147334" y="1605522"/>
                      <a:pt x="140144" y="1597966"/>
                      <a:pt x="139037" y="1595807"/>
                    </a:cubicBezTo>
                    <a:cubicBezTo>
                      <a:pt x="136825" y="1592569"/>
                      <a:pt x="136272" y="1588251"/>
                      <a:pt x="134613" y="1585013"/>
                    </a:cubicBezTo>
                    <a:cubicBezTo>
                      <a:pt x="132953" y="1582314"/>
                      <a:pt x="129635" y="1576917"/>
                      <a:pt x="127423" y="1574758"/>
                    </a:cubicBezTo>
                    <a:cubicBezTo>
                      <a:pt x="116361" y="1563963"/>
                      <a:pt x="111383" y="1568821"/>
                      <a:pt x="104193" y="1552090"/>
                    </a:cubicBezTo>
                    <a:cubicBezTo>
                      <a:pt x="102533" y="1548311"/>
                      <a:pt x="101980" y="1545613"/>
                      <a:pt x="103640" y="1541835"/>
                    </a:cubicBezTo>
                    <a:lnTo>
                      <a:pt x="105852" y="1540755"/>
                    </a:lnTo>
                    <a:cubicBezTo>
                      <a:pt x="111936" y="1542375"/>
                      <a:pt x="117467" y="1544533"/>
                      <a:pt x="123551" y="1546153"/>
                    </a:cubicBezTo>
                    <a:lnTo>
                      <a:pt x="125210" y="1545073"/>
                    </a:lnTo>
                    <a:cubicBezTo>
                      <a:pt x="130741" y="1532120"/>
                      <a:pt x="117467" y="1530501"/>
                      <a:pt x="118573" y="1521325"/>
                    </a:cubicBezTo>
                    <a:cubicBezTo>
                      <a:pt x="120785" y="1518087"/>
                      <a:pt x="128529" y="1521865"/>
                      <a:pt x="130188" y="1515928"/>
                    </a:cubicBezTo>
                    <a:cubicBezTo>
                      <a:pt x="130741" y="1513769"/>
                      <a:pt x="131847" y="1511071"/>
                      <a:pt x="132400" y="1508912"/>
                    </a:cubicBezTo>
                    <a:cubicBezTo>
                      <a:pt x="132953" y="1507293"/>
                      <a:pt x="134613" y="1499197"/>
                      <a:pt x="133507" y="1498117"/>
                    </a:cubicBezTo>
                    <a:cubicBezTo>
                      <a:pt x="132400" y="1497038"/>
                      <a:pt x="121339" y="1494339"/>
                      <a:pt x="119126" y="1493260"/>
                    </a:cubicBezTo>
                    <a:cubicBezTo>
                      <a:pt x="116361" y="1492180"/>
                      <a:pt x="111383" y="1474369"/>
                      <a:pt x="108617" y="1470591"/>
                    </a:cubicBezTo>
                    <a:cubicBezTo>
                      <a:pt x="105299" y="1466813"/>
                      <a:pt x="97002" y="1464115"/>
                      <a:pt x="93131" y="1460337"/>
                    </a:cubicBezTo>
                    <a:cubicBezTo>
                      <a:pt x="86494" y="1454400"/>
                      <a:pt x="87600" y="1447383"/>
                      <a:pt x="84834" y="1440367"/>
                    </a:cubicBezTo>
                    <a:cubicBezTo>
                      <a:pt x="83175" y="1436049"/>
                      <a:pt x="80410" y="1432811"/>
                      <a:pt x="78750" y="1429033"/>
                    </a:cubicBezTo>
                    <a:cubicBezTo>
                      <a:pt x="77644" y="1425794"/>
                      <a:pt x="75432" y="1414460"/>
                      <a:pt x="73773" y="1412841"/>
                    </a:cubicBezTo>
                    <a:cubicBezTo>
                      <a:pt x="73220" y="1411761"/>
                      <a:pt x="69348" y="1412841"/>
                      <a:pt x="68242" y="1413381"/>
                    </a:cubicBezTo>
                    <a:cubicBezTo>
                      <a:pt x="66582" y="1414460"/>
                      <a:pt x="63817" y="1420397"/>
                      <a:pt x="59945" y="1416079"/>
                    </a:cubicBezTo>
                    <a:cubicBezTo>
                      <a:pt x="51649" y="1405825"/>
                      <a:pt x="63264" y="1393951"/>
                      <a:pt x="54414" y="1380458"/>
                    </a:cubicBezTo>
                    <a:cubicBezTo>
                      <a:pt x="53308" y="1379378"/>
                      <a:pt x="50543" y="1376679"/>
                      <a:pt x="49437" y="1376140"/>
                    </a:cubicBezTo>
                    <a:cubicBezTo>
                      <a:pt x="47777" y="1375600"/>
                      <a:pt x="45565" y="1376140"/>
                      <a:pt x="43906" y="1376140"/>
                    </a:cubicBezTo>
                    <a:cubicBezTo>
                      <a:pt x="43353" y="1372362"/>
                      <a:pt x="45565" y="1364806"/>
                      <a:pt x="45565" y="1362647"/>
                    </a:cubicBezTo>
                    <a:cubicBezTo>
                      <a:pt x="45565" y="1361028"/>
                      <a:pt x="42799" y="1358869"/>
                      <a:pt x="42799" y="1356710"/>
                    </a:cubicBezTo>
                    <a:cubicBezTo>
                      <a:pt x="42799" y="1355091"/>
                      <a:pt x="48883" y="1339978"/>
                      <a:pt x="49437" y="1336200"/>
                    </a:cubicBezTo>
                    <a:cubicBezTo>
                      <a:pt x="52202" y="1323247"/>
                      <a:pt x="49437" y="1311913"/>
                      <a:pt x="47777" y="1299499"/>
                    </a:cubicBezTo>
                    <a:cubicBezTo>
                      <a:pt x="38928" y="1295721"/>
                      <a:pt x="32844" y="1310294"/>
                      <a:pt x="28419" y="1305436"/>
                    </a:cubicBezTo>
                    <a:cubicBezTo>
                      <a:pt x="26207" y="1303277"/>
                      <a:pt x="28419" y="1300039"/>
                      <a:pt x="24547" y="1297340"/>
                    </a:cubicBezTo>
                    <a:cubicBezTo>
                      <a:pt x="22888" y="1296261"/>
                      <a:pt x="14039" y="1295721"/>
                      <a:pt x="12379" y="1293022"/>
                    </a:cubicBezTo>
                    <a:cubicBezTo>
                      <a:pt x="10167" y="1289244"/>
                      <a:pt x="8508" y="1271433"/>
                      <a:pt x="8508" y="1266036"/>
                    </a:cubicBezTo>
                    <a:cubicBezTo>
                      <a:pt x="7955" y="1264957"/>
                      <a:pt x="8508" y="1263877"/>
                      <a:pt x="8508" y="1262798"/>
                    </a:cubicBezTo>
                    <a:cubicBezTo>
                      <a:pt x="6848" y="1250924"/>
                      <a:pt x="1871" y="1239590"/>
                      <a:pt x="-342" y="1228256"/>
                    </a:cubicBezTo>
                    <a:cubicBezTo>
                      <a:pt x="-2554" y="1216382"/>
                      <a:pt x="5742" y="1222319"/>
                      <a:pt x="3530" y="1211524"/>
                    </a:cubicBezTo>
                    <a:lnTo>
                      <a:pt x="11273" y="1214223"/>
                    </a:lnTo>
                    <a:lnTo>
                      <a:pt x="12379" y="1236351"/>
                    </a:lnTo>
                    <a:lnTo>
                      <a:pt x="19016" y="1237971"/>
                    </a:lnTo>
                    <a:lnTo>
                      <a:pt x="25100" y="1236351"/>
                    </a:lnTo>
                    <a:lnTo>
                      <a:pt x="37269" y="1191554"/>
                    </a:lnTo>
                    <a:lnTo>
                      <a:pt x="28419" y="1152155"/>
                    </a:lnTo>
                    <a:lnTo>
                      <a:pt x="38928" y="1142440"/>
                    </a:lnTo>
                    <a:lnTo>
                      <a:pt x="36162" y="1121930"/>
                    </a:lnTo>
                    <a:lnTo>
                      <a:pt x="55521" y="1117073"/>
                    </a:lnTo>
                    <a:lnTo>
                      <a:pt x="68242" y="1097643"/>
                    </a:lnTo>
                    <a:lnTo>
                      <a:pt x="69348" y="1072276"/>
                    </a:lnTo>
                    <a:lnTo>
                      <a:pt x="75985" y="1049067"/>
                    </a:lnTo>
                    <a:lnTo>
                      <a:pt x="47777" y="989698"/>
                    </a:lnTo>
                    <a:lnTo>
                      <a:pt x="57180" y="981062"/>
                    </a:lnTo>
                    <a:lnTo>
                      <a:pt x="67689" y="981062"/>
                    </a:lnTo>
                    <a:lnTo>
                      <a:pt x="78750" y="949219"/>
                    </a:lnTo>
                    <a:lnTo>
                      <a:pt x="75985" y="935726"/>
                    </a:lnTo>
                    <a:lnTo>
                      <a:pt x="36715" y="902802"/>
                    </a:lnTo>
                    <a:lnTo>
                      <a:pt x="41693" y="840734"/>
                    </a:lnTo>
                    <a:lnTo>
                      <a:pt x="38928" y="833718"/>
                    </a:lnTo>
                    <a:lnTo>
                      <a:pt x="20676" y="795937"/>
                    </a:lnTo>
                    <a:lnTo>
                      <a:pt x="20123" y="764094"/>
                    </a:lnTo>
                    <a:lnTo>
                      <a:pt x="26760" y="752220"/>
                    </a:lnTo>
                    <a:lnTo>
                      <a:pt x="14592" y="720376"/>
                    </a:lnTo>
                    <a:lnTo>
                      <a:pt x="23994" y="695009"/>
                    </a:lnTo>
                    <a:lnTo>
                      <a:pt x="20123" y="683675"/>
                    </a:lnTo>
                    <a:lnTo>
                      <a:pt x="25100" y="669642"/>
                    </a:lnTo>
                    <a:lnTo>
                      <a:pt x="45565" y="637798"/>
                    </a:lnTo>
                    <a:lnTo>
                      <a:pt x="71007" y="622686"/>
                    </a:lnTo>
                    <a:lnTo>
                      <a:pt x="114148" y="625385"/>
                    </a:lnTo>
                    <a:lnTo>
                      <a:pt x="119126" y="607574"/>
                    </a:lnTo>
                    <a:lnTo>
                      <a:pt x="116361" y="576810"/>
                    </a:lnTo>
                    <a:lnTo>
                      <a:pt x="91472" y="558999"/>
                    </a:lnTo>
                    <a:lnTo>
                      <a:pt x="117467" y="495311"/>
                    </a:lnTo>
                    <a:lnTo>
                      <a:pt x="124657" y="460769"/>
                    </a:lnTo>
                    <a:lnTo>
                      <a:pt x="125763" y="416512"/>
                    </a:lnTo>
                    <a:lnTo>
                      <a:pt x="116914" y="383049"/>
                    </a:lnTo>
                    <a:lnTo>
                      <a:pt x="136825" y="373334"/>
                    </a:lnTo>
                    <a:lnTo>
                      <a:pt x="160055" y="354444"/>
                    </a:lnTo>
                    <a:lnTo>
                      <a:pt x="147887" y="335013"/>
                    </a:lnTo>
                    <a:lnTo>
                      <a:pt x="189369" y="272406"/>
                    </a:lnTo>
                    <a:lnTo>
                      <a:pt x="186050" y="241641"/>
                    </a:lnTo>
                    <a:lnTo>
                      <a:pt x="171117" y="221132"/>
                    </a:lnTo>
                    <a:lnTo>
                      <a:pt x="181626" y="205480"/>
                    </a:lnTo>
                    <a:lnTo>
                      <a:pt x="191581" y="162842"/>
                    </a:lnTo>
                    <a:lnTo>
                      <a:pt x="212599" y="140173"/>
                    </a:lnTo>
                    <a:lnTo>
                      <a:pt x="236382" y="145571"/>
                    </a:lnTo>
                    <a:lnTo>
                      <a:pt x="244678" y="145031"/>
                    </a:lnTo>
                    <a:lnTo>
                      <a:pt x="251868" y="125601"/>
                    </a:lnTo>
                    <a:lnTo>
                      <a:pt x="247997" y="120204"/>
                    </a:lnTo>
                    <a:lnTo>
                      <a:pt x="240253" y="93217"/>
                    </a:lnTo>
                    <a:lnTo>
                      <a:pt x="243572" y="81883"/>
                    </a:lnTo>
                    <a:lnTo>
                      <a:pt x="277310" y="74327"/>
                    </a:lnTo>
                    <a:lnTo>
                      <a:pt x="329854" y="84042"/>
                    </a:lnTo>
                    <a:lnTo>
                      <a:pt x="333173" y="73248"/>
                    </a:lnTo>
                    <a:lnTo>
                      <a:pt x="328195" y="70549"/>
                    </a:lnTo>
                    <a:lnTo>
                      <a:pt x="335938" y="42483"/>
                    </a:lnTo>
                    <a:lnTo>
                      <a:pt x="323217" y="7401"/>
                    </a:lnTo>
                    <a:lnTo>
                      <a:pt x="339257" y="-155"/>
                    </a:lnTo>
                    <a:lnTo>
                      <a:pt x="355850" y="1464"/>
                    </a:lnTo>
                    <a:cubicBezTo>
                      <a:pt x="369124" y="19815"/>
                      <a:pt x="384057" y="37626"/>
                      <a:pt x="406734" y="44103"/>
                    </a:cubicBezTo>
                    <a:cubicBezTo>
                      <a:pt x="420008" y="47881"/>
                      <a:pt x="433836" y="48420"/>
                      <a:pt x="446557" y="52198"/>
                    </a:cubicBezTo>
                    <a:cubicBezTo>
                      <a:pt x="449322" y="52738"/>
                      <a:pt x="451534" y="54357"/>
                      <a:pt x="453747" y="55977"/>
                    </a:cubicBezTo>
                    <a:cubicBezTo>
                      <a:pt x="456512" y="57596"/>
                      <a:pt x="459831" y="59215"/>
                      <a:pt x="462596" y="61913"/>
                    </a:cubicBezTo>
                    <a:cubicBezTo>
                      <a:pt x="468680" y="66771"/>
                      <a:pt x="476424" y="80264"/>
                      <a:pt x="481955" y="82423"/>
                    </a:cubicBezTo>
                    <a:cubicBezTo>
                      <a:pt x="489145" y="85661"/>
                      <a:pt x="495782" y="81883"/>
                      <a:pt x="498547" y="92138"/>
                    </a:cubicBezTo>
                    <a:cubicBezTo>
                      <a:pt x="501313" y="101313"/>
                      <a:pt x="496888" y="107250"/>
                      <a:pt x="497441" y="111568"/>
                    </a:cubicBezTo>
                    <a:cubicBezTo>
                      <a:pt x="497994" y="112647"/>
                      <a:pt x="509056" y="126141"/>
                      <a:pt x="510162" y="130998"/>
                    </a:cubicBezTo>
                    <a:cubicBezTo>
                      <a:pt x="511268" y="136935"/>
                      <a:pt x="508503" y="143412"/>
                      <a:pt x="510162" y="148809"/>
                    </a:cubicBezTo>
                    <a:cubicBezTo>
                      <a:pt x="511821" y="156905"/>
                      <a:pt x="525096" y="151508"/>
                      <a:pt x="525649" y="163381"/>
                    </a:cubicBezTo>
                    <a:cubicBezTo>
                      <a:pt x="526202" y="171477"/>
                      <a:pt x="521777" y="176335"/>
                      <a:pt x="522330" y="185510"/>
                    </a:cubicBezTo>
                    <a:close/>
                    <a:moveTo>
                      <a:pt x="375761" y="1511071"/>
                    </a:moveTo>
                    <a:lnTo>
                      <a:pt x="372995" y="1516468"/>
                    </a:lnTo>
                    <a:cubicBezTo>
                      <a:pt x="372442" y="1517008"/>
                      <a:pt x="368571" y="1515388"/>
                      <a:pt x="368571" y="1514849"/>
                    </a:cubicBezTo>
                    <a:cubicBezTo>
                      <a:pt x="367464" y="1512150"/>
                      <a:pt x="366358" y="1504054"/>
                      <a:pt x="366358" y="1501895"/>
                    </a:cubicBezTo>
                    <a:cubicBezTo>
                      <a:pt x="366911" y="1493260"/>
                      <a:pt x="370230" y="1466274"/>
                      <a:pt x="371889" y="1458178"/>
                    </a:cubicBezTo>
                    <a:cubicBezTo>
                      <a:pt x="373548" y="1451161"/>
                      <a:pt x="382398" y="1429572"/>
                      <a:pt x="384057" y="1422556"/>
                    </a:cubicBezTo>
                    <a:cubicBezTo>
                      <a:pt x="385717" y="1416079"/>
                      <a:pt x="389588" y="1395570"/>
                      <a:pt x="390694" y="1389093"/>
                    </a:cubicBezTo>
                    <a:cubicBezTo>
                      <a:pt x="391247" y="1388553"/>
                      <a:pt x="391801" y="1386934"/>
                      <a:pt x="392354" y="1386934"/>
                    </a:cubicBezTo>
                    <a:cubicBezTo>
                      <a:pt x="392907" y="1386395"/>
                      <a:pt x="394013" y="1385855"/>
                      <a:pt x="394566" y="1385855"/>
                    </a:cubicBezTo>
                    <a:lnTo>
                      <a:pt x="396225" y="1385855"/>
                    </a:lnTo>
                    <a:cubicBezTo>
                      <a:pt x="396225" y="1386395"/>
                      <a:pt x="396778" y="1388014"/>
                      <a:pt x="397885" y="1388014"/>
                    </a:cubicBezTo>
                    <a:cubicBezTo>
                      <a:pt x="398991" y="1387474"/>
                      <a:pt x="397885" y="1394490"/>
                      <a:pt x="397331" y="1396110"/>
                    </a:cubicBezTo>
                    <a:cubicBezTo>
                      <a:pt x="393460" y="1418778"/>
                      <a:pt x="380186" y="1488942"/>
                      <a:pt x="375761" y="1511071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5" name="Freeform 1057">
                <a:extLst>
                  <a:ext uri="{FF2B5EF4-FFF2-40B4-BE49-F238E27FC236}">
                    <a16:creationId xmlns:a16="http://schemas.microsoft.com/office/drawing/2014/main" id="{5A50FE20-C56B-414B-B314-7460CCAD2833}"/>
                  </a:ext>
                </a:extLst>
              </p:cNvPr>
              <p:cNvSpPr/>
              <p:nvPr/>
            </p:nvSpPr>
            <p:spPr>
              <a:xfrm>
                <a:off x="7036369" y="1269492"/>
                <a:ext cx="2832830" cy="2836785"/>
              </a:xfrm>
              <a:custGeom>
                <a:avLst/>
                <a:gdLst>
                  <a:gd name="connsiteX0" fmla="*/ 109571 w 2832830"/>
                  <a:gd name="connsiteY0" fmla="*/ 164971 h 2836785"/>
                  <a:gd name="connsiteX1" fmla="*/ 123952 w 2832830"/>
                  <a:gd name="connsiteY1" fmla="*/ 165510 h 2836785"/>
                  <a:gd name="connsiteX2" fmla="*/ 127824 w 2832830"/>
                  <a:gd name="connsiteY2" fmla="*/ 171447 h 2836785"/>
                  <a:gd name="connsiteX3" fmla="*/ 130589 w 2832830"/>
                  <a:gd name="connsiteY3" fmla="*/ 170908 h 2836785"/>
                  <a:gd name="connsiteX4" fmla="*/ 139438 w 2832830"/>
                  <a:gd name="connsiteY4" fmla="*/ 164431 h 2836785"/>
                  <a:gd name="connsiteX5" fmla="*/ 134461 w 2832830"/>
                  <a:gd name="connsiteY5" fmla="*/ 154716 h 2836785"/>
                  <a:gd name="connsiteX6" fmla="*/ 136673 w 2832830"/>
                  <a:gd name="connsiteY6" fmla="*/ 148779 h 2836785"/>
                  <a:gd name="connsiteX7" fmla="*/ 150500 w 2832830"/>
                  <a:gd name="connsiteY7" fmla="*/ 148239 h 2836785"/>
                  <a:gd name="connsiteX8" fmla="*/ 151053 w 2832830"/>
                  <a:gd name="connsiteY8" fmla="*/ 145541 h 2836785"/>
                  <a:gd name="connsiteX9" fmla="*/ 144416 w 2832830"/>
                  <a:gd name="connsiteY9" fmla="*/ 135826 h 2836785"/>
                  <a:gd name="connsiteX10" fmla="*/ 144969 w 2832830"/>
                  <a:gd name="connsiteY10" fmla="*/ 133667 h 2836785"/>
                  <a:gd name="connsiteX11" fmla="*/ 149947 w 2832830"/>
                  <a:gd name="connsiteY11" fmla="*/ 133667 h 2836785"/>
                  <a:gd name="connsiteX12" fmla="*/ 172624 w 2832830"/>
                  <a:gd name="connsiteY12" fmla="*/ 141763 h 2836785"/>
                  <a:gd name="connsiteX13" fmla="*/ 191982 w 2832830"/>
                  <a:gd name="connsiteY13" fmla="*/ 140683 h 2836785"/>
                  <a:gd name="connsiteX14" fmla="*/ 195301 w 2832830"/>
                  <a:gd name="connsiteY14" fmla="*/ 145541 h 2836785"/>
                  <a:gd name="connsiteX15" fmla="*/ 176496 w 2832830"/>
                  <a:gd name="connsiteY15" fmla="*/ 161193 h 2836785"/>
                  <a:gd name="connsiteX16" fmla="*/ 162668 w 2832830"/>
                  <a:gd name="connsiteY16" fmla="*/ 157415 h 2836785"/>
                  <a:gd name="connsiteX17" fmla="*/ 158797 w 2832830"/>
                  <a:gd name="connsiteY17" fmla="*/ 159034 h 2836785"/>
                  <a:gd name="connsiteX18" fmla="*/ 157137 w 2832830"/>
                  <a:gd name="connsiteY18" fmla="*/ 170908 h 2836785"/>
                  <a:gd name="connsiteX19" fmla="*/ 175389 w 2832830"/>
                  <a:gd name="connsiteY19" fmla="*/ 168749 h 2836785"/>
                  <a:gd name="connsiteX20" fmla="*/ 178155 w 2832830"/>
                  <a:gd name="connsiteY20" fmla="*/ 175765 h 2836785"/>
                  <a:gd name="connsiteX21" fmla="*/ 180367 w 2832830"/>
                  <a:gd name="connsiteY21" fmla="*/ 176845 h 2836785"/>
                  <a:gd name="connsiteX22" fmla="*/ 200832 w 2832830"/>
                  <a:gd name="connsiteY22" fmla="*/ 171447 h 2836785"/>
                  <a:gd name="connsiteX23" fmla="*/ 215212 w 2832830"/>
                  <a:gd name="connsiteY23" fmla="*/ 169288 h 2836785"/>
                  <a:gd name="connsiteX24" fmla="*/ 227380 w 2832830"/>
                  <a:gd name="connsiteY24" fmla="*/ 168209 h 2836785"/>
                  <a:gd name="connsiteX25" fmla="*/ 226827 w 2832830"/>
                  <a:gd name="connsiteY25" fmla="*/ 182781 h 2836785"/>
                  <a:gd name="connsiteX26" fmla="*/ 234570 w 2832830"/>
                  <a:gd name="connsiteY26" fmla="*/ 192497 h 2836785"/>
                  <a:gd name="connsiteX27" fmla="*/ 228486 w 2832830"/>
                  <a:gd name="connsiteY27" fmla="*/ 205990 h 2836785"/>
                  <a:gd name="connsiteX28" fmla="*/ 230146 w 2832830"/>
                  <a:gd name="connsiteY28" fmla="*/ 209228 h 2836785"/>
                  <a:gd name="connsiteX29" fmla="*/ 233464 w 2832830"/>
                  <a:gd name="connsiteY29" fmla="*/ 209768 h 2836785"/>
                  <a:gd name="connsiteX30" fmla="*/ 240101 w 2832830"/>
                  <a:gd name="connsiteY30" fmla="*/ 196275 h 2836785"/>
                  <a:gd name="connsiteX31" fmla="*/ 239548 w 2832830"/>
                  <a:gd name="connsiteY31" fmla="*/ 177384 h 2836785"/>
                  <a:gd name="connsiteX32" fmla="*/ 255588 w 2832830"/>
                  <a:gd name="connsiteY32" fmla="*/ 169288 h 2836785"/>
                  <a:gd name="connsiteX33" fmla="*/ 259459 w 2832830"/>
                  <a:gd name="connsiteY33" fmla="*/ 160653 h 2836785"/>
                  <a:gd name="connsiteX34" fmla="*/ 279924 w 2832830"/>
                  <a:gd name="connsiteY34" fmla="*/ 166590 h 2836785"/>
                  <a:gd name="connsiteX35" fmla="*/ 295964 w 2832830"/>
                  <a:gd name="connsiteY35" fmla="*/ 164431 h 2836785"/>
                  <a:gd name="connsiteX36" fmla="*/ 299282 w 2832830"/>
                  <a:gd name="connsiteY36" fmla="*/ 154716 h 2836785"/>
                  <a:gd name="connsiteX37" fmla="*/ 321406 w 2832830"/>
                  <a:gd name="connsiteY37" fmla="*/ 147160 h 2836785"/>
                  <a:gd name="connsiteX38" fmla="*/ 349613 w 2832830"/>
                  <a:gd name="connsiteY38" fmla="*/ 153636 h 2836785"/>
                  <a:gd name="connsiteX39" fmla="*/ 387224 w 2832830"/>
                  <a:gd name="connsiteY39" fmla="*/ 159034 h 2836785"/>
                  <a:gd name="connsiteX40" fmla="*/ 407135 w 2832830"/>
                  <a:gd name="connsiteY40" fmla="*/ 166050 h 2836785"/>
                  <a:gd name="connsiteX41" fmla="*/ 437555 w 2832830"/>
                  <a:gd name="connsiteY41" fmla="*/ 171987 h 2836785"/>
                  <a:gd name="connsiteX42" fmla="*/ 453042 w 2832830"/>
                  <a:gd name="connsiteY42" fmla="*/ 173606 h 2836785"/>
                  <a:gd name="connsiteX43" fmla="*/ 487333 w 2832830"/>
                  <a:gd name="connsiteY43" fmla="*/ 193036 h 2836785"/>
                  <a:gd name="connsiteX44" fmla="*/ 487333 w 2832830"/>
                  <a:gd name="connsiteY44" fmla="*/ 184940 h 2836785"/>
                  <a:gd name="connsiteX45" fmla="*/ 489546 w 2832830"/>
                  <a:gd name="connsiteY45" fmla="*/ 184401 h 2836785"/>
                  <a:gd name="connsiteX46" fmla="*/ 531028 w 2832830"/>
                  <a:gd name="connsiteY46" fmla="*/ 195735 h 2836785"/>
                  <a:gd name="connsiteX47" fmla="*/ 536005 w 2832830"/>
                  <a:gd name="connsiteY47" fmla="*/ 192497 h 2836785"/>
                  <a:gd name="connsiteX48" fmla="*/ 545961 w 2832830"/>
                  <a:gd name="connsiteY48" fmla="*/ 186020 h 2836785"/>
                  <a:gd name="connsiteX49" fmla="*/ 584124 w 2832830"/>
                  <a:gd name="connsiteY49" fmla="*/ 196814 h 2836785"/>
                  <a:gd name="connsiteX50" fmla="*/ 590208 w 2832830"/>
                  <a:gd name="connsiteY50" fmla="*/ 208148 h 2836785"/>
                  <a:gd name="connsiteX51" fmla="*/ 602930 w 2832830"/>
                  <a:gd name="connsiteY51" fmla="*/ 203831 h 2836785"/>
                  <a:gd name="connsiteX52" fmla="*/ 623947 w 2832830"/>
                  <a:gd name="connsiteY52" fmla="*/ 204910 h 2836785"/>
                  <a:gd name="connsiteX53" fmla="*/ 633350 w 2832830"/>
                  <a:gd name="connsiteY53" fmla="*/ 223800 h 2836785"/>
                  <a:gd name="connsiteX54" fmla="*/ 648283 w 2832830"/>
                  <a:gd name="connsiteY54" fmla="*/ 235674 h 2836785"/>
                  <a:gd name="connsiteX55" fmla="*/ 654920 w 2832830"/>
                  <a:gd name="connsiteY55" fmla="*/ 246469 h 2836785"/>
                  <a:gd name="connsiteX56" fmla="*/ 675385 w 2832830"/>
                  <a:gd name="connsiteY56" fmla="*/ 251326 h 2836785"/>
                  <a:gd name="connsiteX57" fmla="*/ 684234 w 2832830"/>
                  <a:gd name="connsiteY57" fmla="*/ 285869 h 2836785"/>
                  <a:gd name="connsiteX58" fmla="*/ 677044 w 2832830"/>
                  <a:gd name="connsiteY58" fmla="*/ 358731 h 2836785"/>
                  <a:gd name="connsiteX59" fmla="*/ 662110 w 2832830"/>
                  <a:gd name="connsiteY59" fmla="*/ 385178 h 2836785"/>
                  <a:gd name="connsiteX60" fmla="*/ 632243 w 2832830"/>
                  <a:gd name="connsiteY60" fmla="*/ 415402 h 2836785"/>
                  <a:gd name="connsiteX61" fmla="*/ 612332 w 2832830"/>
                  <a:gd name="connsiteY61" fmla="*/ 425657 h 2836785"/>
                  <a:gd name="connsiteX62" fmla="*/ 608461 w 2832830"/>
                  <a:gd name="connsiteY62" fmla="*/ 429435 h 2836785"/>
                  <a:gd name="connsiteX63" fmla="*/ 561448 w 2832830"/>
                  <a:gd name="connsiteY63" fmla="*/ 439150 h 2836785"/>
                  <a:gd name="connsiteX64" fmla="*/ 512222 w 2832830"/>
                  <a:gd name="connsiteY64" fmla="*/ 440230 h 2836785"/>
                  <a:gd name="connsiteX65" fmla="*/ 455807 w 2832830"/>
                  <a:gd name="connsiteY65" fmla="*/ 453183 h 2836785"/>
                  <a:gd name="connsiteX66" fmla="*/ 420409 w 2832830"/>
                  <a:gd name="connsiteY66" fmla="*/ 441309 h 2836785"/>
                  <a:gd name="connsiteX67" fmla="*/ 407688 w 2832830"/>
                  <a:gd name="connsiteY67" fmla="*/ 455342 h 2836785"/>
                  <a:gd name="connsiteX68" fmla="*/ 401604 w 2832830"/>
                  <a:gd name="connsiteY68" fmla="*/ 445627 h 2836785"/>
                  <a:gd name="connsiteX69" fmla="*/ 378927 w 2832830"/>
                  <a:gd name="connsiteY69" fmla="*/ 448325 h 2836785"/>
                  <a:gd name="connsiteX70" fmla="*/ 363441 w 2832830"/>
                  <a:gd name="connsiteY70" fmla="*/ 445087 h 2836785"/>
                  <a:gd name="connsiteX71" fmla="*/ 354038 w 2832830"/>
                  <a:gd name="connsiteY71" fmla="*/ 451024 h 2836785"/>
                  <a:gd name="connsiteX72" fmla="*/ 324724 w 2832830"/>
                  <a:gd name="connsiteY72" fmla="*/ 444008 h 2836785"/>
                  <a:gd name="connsiteX73" fmla="*/ 314216 w 2832830"/>
                  <a:gd name="connsiteY73" fmla="*/ 433213 h 2836785"/>
                  <a:gd name="connsiteX74" fmla="*/ 312556 w 2832830"/>
                  <a:gd name="connsiteY74" fmla="*/ 425117 h 2836785"/>
                  <a:gd name="connsiteX75" fmla="*/ 271074 w 2832830"/>
                  <a:gd name="connsiteY75" fmla="*/ 432673 h 2836785"/>
                  <a:gd name="connsiteX76" fmla="*/ 272734 w 2832830"/>
                  <a:gd name="connsiteY76" fmla="*/ 433753 h 2836785"/>
                  <a:gd name="connsiteX77" fmla="*/ 282136 w 2832830"/>
                  <a:gd name="connsiteY77" fmla="*/ 434293 h 2836785"/>
                  <a:gd name="connsiteX78" fmla="*/ 298729 w 2832830"/>
                  <a:gd name="connsiteY78" fmla="*/ 443468 h 2836785"/>
                  <a:gd name="connsiteX79" fmla="*/ 297623 w 2832830"/>
                  <a:gd name="connsiteY79" fmla="*/ 452103 h 2836785"/>
                  <a:gd name="connsiteX80" fmla="*/ 298729 w 2832830"/>
                  <a:gd name="connsiteY80" fmla="*/ 453183 h 2836785"/>
                  <a:gd name="connsiteX81" fmla="*/ 310897 w 2832830"/>
                  <a:gd name="connsiteY81" fmla="*/ 459660 h 2836785"/>
                  <a:gd name="connsiteX82" fmla="*/ 328596 w 2832830"/>
                  <a:gd name="connsiteY82" fmla="*/ 461818 h 2836785"/>
                  <a:gd name="connsiteX83" fmla="*/ 326937 w 2832830"/>
                  <a:gd name="connsiteY83" fmla="*/ 468295 h 2836785"/>
                  <a:gd name="connsiteX84" fmla="*/ 346848 w 2832830"/>
                  <a:gd name="connsiteY84" fmla="*/ 465597 h 2836785"/>
                  <a:gd name="connsiteX85" fmla="*/ 348507 w 2832830"/>
                  <a:gd name="connsiteY85" fmla="*/ 467216 h 2836785"/>
                  <a:gd name="connsiteX86" fmla="*/ 345189 w 2832830"/>
                  <a:gd name="connsiteY86" fmla="*/ 474232 h 2836785"/>
                  <a:gd name="connsiteX87" fmla="*/ 366759 w 2832830"/>
                  <a:gd name="connsiteY87" fmla="*/ 481788 h 2836785"/>
                  <a:gd name="connsiteX88" fmla="*/ 377268 w 2832830"/>
                  <a:gd name="connsiteY88" fmla="*/ 497440 h 2836785"/>
                  <a:gd name="connsiteX89" fmla="*/ 406582 w 2832830"/>
                  <a:gd name="connsiteY89" fmla="*/ 496900 h 2836785"/>
                  <a:gd name="connsiteX90" fmla="*/ 419303 w 2832830"/>
                  <a:gd name="connsiteY90" fmla="*/ 500679 h 2836785"/>
                  <a:gd name="connsiteX91" fmla="*/ 446958 w 2832830"/>
                  <a:gd name="connsiteY91" fmla="*/ 507155 h 2836785"/>
                  <a:gd name="connsiteX92" fmla="*/ 467422 w 2832830"/>
                  <a:gd name="connsiteY92" fmla="*/ 530903 h 2836785"/>
                  <a:gd name="connsiteX93" fmla="*/ 467975 w 2832830"/>
                  <a:gd name="connsiteY93" fmla="*/ 540078 h 2836785"/>
                  <a:gd name="connsiteX94" fmla="*/ 471847 w 2832830"/>
                  <a:gd name="connsiteY94" fmla="*/ 547095 h 2836785"/>
                  <a:gd name="connsiteX95" fmla="*/ 470741 w 2832830"/>
                  <a:gd name="connsiteY95" fmla="*/ 564906 h 2836785"/>
                  <a:gd name="connsiteX96" fmla="*/ 462444 w 2832830"/>
                  <a:gd name="connsiteY96" fmla="*/ 577859 h 2836785"/>
                  <a:gd name="connsiteX97" fmla="*/ 465210 w 2832830"/>
                  <a:gd name="connsiteY97" fmla="*/ 583796 h 2836785"/>
                  <a:gd name="connsiteX98" fmla="*/ 492864 w 2832830"/>
                  <a:gd name="connsiteY98" fmla="*/ 603226 h 2836785"/>
                  <a:gd name="connsiteX99" fmla="*/ 506692 w 2832830"/>
                  <a:gd name="connsiteY99" fmla="*/ 625355 h 2836785"/>
                  <a:gd name="connsiteX100" fmla="*/ 514435 w 2832830"/>
                  <a:gd name="connsiteY100" fmla="*/ 632371 h 2836785"/>
                  <a:gd name="connsiteX101" fmla="*/ 518860 w 2832830"/>
                  <a:gd name="connsiteY101" fmla="*/ 641007 h 2836785"/>
                  <a:gd name="connsiteX102" fmla="*/ 523837 w 2832830"/>
                  <a:gd name="connsiteY102" fmla="*/ 644785 h 2836785"/>
                  <a:gd name="connsiteX103" fmla="*/ 548727 w 2832830"/>
                  <a:gd name="connsiteY103" fmla="*/ 671771 h 2836785"/>
                  <a:gd name="connsiteX104" fmla="*/ 573616 w 2832830"/>
                  <a:gd name="connsiteY104" fmla="*/ 666913 h 2836785"/>
                  <a:gd name="connsiteX105" fmla="*/ 604036 w 2832830"/>
                  <a:gd name="connsiteY105" fmla="*/ 672850 h 2836785"/>
                  <a:gd name="connsiteX106" fmla="*/ 612885 w 2832830"/>
                  <a:gd name="connsiteY106" fmla="*/ 670152 h 2836785"/>
                  <a:gd name="connsiteX107" fmla="*/ 617310 w 2832830"/>
                  <a:gd name="connsiteY107" fmla="*/ 676628 h 2836785"/>
                  <a:gd name="connsiteX108" fmla="*/ 618969 w 2832830"/>
                  <a:gd name="connsiteY108" fmla="*/ 684184 h 2836785"/>
                  <a:gd name="connsiteX109" fmla="*/ 658792 w 2832830"/>
                  <a:gd name="connsiteY109" fmla="*/ 684724 h 2836785"/>
                  <a:gd name="connsiteX110" fmla="*/ 683128 w 2832830"/>
                  <a:gd name="connsiteY110" fmla="*/ 690661 h 2836785"/>
                  <a:gd name="connsiteX111" fmla="*/ 690871 w 2832830"/>
                  <a:gd name="connsiteY111" fmla="*/ 686343 h 2836785"/>
                  <a:gd name="connsiteX112" fmla="*/ 693084 w 2832830"/>
                  <a:gd name="connsiteY112" fmla="*/ 671771 h 2836785"/>
                  <a:gd name="connsiteX113" fmla="*/ 708570 w 2832830"/>
                  <a:gd name="connsiteY113" fmla="*/ 652881 h 2836785"/>
                  <a:gd name="connsiteX114" fmla="*/ 692531 w 2832830"/>
                  <a:gd name="connsiteY114" fmla="*/ 635609 h 2836785"/>
                  <a:gd name="connsiteX115" fmla="*/ 690871 w 2832830"/>
                  <a:gd name="connsiteY115" fmla="*/ 624275 h 2836785"/>
                  <a:gd name="connsiteX116" fmla="*/ 673725 w 2832830"/>
                  <a:gd name="connsiteY116" fmla="*/ 616179 h 2836785"/>
                  <a:gd name="connsiteX117" fmla="*/ 652155 w 2832830"/>
                  <a:gd name="connsiteY117" fmla="*/ 630212 h 2836785"/>
                  <a:gd name="connsiteX118" fmla="*/ 613991 w 2832830"/>
                  <a:gd name="connsiteY118" fmla="*/ 609163 h 2836785"/>
                  <a:gd name="connsiteX119" fmla="*/ 600164 w 2832830"/>
                  <a:gd name="connsiteY119" fmla="*/ 605385 h 2836785"/>
                  <a:gd name="connsiteX120" fmla="*/ 580806 w 2832830"/>
                  <a:gd name="connsiteY120" fmla="*/ 590812 h 2836785"/>
                  <a:gd name="connsiteX121" fmla="*/ 580806 w 2832830"/>
                  <a:gd name="connsiteY121" fmla="*/ 588114 h 2836785"/>
                  <a:gd name="connsiteX122" fmla="*/ 594633 w 2832830"/>
                  <a:gd name="connsiteY122" fmla="*/ 575160 h 2836785"/>
                  <a:gd name="connsiteX123" fmla="*/ 591315 w 2832830"/>
                  <a:gd name="connsiteY123" fmla="*/ 551413 h 2836785"/>
                  <a:gd name="connsiteX124" fmla="*/ 677044 w 2832830"/>
                  <a:gd name="connsiteY124" fmla="*/ 556810 h 2836785"/>
                  <a:gd name="connsiteX125" fmla="*/ 683128 w 2832830"/>
                  <a:gd name="connsiteY125" fmla="*/ 560048 h 2836785"/>
                  <a:gd name="connsiteX126" fmla="*/ 705805 w 2832830"/>
                  <a:gd name="connsiteY126" fmla="*/ 554111 h 2836785"/>
                  <a:gd name="connsiteX127" fmla="*/ 743968 w 2832830"/>
                  <a:gd name="connsiteY127" fmla="*/ 558969 h 2836785"/>
                  <a:gd name="connsiteX128" fmla="*/ 758902 w 2832830"/>
                  <a:gd name="connsiteY128" fmla="*/ 547634 h 2836785"/>
                  <a:gd name="connsiteX129" fmla="*/ 795406 w 2832830"/>
                  <a:gd name="connsiteY129" fmla="*/ 540618 h 2836785"/>
                  <a:gd name="connsiteX130" fmla="*/ 790981 w 2832830"/>
                  <a:gd name="connsiteY130" fmla="*/ 529824 h 2836785"/>
                  <a:gd name="connsiteX131" fmla="*/ 779366 w 2832830"/>
                  <a:gd name="connsiteY131" fmla="*/ 521728 h 2836785"/>
                  <a:gd name="connsiteX132" fmla="*/ 772729 w 2832830"/>
                  <a:gd name="connsiteY132" fmla="*/ 510933 h 2836785"/>
                  <a:gd name="connsiteX133" fmla="*/ 757795 w 2832830"/>
                  <a:gd name="connsiteY133" fmla="*/ 500139 h 2836785"/>
                  <a:gd name="connsiteX134" fmla="*/ 700827 w 2832830"/>
                  <a:gd name="connsiteY134" fmla="*/ 461279 h 2836785"/>
                  <a:gd name="connsiteX135" fmla="*/ 704145 w 2832830"/>
                  <a:gd name="connsiteY135" fmla="*/ 432134 h 2836785"/>
                  <a:gd name="connsiteX136" fmla="*/ 712442 w 2832830"/>
                  <a:gd name="connsiteY136" fmla="*/ 411624 h 2836785"/>
                  <a:gd name="connsiteX137" fmla="*/ 719079 w 2832830"/>
                  <a:gd name="connsiteY137" fmla="*/ 387876 h 2836785"/>
                  <a:gd name="connsiteX138" fmla="*/ 728481 w 2832830"/>
                  <a:gd name="connsiteY138" fmla="*/ 376002 h 2836785"/>
                  <a:gd name="connsiteX139" fmla="*/ 742309 w 2832830"/>
                  <a:gd name="connsiteY139" fmla="*/ 346318 h 2836785"/>
                  <a:gd name="connsiteX140" fmla="*/ 745627 w 2832830"/>
                  <a:gd name="connsiteY140" fmla="*/ 320951 h 2836785"/>
                  <a:gd name="connsiteX141" fmla="*/ 745627 w 2832830"/>
                  <a:gd name="connsiteY141" fmla="*/ 293425 h 2836785"/>
                  <a:gd name="connsiteX142" fmla="*/ 752264 w 2832830"/>
                  <a:gd name="connsiteY142" fmla="*/ 289107 h 2836785"/>
                  <a:gd name="connsiteX143" fmla="*/ 772176 w 2832830"/>
                  <a:gd name="connsiteY143" fmla="*/ 300981 h 2836785"/>
                  <a:gd name="connsiteX144" fmla="*/ 774388 w 2832830"/>
                  <a:gd name="connsiteY144" fmla="*/ 299901 h 2836785"/>
                  <a:gd name="connsiteX145" fmla="*/ 782131 w 2832830"/>
                  <a:gd name="connsiteY145" fmla="*/ 289647 h 2836785"/>
                  <a:gd name="connsiteX146" fmla="*/ 821954 w 2832830"/>
                  <a:gd name="connsiteY146" fmla="*/ 288567 h 2836785"/>
                  <a:gd name="connsiteX147" fmla="*/ 815870 w 2832830"/>
                  <a:gd name="connsiteY147" fmla="*/ 311236 h 2836785"/>
                  <a:gd name="connsiteX148" fmla="*/ 819742 w 2832830"/>
                  <a:gd name="connsiteY148" fmla="*/ 314474 h 2836785"/>
                  <a:gd name="connsiteX149" fmla="*/ 821954 w 2832830"/>
                  <a:gd name="connsiteY149" fmla="*/ 312855 h 2836785"/>
                  <a:gd name="connsiteX150" fmla="*/ 828591 w 2832830"/>
                  <a:gd name="connsiteY150" fmla="*/ 299362 h 2836785"/>
                  <a:gd name="connsiteX151" fmla="*/ 837994 w 2832830"/>
                  <a:gd name="connsiteY151" fmla="*/ 293425 h 2836785"/>
                  <a:gd name="connsiteX152" fmla="*/ 854033 w 2832830"/>
                  <a:gd name="connsiteY152" fmla="*/ 305838 h 2836785"/>
                  <a:gd name="connsiteX153" fmla="*/ 866201 w 2832830"/>
                  <a:gd name="connsiteY153" fmla="*/ 310156 h 2836785"/>
                  <a:gd name="connsiteX154" fmla="*/ 867861 w 2832830"/>
                  <a:gd name="connsiteY154" fmla="*/ 309616 h 2836785"/>
                  <a:gd name="connsiteX155" fmla="*/ 868414 w 2832830"/>
                  <a:gd name="connsiteY155" fmla="*/ 305838 h 2836785"/>
                  <a:gd name="connsiteX156" fmla="*/ 844631 w 2832830"/>
                  <a:gd name="connsiteY156" fmla="*/ 276693 h 2836785"/>
                  <a:gd name="connsiteX157" fmla="*/ 830804 w 2832830"/>
                  <a:gd name="connsiteY157" fmla="*/ 233515 h 2836785"/>
                  <a:gd name="connsiteX158" fmla="*/ 815870 w 2832830"/>
                  <a:gd name="connsiteY158" fmla="*/ 212466 h 2836785"/>
                  <a:gd name="connsiteX159" fmla="*/ 808680 w 2832830"/>
                  <a:gd name="connsiteY159" fmla="*/ 199513 h 2836785"/>
                  <a:gd name="connsiteX160" fmla="*/ 805914 w 2832830"/>
                  <a:gd name="connsiteY160" fmla="*/ 196814 h 2836785"/>
                  <a:gd name="connsiteX161" fmla="*/ 772729 w 2832830"/>
                  <a:gd name="connsiteY161" fmla="*/ 192497 h 2836785"/>
                  <a:gd name="connsiteX162" fmla="*/ 756689 w 2832830"/>
                  <a:gd name="connsiteY162" fmla="*/ 181162 h 2836785"/>
                  <a:gd name="connsiteX163" fmla="*/ 752818 w 2832830"/>
                  <a:gd name="connsiteY163" fmla="*/ 162272 h 2836785"/>
                  <a:gd name="connsiteX164" fmla="*/ 750052 w 2832830"/>
                  <a:gd name="connsiteY164" fmla="*/ 153636 h 2836785"/>
                  <a:gd name="connsiteX165" fmla="*/ 745074 w 2832830"/>
                  <a:gd name="connsiteY165" fmla="*/ 133127 h 2836785"/>
                  <a:gd name="connsiteX166" fmla="*/ 728481 w 2832830"/>
                  <a:gd name="connsiteY166" fmla="*/ 101823 h 2836785"/>
                  <a:gd name="connsiteX167" fmla="*/ 721844 w 2832830"/>
                  <a:gd name="connsiteY167" fmla="*/ 99124 h 2836785"/>
                  <a:gd name="connsiteX168" fmla="*/ 718526 w 2832830"/>
                  <a:gd name="connsiteY168" fmla="*/ 86171 h 2836785"/>
                  <a:gd name="connsiteX169" fmla="*/ 711336 w 2832830"/>
                  <a:gd name="connsiteY169" fmla="*/ 76996 h 2836785"/>
                  <a:gd name="connsiteX170" fmla="*/ 707464 w 2832830"/>
                  <a:gd name="connsiteY170" fmla="*/ 73757 h 2836785"/>
                  <a:gd name="connsiteX171" fmla="*/ 671513 w 2832830"/>
                  <a:gd name="connsiteY171" fmla="*/ 68900 h 2836785"/>
                  <a:gd name="connsiteX172" fmla="*/ 659898 w 2832830"/>
                  <a:gd name="connsiteY172" fmla="*/ 64042 h 2836785"/>
                  <a:gd name="connsiteX173" fmla="*/ 650496 w 2832830"/>
                  <a:gd name="connsiteY173" fmla="*/ 58645 h 2836785"/>
                  <a:gd name="connsiteX174" fmla="*/ 650496 w 2832830"/>
                  <a:gd name="connsiteY174" fmla="*/ 55947 h 2836785"/>
                  <a:gd name="connsiteX175" fmla="*/ 653814 w 2832830"/>
                  <a:gd name="connsiteY175" fmla="*/ 53248 h 2836785"/>
                  <a:gd name="connsiteX176" fmla="*/ 677597 w 2832830"/>
                  <a:gd name="connsiteY176" fmla="*/ 56486 h 2836785"/>
                  <a:gd name="connsiteX177" fmla="*/ 712995 w 2832830"/>
                  <a:gd name="connsiteY177" fmla="*/ 45692 h 2836785"/>
                  <a:gd name="connsiteX178" fmla="*/ 755030 w 2832830"/>
                  <a:gd name="connsiteY178" fmla="*/ 19785 h 2836785"/>
                  <a:gd name="connsiteX179" fmla="*/ 771070 w 2832830"/>
                  <a:gd name="connsiteY179" fmla="*/ 21404 h 2836785"/>
                  <a:gd name="connsiteX180" fmla="*/ 781025 w 2832830"/>
                  <a:gd name="connsiteY180" fmla="*/ 29500 h 2836785"/>
                  <a:gd name="connsiteX181" fmla="*/ 809786 w 2832830"/>
                  <a:gd name="connsiteY181" fmla="*/ 32199 h 2836785"/>
                  <a:gd name="connsiteX182" fmla="*/ 834675 w 2832830"/>
                  <a:gd name="connsiteY182" fmla="*/ 58645 h 2836785"/>
                  <a:gd name="connsiteX183" fmla="*/ 794853 w 2832830"/>
                  <a:gd name="connsiteY183" fmla="*/ 98585 h 2836785"/>
                  <a:gd name="connsiteX184" fmla="*/ 798724 w 2832830"/>
                  <a:gd name="connsiteY184" fmla="*/ 116396 h 2836785"/>
                  <a:gd name="connsiteX185" fmla="*/ 792640 w 2832830"/>
                  <a:gd name="connsiteY185" fmla="*/ 127730 h 2836785"/>
                  <a:gd name="connsiteX186" fmla="*/ 799830 w 2832830"/>
                  <a:gd name="connsiteY186" fmla="*/ 147699 h 2836785"/>
                  <a:gd name="connsiteX187" fmla="*/ 823613 w 2832830"/>
                  <a:gd name="connsiteY187" fmla="*/ 149858 h 2836785"/>
                  <a:gd name="connsiteX188" fmla="*/ 845184 w 2832830"/>
                  <a:gd name="connsiteY188" fmla="*/ 156335 h 2836785"/>
                  <a:gd name="connsiteX189" fmla="*/ 876710 w 2832830"/>
                  <a:gd name="connsiteY189" fmla="*/ 170908 h 2836785"/>
                  <a:gd name="connsiteX190" fmla="*/ 889984 w 2832830"/>
                  <a:gd name="connsiteY190" fmla="*/ 165510 h 2836785"/>
                  <a:gd name="connsiteX191" fmla="*/ 896068 w 2832830"/>
                  <a:gd name="connsiteY191" fmla="*/ 160113 h 2836785"/>
                  <a:gd name="connsiteX192" fmla="*/ 915427 w 2832830"/>
                  <a:gd name="connsiteY192" fmla="*/ 148239 h 2836785"/>
                  <a:gd name="connsiteX193" fmla="*/ 923170 w 2832830"/>
                  <a:gd name="connsiteY193" fmla="*/ 142302 h 2836785"/>
                  <a:gd name="connsiteX194" fmla="*/ 934232 w 2832830"/>
                  <a:gd name="connsiteY194" fmla="*/ 128809 h 2836785"/>
                  <a:gd name="connsiteX195" fmla="*/ 917086 w 2832830"/>
                  <a:gd name="connsiteY195" fmla="*/ 81314 h 2836785"/>
                  <a:gd name="connsiteX196" fmla="*/ 913767 w 2832830"/>
                  <a:gd name="connsiteY196" fmla="*/ 69440 h 2836785"/>
                  <a:gd name="connsiteX197" fmla="*/ 900493 w 2832830"/>
                  <a:gd name="connsiteY197" fmla="*/ 51089 h 2836785"/>
                  <a:gd name="connsiteX198" fmla="*/ 900493 w 2832830"/>
                  <a:gd name="connsiteY198" fmla="*/ 46231 h 2836785"/>
                  <a:gd name="connsiteX199" fmla="*/ 906577 w 2832830"/>
                  <a:gd name="connsiteY199" fmla="*/ 44073 h 2836785"/>
                  <a:gd name="connsiteX200" fmla="*/ 915427 w 2832830"/>
                  <a:gd name="connsiteY200" fmla="*/ 25182 h 2836785"/>
                  <a:gd name="connsiteX201" fmla="*/ 926488 w 2832830"/>
                  <a:gd name="connsiteY201" fmla="*/ 18166 h 2836785"/>
                  <a:gd name="connsiteX202" fmla="*/ 926488 w 2832830"/>
                  <a:gd name="connsiteY202" fmla="*/ 16547 h 2836785"/>
                  <a:gd name="connsiteX203" fmla="*/ 917639 w 2832830"/>
                  <a:gd name="connsiteY203" fmla="*/ 7371 h 2836785"/>
                  <a:gd name="connsiteX204" fmla="*/ 906577 w 2832830"/>
                  <a:gd name="connsiteY204" fmla="*/ -185 h 2836785"/>
                  <a:gd name="connsiteX205" fmla="*/ 2831891 w 2832830"/>
                  <a:gd name="connsiteY205" fmla="*/ -185 h 2836785"/>
                  <a:gd name="connsiteX206" fmla="*/ 2831891 w 2832830"/>
                  <a:gd name="connsiteY206" fmla="*/ 244850 h 2836785"/>
                  <a:gd name="connsiteX207" fmla="*/ 2809214 w 2832830"/>
                  <a:gd name="connsiteY207" fmla="*/ 250787 h 2836785"/>
                  <a:gd name="connsiteX208" fmla="*/ 2790409 w 2832830"/>
                  <a:gd name="connsiteY208" fmla="*/ 260502 h 2836785"/>
                  <a:gd name="connsiteX209" fmla="*/ 2779347 w 2832830"/>
                  <a:gd name="connsiteY209" fmla="*/ 261581 h 2836785"/>
                  <a:gd name="connsiteX210" fmla="*/ 2777688 w 2832830"/>
                  <a:gd name="connsiteY210" fmla="*/ 279932 h 2836785"/>
                  <a:gd name="connsiteX211" fmla="*/ 2779900 w 2832830"/>
                  <a:gd name="connsiteY211" fmla="*/ 290186 h 2836785"/>
                  <a:gd name="connsiteX212" fmla="*/ 2768285 w 2832830"/>
                  <a:gd name="connsiteY212" fmla="*/ 324729 h 2836785"/>
                  <a:gd name="connsiteX213" fmla="*/ 2772157 w 2832830"/>
                  <a:gd name="connsiteY213" fmla="*/ 350635 h 2836785"/>
                  <a:gd name="connsiteX214" fmla="*/ 2787090 w 2832830"/>
                  <a:gd name="connsiteY214" fmla="*/ 370605 h 2836785"/>
                  <a:gd name="connsiteX215" fmla="*/ 2779900 w 2832830"/>
                  <a:gd name="connsiteY215" fmla="*/ 386257 h 2836785"/>
                  <a:gd name="connsiteX216" fmla="*/ 2771050 w 2832830"/>
                  <a:gd name="connsiteY216" fmla="*/ 393274 h 2836785"/>
                  <a:gd name="connsiteX217" fmla="*/ 2731781 w 2832830"/>
                  <a:gd name="connsiteY217" fmla="*/ 488805 h 2836785"/>
                  <a:gd name="connsiteX218" fmla="*/ 2722931 w 2832830"/>
                  <a:gd name="connsiteY218" fmla="*/ 498520 h 2836785"/>
                  <a:gd name="connsiteX219" fmla="*/ 2709657 w 2832830"/>
                  <a:gd name="connsiteY219" fmla="*/ 537919 h 2836785"/>
                  <a:gd name="connsiteX220" fmla="*/ 2700808 w 2832830"/>
                  <a:gd name="connsiteY220" fmla="*/ 554651 h 2836785"/>
                  <a:gd name="connsiteX221" fmla="*/ 2697489 w 2832830"/>
                  <a:gd name="connsiteY221" fmla="*/ 574081 h 2836785"/>
                  <a:gd name="connsiteX222" fmla="*/ 2682556 w 2832830"/>
                  <a:gd name="connsiteY222" fmla="*/ 585415 h 2836785"/>
                  <a:gd name="connsiteX223" fmla="*/ 2662091 w 2832830"/>
                  <a:gd name="connsiteY223" fmla="*/ 638848 h 2836785"/>
                  <a:gd name="connsiteX224" fmla="*/ 2654348 w 2832830"/>
                  <a:gd name="connsiteY224" fmla="*/ 652341 h 2836785"/>
                  <a:gd name="connsiteX225" fmla="*/ 2649370 w 2832830"/>
                  <a:gd name="connsiteY225" fmla="*/ 667993 h 2836785"/>
                  <a:gd name="connsiteX226" fmla="*/ 2626140 w 2832830"/>
                  <a:gd name="connsiteY226" fmla="*/ 697678 h 2836785"/>
                  <a:gd name="connsiteX227" fmla="*/ 2618397 w 2832830"/>
                  <a:gd name="connsiteY227" fmla="*/ 715488 h 2836785"/>
                  <a:gd name="connsiteX228" fmla="*/ 2613972 w 2832830"/>
                  <a:gd name="connsiteY228" fmla="*/ 721425 h 2836785"/>
                  <a:gd name="connsiteX229" fmla="*/ 2601251 w 2832830"/>
                  <a:gd name="connsiteY229" fmla="*/ 739776 h 2836785"/>
                  <a:gd name="connsiteX230" fmla="*/ 2588530 w 2832830"/>
                  <a:gd name="connsiteY230" fmla="*/ 752729 h 2836785"/>
                  <a:gd name="connsiteX231" fmla="*/ 2574703 w 2832830"/>
                  <a:gd name="connsiteY231" fmla="*/ 763524 h 2836785"/>
                  <a:gd name="connsiteX232" fmla="*/ 2565853 w 2832830"/>
                  <a:gd name="connsiteY232" fmla="*/ 774858 h 2836785"/>
                  <a:gd name="connsiteX233" fmla="*/ 2549261 w 2832830"/>
                  <a:gd name="connsiteY233" fmla="*/ 792129 h 2836785"/>
                  <a:gd name="connsiteX234" fmla="*/ 2544836 w 2832830"/>
                  <a:gd name="connsiteY234" fmla="*/ 815877 h 2836785"/>
                  <a:gd name="connsiteX235" fmla="*/ 2543177 w 2832830"/>
                  <a:gd name="connsiteY235" fmla="*/ 833688 h 2836785"/>
                  <a:gd name="connsiteX236" fmla="*/ 2558663 w 2832830"/>
                  <a:gd name="connsiteY236" fmla="*/ 850419 h 2836785"/>
                  <a:gd name="connsiteX237" fmla="*/ 2573043 w 2832830"/>
                  <a:gd name="connsiteY237" fmla="*/ 856356 h 2836785"/>
                  <a:gd name="connsiteX238" fmla="*/ 2651583 w 2832830"/>
                  <a:gd name="connsiteY238" fmla="*/ 843943 h 2836785"/>
                  <a:gd name="connsiteX239" fmla="*/ 2654901 w 2832830"/>
                  <a:gd name="connsiteY239" fmla="*/ 855277 h 2836785"/>
                  <a:gd name="connsiteX240" fmla="*/ 2649923 w 2832830"/>
                  <a:gd name="connsiteY240" fmla="*/ 868770 h 2836785"/>
                  <a:gd name="connsiteX241" fmla="*/ 2643286 w 2832830"/>
                  <a:gd name="connsiteY241" fmla="*/ 876326 h 2836785"/>
                  <a:gd name="connsiteX242" fmla="*/ 2622269 w 2832830"/>
                  <a:gd name="connsiteY242" fmla="*/ 888200 h 2836785"/>
                  <a:gd name="connsiteX243" fmla="*/ 2607335 w 2832830"/>
                  <a:gd name="connsiteY243" fmla="*/ 939474 h 2836785"/>
                  <a:gd name="connsiteX244" fmla="*/ 2656007 w 2832830"/>
                  <a:gd name="connsiteY244" fmla="*/ 962682 h 2836785"/>
                  <a:gd name="connsiteX245" fmla="*/ 2647711 w 2832830"/>
                  <a:gd name="connsiteY245" fmla="*/ 1007479 h 2836785"/>
                  <a:gd name="connsiteX246" fmla="*/ 2648817 w 2832830"/>
                  <a:gd name="connsiteY246" fmla="*/ 1037163 h 2836785"/>
                  <a:gd name="connsiteX247" fmla="*/ 2657667 w 2832830"/>
                  <a:gd name="connsiteY247" fmla="*/ 1035005 h 2836785"/>
                  <a:gd name="connsiteX248" fmla="*/ 2679790 w 2832830"/>
                  <a:gd name="connsiteY248" fmla="*/ 1040942 h 2836785"/>
                  <a:gd name="connsiteX249" fmla="*/ 2691405 w 2832830"/>
                  <a:gd name="connsiteY249" fmla="*/ 1035544 h 2836785"/>
                  <a:gd name="connsiteX250" fmla="*/ 2728462 w 2832830"/>
                  <a:gd name="connsiteY250" fmla="*/ 1036084 h 2836785"/>
                  <a:gd name="connsiteX251" fmla="*/ 2743396 w 2832830"/>
                  <a:gd name="connsiteY251" fmla="*/ 1028528 h 2836785"/>
                  <a:gd name="connsiteX252" fmla="*/ 2784878 w 2832830"/>
                  <a:gd name="connsiteY252" fmla="*/ 1027988 h 2836785"/>
                  <a:gd name="connsiteX253" fmla="*/ 2797046 w 2832830"/>
                  <a:gd name="connsiteY253" fmla="*/ 1045799 h 2836785"/>
                  <a:gd name="connsiteX254" fmla="*/ 2803683 w 2832830"/>
                  <a:gd name="connsiteY254" fmla="*/ 1104089 h 2836785"/>
                  <a:gd name="connsiteX255" fmla="*/ 2794833 w 2832830"/>
                  <a:gd name="connsiteY255" fmla="*/ 1122440 h 2836785"/>
                  <a:gd name="connsiteX256" fmla="*/ 2754458 w 2832830"/>
                  <a:gd name="connsiteY256" fmla="*/ 1159141 h 2836785"/>
                  <a:gd name="connsiteX257" fmla="*/ 2745608 w 2832830"/>
                  <a:gd name="connsiteY257" fmla="*/ 1163459 h 2836785"/>
                  <a:gd name="connsiteX258" fmla="*/ 2736759 w 2832830"/>
                  <a:gd name="connsiteY258" fmla="*/ 1203938 h 2836785"/>
                  <a:gd name="connsiteX259" fmla="*/ 2705232 w 2832830"/>
                  <a:gd name="connsiteY259" fmla="*/ 1212034 h 2836785"/>
                  <a:gd name="connsiteX260" fmla="*/ 2646605 w 2832830"/>
                  <a:gd name="connsiteY260" fmla="*/ 1226067 h 2836785"/>
                  <a:gd name="connsiteX261" fmla="*/ 2628906 w 2832830"/>
                  <a:gd name="connsiteY261" fmla="*/ 1214732 h 2836785"/>
                  <a:gd name="connsiteX262" fmla="*/ 2582999 w 2832830"/>
                  <a:gd name="connsiteY262" fmla="*/ 1232004 h 2836785"/>
                  <a:gd name="connsiteX263" fmla="*/ 2582999 w 2832830"/>
                  <a:gd name="connsiteY263" fmla="*/ 1241179 h 2836785"/>
                  <a:gd name="connsiteX264" fmla="*/ 2592955 w 2832830"/>
                  <a:gd name="connsiteY264" fmla="*/ 1260069 h 2836785"/>
                  <a:gd name="connsiteX265" fmla="*/ 2592402 w 2832830"/>
                  <a:gd name="connsiteY265" fmla="*/ 1273023 h 2836785"/>
                  <a:gd name="connsiteX266" fmla="*/ 2577468 w 2832830"/>
                  <a:gd name="connsiteY266" fmla="*/ 1281118 h 2836785"/>
                  <a:gd name="connsiteX267" fmla="*/ 2557004 w 2832830"/>
                  <a:gd name="connsiteY267" fmla="*/ 1277340 h 2836785"/>
                  <a:gd name="connsiteX268" fmla="*/ 2533221 w 2832830"/>
                  <a:gd name="connsiteY268" fmla="*/ 1313502 h 2836785"/>
                  <a:gd name="connsiteX269" fmla="*/ 2523818 w 2832830"/>
                  <a:gd name="connsiteY269" fmla="*/ 1318899 h 2836785"/>
                  <a:gd name="connsiteX270" fmla="*/ 2507779 w 2832830"/>
                  <a:gd name="connsiteY270" fmla="*/ 1389603 h 2836785"/>
                  <a:gd name="connsiteX271" fmla="*/ 2498376 w 2832830"/>
                  <a:gd name="connsiteY271" fmla="*/ 1397699 h 2836785"/>
                  <a:gd name="connsiteX272" fmla="*/ 2478465 w 2832830"/>
                  <a:gd name="connsiteY272" fmla="*/ 1395540 h 2836785"/>
                  <a:gd name="connsiteX273" fmla="*/ 2433111 w 2832830"/>
                  <a:gd name="connsiteY273" fmla="*/ 1408493 h 2836785"/>
                  <a:gd name="connsiteX274" fmla="*/ 2456341 w 2832830"/>
                  <a:gd name="connsiteY274" fmla="*/ 1460846 h 2836785"/>
                  <a:gd name="connsiteX275" fmla="*/ 2451363 w 2832830"/>
                  <a:gd name="connsiteY275" fmla="*/ 1463005 h 2836785"/>
                  <a:gd name="connsiteX276" fmla="*/ 2433664 w 2832830"/>
                  <a:gd name="connsiteY276" fmla="*/ 1458148 h 2836785"/>
                  <a:gd name="connsiteX277" fmla="*/ 2424262 w 2832830"/>
                  <a:gd name="connsiteY277" fmla="*/ 1449512 h 2836785"/>
                  <a:gd name="connsiteX278" fmla="*/ 2416518 w 2832830"/>
                  <a:gd name="connsiteY278" fmla="*/ 1431701 h 2836785"/>
                  <a:gd name="connsiteX279" fmla="*/ 2369506 w 2832830"/>
                  <a:gd name="connsiteY279" fmla="*/ 1419827 h 2836785"/>
                  <a:gd name="connsiteX280" fmla="*/ 2315856 w 2832830"/>
                  <a:gd name="connsiteY280" fmla="*/ 1420367 h 2836785"/>
                  <a:gd name="connsiteX281" fmla="*/ 2311431 w 2832830"/>
                  <a:gd name="connsiteY281" fmla="*/ 1417668 h 2836785"/>
                  <a:gd name="connsiteX282" fmla="*/ 2309219 w 2832830"/>
                  <a:gd name="connsiteY282" fmla="*/ 1410112 h 2836785"/>
                  <a:gd name="connsiteX283" fmla="*/ 2251697 w 2832830"/>
                  <a:gd name="connsiteY283" fmla="*/ 1439797 h 2836785"/>
                  <a:gd name="connsiteX284" fmla="*/ 2240635 w 2832830"/>
                  <a:gd name="connsiteY284" fmla="*/ 1436019 h 2836785"/>
                  <a:gd name="connsiteX285" fmla="*/ 2232892 w 2832830"/>
                  <a:gd name="connsiteY285" fmla="*/ 1426844 h 2836785"/>
                  <a:gd name="connsiteX286" fmla="*/ 2204131 w 2832830"/>
                  <a:gd name="connsiteY286" fmla="*/ 1457608 h 2836785"/>
                  <a:gd name="connsiteX287" fmla="*/ 2198600 w 2832830"/>
                  <a:gd name="connsiteY287" fmla="*/ 1474879 h 2836785"/>
                  <a:gd name="connsiteX288" fmla="*/ 2186985 w 2832830"/>
                  <a:gd name="connsiteY288" fmla="*/ 1487832 h 2836785"/>
                  <a:gd name="connsiteX289" fmla="*/ 2174264 w 2832830"/>
                  <a:gd name="connsiteY289" fmla="*/ 1491611 h 2836785"/>
                  <a:gd name="connsiteX290" fmla="*/ 2167627 w 2832830"/>
                  <a:gd name="connsiteY290" fmla="*/ 1486213 h 2836785"/>
                  <a:gd name="connsiteX291" fmla="*/ 2149375 w 2832830"/>
                  <a:gd name="connsiteY291" fmla="*/ 1498087 h 2836785"/>
                  <a:gd name="connsiteX292" fmla="*/ 2127804 w 2832830"/>
                  <a:gd name="connsiteY292" fmla="*/ 1499706 h 2836785"/>
                  <a:gd name="connsiteX293" fmla="*/ 2128911 w 2832830"/>
                  <a:gd name="connsiteY293" fmla="*/ 1525613 h 2836785"/>
                  <a:gd name="connsiteX294" fmla="*/ 2123380 w 2832830"/>
                  <a:gd name="connsiteY294" fmla="*/ 1541265 h 2836785"/>
                  <a:gd name="connsiteX295" fmla="*/ 2130570 w 2832830"/>
                  <a:gd name="connsiteY295" fmla="*/ 1583364 h 2836785"/>
                  <a:gd name="connsiteX296" fmla="*/ 2113977 w 2832830"/>
                  <a:gd name="connsiteY296" fmla="*/ 1625462 h 2836785"/>
                  <a:gd name="connsiteX297" fmla="*/ 2103468 w 2832830"/>
                  <a:gd name="connsiteY297" fmla="*/ 1697785 h 2836785"/>
                  <a:gd name="connsiteX298" fmla="*/ 2095725 w 2832830"/>
                  <a:gd name="connsiteY298" fmla="*/ 1709119 h 2836785"/>
                  <a:gd name="connsiteX299" fmla="*/ 2094066 w 2832830"/>
                  <a:gd name="connsiteY299" fmla="*/ 1715596 h 2836785"/>
                  <a:gd name="connsiteX300" fmla="*/ 2136101 w 2832830"/>
                  <a:gd name="connsiteY300" fmla="*/ 1778204 h 2836785"/>
                  <a:gd name="connsiteX301" fmla="*/ 2136101 w 2832830"/>
                  <a:gd name="connsiteY301" fmla="*/ 1784680 h 2836785"/>
                  <a:gd name="connsiteX302" fmla="*/ 2130017 w 2832830"/>
                  <a:gd name="connsiteY302" fmla="*/ 1794395 h 2836785"/>
                  <a:gd name="connsiteX303" fmla="*/ 2115083 w 2832830"/>
                  <a:gd name="connsiteY303" fmla="*/ 1803571 h 2836785"/>
                  <a:gd name="connsiteX304" fmla="*/ 2026588 w 2832830"/>
                  <a:gd name="connsiteY304" fmla="*/ 1774965 h 2836785"/>
                  <a:gd name="connsiteX305" fmla="*/ 2025482 w 2832830"/>
                  <a:gd name="connsiteY305" fmla="*/ 1804110 h 2836785"/>
                  <a:gd name="connsiteX306" fmla="*/ 2030460 w 2832830"/>
                  <a:gd name="connsiteY306" fmla="*/ 1827318 h 2836785"/>
                  <a:gd name="connsiteX307" fmla="*/ 2027695 w 2832830"/>
                  <a:gd name="connsiteY307" fmla="*/ 1861321 h 2836785"/>
                  <a:gd name="connsiteX308" fmla="*/ 2035991 w 2832830"/>
                  <a:gd name="connsiteY308" fmla="*/ 1888847 h 2836785"/>
                  <a:gd name="connsiteX309" fmla="*/ 2054243 w 2832830"/>
                  <a:gd name="connsiteY309" fmla="*/ 1934184 h 2836785"/>
                  <a:gd name="connsiteX310" fmla="*/ 2060880 w 2832830"/>
                  <a:gd name="connsiteY310" fmla="*/ 1937962 h 2836785"/>
                  <a:gd name="connsiteX311" fmla="*/ 2066964 w 2832830"/>
                  <a:gd name="connsiteY311" fmla="*/ 1941740 h 2836785"/>
                  <a:gd name="connsiteX312" fmla="*/ 2059221 w 2832830"/>
                  <a:gd name="connsiteY312" fmla="*/ 1967107 h 2836785"/>
                  <a:gd name="connsiteX313" fmla="*/ 2082451 w 2832830"/>
                  <a:gd name="connsiteY313" fmla="*/ 2025397 h 2836785"/>
                  <a:gd name="connsiteX314" fmla="*/ 2121167 w 2832830"/>
                  <a:gd name="connsiteY314" fmla="*/ 2020000 h 2836785"/>
                  <a:gd name="connsiteX315" fmla="*/ 2128911 w 2832830"/>
                  <a:gd name="connsiteY315" fmla="*/ 2022159 h 2836785"/>
                  <a:gd name="connsiteX316" fmla="*/ 2151587 w 2832830"/>
                  <a:gd name="connsiteY316" fmla="*/ 2055621 h 2836785"/>
                  <a:gd name="connsiteX317" fmla="*/ 2168180 w 2832830"/>
                  <a:gd name="connsiteY317" fmla="*/ 2051304 h 2836785"/>
                  <a:gd name="connsiteX318" fmla="*/ 2170946 w 2832830"/>
                  <a:gd name="connsiteY318" fmla="*/ 2041049 h 2836785"/>
                  <a:gd name="connsiteX319" fmla="*/ 2181454 w 2832830"/>
                  <a:gd name="connsiteY319" fmla="*/ 2027016 h 2836785"/>
                  <a:gd name="connsiteX320" fmla="*/ 2210215 w 2832830"/>
                  <a:gd name="connsiteY320" fmla="*/ 2009745 h 2836785"/>
                  <a:gd name="connsiteX321" fmla="*/ 2218511 w 2832830"/>
                  <a:gd name="connsiteY321" fmla="*/ 2008126 h 2836785"/>
                  <a:gd name="connsiteX322" fmla="*/ 2278245 w 2832830"/>
                  <a:gd name="connsiteY322" fmla="*/ 2050764 h 2836785"/>
                  <a:gd name="connsiteX323" fmla="*/ 2325258 w 2832830"/>
                  <a:gd name="connsiteY323" fmla="*/ 2103657 h 2836785"/>
                  <a:gd name="connsiteX324" fmla="*/ 2300369 w 2832830"/>
                  <a:gd name="connsiteY324" fmla="*/ 2112832 h 2836785"/>
                  <a:gd name="connsiteX325" fmla="*/ 2307559 w 2832830"/>
                  <a:gd name="connsiteY325" fmla="*/ 2123627 h 2836785"/>
                  <a:gd name="connsiteX326" fmla="*/ 2323046 w 2832830"/>
                  <a:gd name="connsiteY326" fmla="*/ 2114991 h 2836785"/>
                  <a:gd name="connsiteX327" fmla="*/ 2332448 w 2832830"/>
                  <a:gd name="connsiteY327" fmla="*/ 2111753 h 2836785"/>
                  <a:gd name="connsiteX328" fmla="*/ 2347382 w 2832830"/>
                  <a:gd name="connsiteY328" fmla="*/ 2105276 h 2836785"/>
                  <a:gd name="connsiteX329" fmla="*/ 2381674 w 2832830"/>
                  <a:gd name="connsiteY329" fmla="*/ 2103117 h 2836785"/>
                  <a:gd name="connsiteX330" fmla="*/ 2382780 w 2832830"/>
                  <a:gd name="connsiteY330" fmla="*/ 2107435 h 2836785"/>
                  <a:gd name="connsiteX331" fmla="*/ 2380014 w 2832830"/>
                  <a:gd name="connsiteY331" fmla="*/ 2121468 h 2836785"/>
                  <a:gd name="connsiteX332" fmla="*/ 2388864 w 2832830"/>
                  <a:gd name="connsiteY332" fmla="*/ 2127405 h 2836785"/>
                  <a:gd name="connsiteX333" fmla="*/ 2388864 w 2832830"/>
                  <a:gd name="connsiteY333" fmla="*/ 2129024 h 2836785"/>
                  <a:gd name="connsiteX334" fmla="*/ 2384439 w 2832830"/>
                  <a:gd name="connsiteY334" fmla="*/ 2144136 h 2836785"/>
                  <a:gd name="connsiteX335" fmla="*/ 2383886 w 2832830"/>
                  <a:gd name="connsiteY335" fmla="*/ 2147914 h 2836785"/>
                  <a:gd name="connsiteX336" fmla="*/ 2376143 w 2832830"/>
                  <a:gd name="connsiteY336" fmla="*/ 2154391 h 2836785"/>
                  <a:gd name="connsiteX337" fmla="*/ 2367846 w 2832830"/>
                  <a:gd name="connsiteY337" fmla="*/ 2167884 h 2836785"/>
                  <a:gd name="connsiteX338" fmla="*/ 2358444 w 2832830"/>
                  <a:gd name="connsiteY338" fmla="*/ 2171122 h 2836785"/>
                  <a:gd name="connsiteX339" fmla="*/ 2357338 w 2832830"/>
                  <a:gd name="connsiteY339" fmla="*/ 2175440 h 2836785"/>
                  <a:gd name="connsiteX340" fmla="*/ 2358997 w 2832830"/>
                  <a:gd name="connsiteY340" fmla="*/ 2178139 h 2836785"/>
                  <a:gd name="connsiteX341" fmla="*/ 2381674 w 2832830"/>
                  <a:gd name="connsiteY341" fmla="*/ 2193251 h 2836785"/>
                  <a:gd name="connsiteX342" fmla="*/ 2379461 w 2832830"/>
                  <a:gd name="connsiteY342" fmla="*/ 2194870 h 2836785"/>
                  <a:gd name="connsiteX343" fmla="*/ 2360656 w 2832830"/>
                  <a:gd name="connsiteY343" fmla="*/ 2194330 h 2836785"/>
                  <a:gd name="connsiteX344" fmla="*/ 2350700 w 2832830"/>
                  <a:gd name="connsiteY344" fmla="*/ 2232651 h 2836785"/>
                  <a:gd name="connsiteX345" fmla="*/ 2331895 w 2832830"/>
                  <a:gd name="connsiteY345" fmla="*/ 2252081 h 2836785"/>
                  <a:gd name="connsiteX346" fmla="*/ 2332448 w 2832830"/>
                  <a:gd name="connsiteY346" fmla="*/ 2259097 h 2836785"/>
                  <a:gd name="connsiteX347" fmla="*/ 2330789 w 2832830"/>
                  <a:gd name="connsiteY347" fmla="*/ 2261256 h 2836785"/>
                  <a:gd name="connsiteX348" fmla="*/ 2315303 w 2832830"/>
                  <a:gd name="connsiteY348" fmla="*/ 2259097 h 2836785"/>
                  <a:gd name="connsiteX349" fmla="*/ 2313090 w 2832830"/>
                  <a:gd name="connsiteY349" fmla="*/ 2260716 h 2836785"/>
                  <a:gd name="connsiteX350" fmla="*/ 2312537 w 2832830"/>
                  <a:gd name="connsiteY350" fmla="*/ 2263415 h 2836785"/>
                  <a:gd name="connsiteX351" fmla="*/ 2318621 w 2832830"/>
                  <a:gd name="connsiteY351" fmla="*/ 2272590 h 2836785"/>
                  <a:gd name="connsiteX352" fmla="*/ 2320280 w 2832830"/>
                  <a:gd name="connsiteY352" fmla="*/ 2302275 h 2836785"/>
                  <a:gd name="connsiteX353" fmla="*/ 2322493 w 2832830"/>
                  <a:gd name="connsiteY353" fmla="*/ 2376757 h 2836785"/>
                  <a:gd name="connsiteX354" fmla="*/ 2318068 w 2832830"/>
                  <a:gd name="connsiteY354" fmla="*/ 2382694 h 2836785"/>
                  <a:gd name="connsiteX355" fmla="*/ 2310325 w 2832830"/>
                  <a:gd name="connsiteY355" fmla="*/ 2412379 h 2836785"/>
                  <a:gd name="connsiteX356" fmla="*/ 2318621 w 2832830"/>
                  <a:gd name="connsiteY356" fmla="*/ 2438285 h 2836785"/>
                  <a:gd name="connsiteX357" fmla="*/ 2326918 w 2832830"/>
                  <a:gd name="connsiteY357" fmla="*/ 2440444 h 2836785"/>
                  <a:gd name="connsiteX358" fmla="*/ 2338532 w 2832830"/>
                  <a:gd name="connsiteY358" fmla="*/ 2436666 h 2836785"/>
                  <a:gd name="connsiteX359" fmla="*/ 2365081 w 2832830"/>
                  <a:gd name="connsiteY359" fmla="*/ 2445841 h 2836785"/>
                  <a:gd name="connsiteX360" fmla="*/ 2372271 w 2832830"/>
                  <a:gd name="connsiteY360" fmla="*/ 2439365 h 2836785"/>
                  <a:gd name="connsiteX361" fmla="*/ 2375590 w 2832830"/>
                  <a:gd name="connsiteY361" fmla="*/ 2439904 h 2836785"/>
                  <a:gd name="connsiteX362" fmla="*/ 2388311 w 2832830"/>
                  <a:gd name="connsiteY362" fmla="*/ 2456096 h 2836785"/>
                  <a:gd name="connsiteX363" fmla="*/ 2408775 w 2832830"/>
                  <a:gd name="connsiteY363" fmla="*/ 2477685 h 2836785"/>
                  <a:gd name="connsiteX364" fmla="*/ 2408775 w 2832830"/>
                  <a:gd name="connsiteY364" fmla="*/ 2495496 h 2836785"/>
                  <a:gd name="connsiteX365" fmla="*/ 2412647 w 2832830"/>
                  <a:gd name="connsiteY365" fmla="*/ 2503592 h 2836785"/>
                  <a:gd name="connsiteX366" fmla="*/ 2420390 w 2832830"/>
                  <a:gd name="connsiteY366" fmla="*/ 2507910 h 2836785"/>
                  <a:gd name="connsiteX367" fmla="*/ 2420390 w 2832830"/>
                  <a:gd name="connsiteY367" fmla="*/ 2499814 h 2836785"/>
                  <a:gd name="connsiteX368" fmla="*/ 2414859 w 2832830"/>
                  <a:gd name="connsiteY368" fmla="*/ 2456096 h 2836785"/>
                  <a:gd name="connsiteX369" fmla="*/ 2418178 w 2832830"/>
                  <a:gd name="connsiteY369" fmla="*/ 2456096 h 2836785"/>
                  <a:gd name="connsiteX370" fmla="*/ 2423709 w 2832830"/>
                  <a:gd name="connsiteY370" fmla="*/ 2463113 h 2836785"/>
                  <a:gd name="connsiteX371" fmla="*/ 2427027 w 2832830"/>
                  <a:gd name="connsiteY371" fmla="*/ 2496575 h 2836785"/>
                  <a:gd name="connsiteX372" fmla="*/ 2434770 w 2832830"/>
                  <a:gd name="connsiteY372" fmla="*/ 2519244 h 2836785"/>
                  <a:gd name="connsiteX373" fmla="*/ 2443067 w 2832830"/>
                  <a:gd name="connsiteY373" fmla="*/ 2527879 h 2836785"/>
                  <a:gd name="connsiteX374" fmla="*/ 2450257 w 2832830"/>
                  <a:gd name="connsiteY374" fmla="*/ 2552707 h 2836785"/>
                  <a:gd name="connsiteX375" fmla="*/ 2475699 w 2832830"/>
                  <a:gd name="connsiteY375" fmla="*/ 2566200 h 2836785"/>
                  <a:gd name="connsiteX376" fmla="*/ 2485655 w 2832830"/>
                  <a:gd name="connsiteY376" fmla="*/ 2580232 h 2836785"/>
                  <a:gd name="connsiteX377" fmla="*/ 2508332 w 2832830"/>
                  <a:gd name="connsiteY377" fmla="*/ 2586709 h 2836785"/>
                  <a:gd name="connsiteX378" fmla="*/ 2521606 w 2832830"/>
                  <a:gd name="connsiteY378" fmla="*/ 2598043 h 2836785"/>
                  <a:gd name="connsiteX379" fmla="*/ 2546495 w 2832830"/>
                  <a:gd name="connsiteY379" fmla="*/ 2604520 h 2836785"/>
                  <a:gd name="connsiteX380" fmla="*/ 2572490 w 2832830"/>
                  <a:gd name="connsiteY380" fmla="*/ 2628268 h 2836785"/>
                  <a:gd name="connsiteX381" fmla="*/ 2587424 w 2832830"/>
                  <a:gd name="connsiteY381" fmla="*/ 2631506 h 2836785"/>
                  <a:gd name="connsiteX382" fmla="*/ 2599592 w 2832830"/>
                  <a:gd name="connsiteY382" fmla="*/ 2629887 h 2836785"/>
                  <a:gd name="connsiteX383" fmla="*/ 2599592 w 2832830"/>
                  <a:gd name="connsiteY383" fmla="*/ 2671446 h 2836785"/>
                  <a:gd name="connsiteX384" fmla="*/ 2581340 w 2832830"/>
                  <a:gd name="connsiteY384" fmla="*/ 2702750 h 2836785"/>
                  <a:gd name="connsiteX385" fmla="*/ 2573597 w 2832830"/>
                  <a:gd name="connsiteY385" fmla="*/ 2738371 h 2836785"/>
                  <a:gd name="connsiteX386" fmla="*/ 2552579 w 2832830"/>
                  <a:gd name="connsiteY386" fmla="*/ 2747007 h 2836785"/>
                  <a:gd name="connsiteX387" fmla="*/ 2528796 w 2832830"/>
                  <a:gd name="connsiteY387" fmla="*/ 2748086 h 2836785"/>
                  <a:gd name="connsiteX388" fmla="*/ 2518840 w 2832830"/>
                  <a:gd name="connsiteY388" fmla="*/ 2737832 h 2836785"/>
                  <a:gd name="connsiteX389" fmla="*/ 2507779 w 2832830"/>
                  <a:gd name="connsiteY389" fmla="*/ 2733514 h 2836785"/>
                  <a:gd name="connsiteX390" fmla="*/ 2495611 w 2832830"/>
                  <a:gd name="connsiteY390" fmla="*/ 2737832 h 2836785"/>
                  <a:gd name="connsiteX391" fmla="*/ 2455235 w 2832830"/>
                  <a:gd name="connsiteY391" fmla="*/ 2731355 h 2836785"/>
                  <a:gd name="connsiteX392" fmla="*/ 2423709 w 2832830"/>
                  <a:gd name="connsiteY392" fmla="*/ 2742149 h 2836785"/>
                  <a:gd name="connsiteX393" fmla="*/ 2349041 w 2832830"/>
                  <a:gd name="connsiteY393" fmla="*/ 2720021 h 2836785"/>
                  <a:gd name="connsiteX394" fmla="*/ 2354019 w 2832830"/>
                  <a:gd name="connsiteY394" fmla="*/ 2713004 h 2836785"/>
                  <a:gd name="connsiteX395" fmla="*/ 2347382 w 2832830"/>
                  <a:gd name="connsiteY395" fmla="*/ 2705988 h 2836785"/>
                  <a:gd name="connsiteX396" fmla="*/ 2334108 w 2832830"/>
                  <a:gd name="connsiteY396" fmla="*/ 2700051 h 2836785"/>
                  <a:gd name="connsiteX397" fmla="*/ 2325811 w 2832830"/>
                  <a:gd name="connsiteY397" fmla="*/ 2713544 h 2836785"/>
                  <a:gd name="connsiteX398" fmla="*/ 2307006 w 2832830"/>
                  <a:gd name="connsiteY398" fmla="*/ 2716243 h 2836785"/>
                  <a:gd name="connsiteX399" fmla="*/ 2300922 w 2832830"/>
                  <a:gd name="connsiteY399" fmla="*/ 2708147 h 2836785"/>
                  <a:gd name="connsiteX400" fmla="*/ 2293179 w 2832830"/>
                  <a:gd name="connsiteY400" fmla="*/ 2705988 h 2836785"/>
                  <a:gd name="connsiteX401" fmla="*/ 2277692 w 2832830"/>
                  <a:gd name="connsiteY401" fmla="*/ 2718941 h 2836785"/>
                  <a:gd name="connsiteX402" fmla="*/ 2257781 w 2832830"/>
                  <a:gd name="connsiteY402" fmla="*/ 2722719 h 2836785"/>
                  <a:gd name="connsiteX403" fmla="*/ 2238423 w 2832830"/>
                  <a:gd name="connsiteY403" fmla="*/ 2737832 h 2836785"/>
                  <a:gd name="connsiteX404" fmla="*/ 2224042 w 2832830"/>
                  <a:gd name="connsiteY404" fmla="*/ 2763199 h 2836785"/>
                  <a:gd name="connsiteX405" fmla="*/ 2193069 w 2832830"/>
                  <a:gd name="connsiteY405" fmla="*/ 2770755 h 2836785"/>
                  <a:gd name="connsiteX406" fmla="*/ 2188091 w 2832830"/>
                  <a:gd name="connsiteY406" fmla="*/ 2753484 h 2836785"/>
                  <a:gd name="connsiteX407" fmla="*/ 2122827 w 2832830"/>
                  <a:gd name="connsiteY407" fmla="*/ 2755103 h 2836785"/>
                  <a:gd name="connsiteX408" fmla="*/ 2118402 w 2832830"/>
                  <a:gd name="connsiteY408" fmla="*/ 2749706 h 2836785"/>
                  <a:gd name="connsiteX409" fmla="*/ 2096831 w 2832830"/>
                  <a:gd name="connsiteY409" fmla="*/ 2750245 h 2836785"/>
                  <a:gd name="connsiteX410" fmla="*/ 2079132 w 2832830"/>
                  <a:gd name="connsiteY410" fmla="*/ 2759421 h 2836785"/>
                  <a:gd name="connsiteX411" fmla="*/ 1944178 w 2832830"/>
                  <a:gd name="connsiteY411" fmla="*/ 2795042 h 2836785"/>
                  <a:gd name="connsiteX412" fmla="*/ 1883891 w 2832830"/>
                  <a:gd name="connsiteY412" fmla="*/ 2804757 h 2836785"/>
                  <a:gd name="connsiteX413" fmla="*/ 1871723 w 2832830"/>
                  <a:gd name="connsiteY413" fmla="*/ 2818790 h 2836785"/>
                  <a:gd name="connsiteX414" fmla="*/ 1880572 w 2832830"/>
                  <a:gd name="connsiteY414" fmla="*/ 2836601 h 2836785"/>
                  <a:gd name="connsiteX415" fmla="*/ 1860108 w 2832830"/>
                  <a:gd name="connsiteY415" fmla="*/ 2834982 h 2836785"/>
                  <a:gd name="connsiteX416" fmla="*/ 1854024 w 2832830"/>
                  <a:gd name="connsiteY416" fmla="*/ 2826346 h 2836785"/>
                  <a:gd name="connsiteX417" fmla="*/ 1828582 w 2832830"/>
                  <a:gd name="connsiteY417" fmla="*/ 2822568 h 2836785"/>
                  <a:gd name="connsiteX418" fmla="*/ 1803692 w 2832830"/>
                  <a:gd name="connsiteY418" fmla="*/ 2806916 h 2836785"/>
                  <a:gd name="connsiteX419" fmla="*/ 1734556 w 2832830"/>
                  <a:gd name="connsiteY419" fmla="*/ 2780470 h 2836785"/>
                  <a:gd name="connsiteX420" fmla="*/ 1716304 w 2832830"/>
                  <a:gd name="connsiteY420" fmla="*/ 2781010 h 2836785"/>
                  <a:gd name="connsiteX421" fmla="*/ 1692521 w 2832830"/>
                  <a:gd name="connsiteY421" fmla="*/ 2789645 h 2836785"/>
                  <a:gd name="connsiteX422" fmla="*/ 1676481 w 2832830"/>
                  <a:gd name="connsiteY422" fmla="*/ 2785867 h 2836785"/>
                  <a:gd name="connsiteX423" fmla="*/ 1652145 w 2832830"/>
                  <a:gd name="connsiteY423" fmla="*/ 2768056 h 2836785"/>
                  <a:gd name="connsiteX424" fmla="*/ 1637765 w 2832830"/>
                  <a:gd name="connsiteY424" fmla="*/ 2777231 h 2836785"/>
                  <a:gd name="connsiteX425" fmla="*/ 1628915 w 2832830"/>
                  <a:gd name="connsiteY425" fmla="*/ 2781010 h 2836785"/>
                  <a:gd name="connsiteX426" fmla="*/ 1613429 w 2832830"/>
                  <a:gd name="connsiteY426" fmla="*/ 2777231 h 2836785"/>
                  <a:gd name="connsiteX427" fmla="*/ 1584115 w 2832830"/>
                  <a:gd name="connsiteY427" fmla="*/ 2752944 h 2836785"/>
                  <a:gd name="connsiteX428" fmla="*/ 1537102 w 2832830"/>
                  <a:gd name="connsiteY428" fmla="*/ 2755643 h 2836785"/>
                  <a:gd name="connsiteX429" fmla="*/ 1553142 w 2832830"/>
                  <a:gd name="connsiteY429" fmla="*/ 2729196 h 2836785"/>
                  <a:gd name="connsiteX430" fmla="*/ 1552036 w 2832830"/>
                  <a:gd name="connsiteY430" fmla="*/ 2727037 h 2836785"/>
                  <a:gd name="connsiteX431" fmla="*/ 1531018 w 2832830"/>
                  <a:gd name="connsiteY431" fmla="*/ 2731355 h 2836785"/>
                  <a:gd name="connsiteX432" fmla="*/ 1548164 w 2832830"/>
                  <a:gd name="connsiteY432" fmla="*/ 2716782 h 2836785"/>
                  <a:gd name="connsiteX433" fmla="*/ 1568075 w 2832830"/>
                  <a:gd name="connsiteY433" fmla="*/ 2720021 h 2836785"/>
                  <a:gd name="connsiteX434" fmla="*/ 1586327 w 2832830"/>
                  <a:gd name="connsiteY434" fmla="*/ 2711385 h 2836785"/>
                  <a:gd name="connsiteX435" fmla="*/ 1594071 w 2832830"/>
                  <a:gd name="connsiteY435" fmla="*/ 2702750 h 2836785"/>
                  <a:gd name="connsiteX436" fmla="*/ 1594624 w 2832830"/>
                  <a:gd name="connsiteY436" fmla="*/ 2688177 h 2836785"/>
                  <a:gd name="connsiteX437" fmla="*/ 1591305 w 2832830"/>
                  <a:gd name="connsiteY437" fmla="*/ 2682780 h 2836785"/>
                  <a:gd name="connsiteX438" fmla="*/ 1590199 w 2832830"/>
                  <a:gd name="connsiteY438" fmla="*/ 2671446 h 2836785"/>
                  <a:gd name="connsiteX439" fmla="*/ 1599048 w 2832830"/>
                  <a:gd name="connsiteY439" fmla="*/ 2646079 h 2836785"/>
                  <a:gd name="connsiteX440" fmla="*/ 1597942 w 2832830"/>
                  <a:gd name="connsiteY440" fmla="*/ 2621251 h 2836785"/>
                  <a:gd name="connsiteX441" fmla="*/ 1603473 w 2832830"/>
                  <a:gd name="connsiteY441" fmla="*/ 2609917 h 2836785"/>
                  <a:gd name="connsiteX442" fmla="*/ 1607898 w 2832830"/>
                  <a:gd name="connsiteY442" fmla="*/ 2617473 h 2836785"/>
                  <a:gd name="connsiteX443" fmla="*/ 1609557 w 2832830"/>
                  <a:gd name="connsiteY443" fmla="*/ 2618013 h 2836785"/>
                  <a:gd name="connsiteX444" fmla="*/ 1608451 w 2832830"/>
                  <a:gd name="connsiteY444" fmla="*/ 2607219 h 2836785"/>
                  <a:gd name="connsiteX445" fmla="*/ 1615641 w 2832830"/>
                  <a:gd name="connsiteY445" fmla="*/ 2593726 h 2836785"/>
                  <a:gd name="connsiteX446" fmla="*/ 1637212 w 2832830"/>
                  <a:gd name="connsiteY446" fmla="*/ 2595345 h 2836785"/>
                  <a:gd name="connsiteX447" fmla="*/ 1642190 w 2832830"/>
                  <a:gd name="connsiteY447" fmla="*/ 2585090 h 2836785"/>
                  <a:gd name="connsiteX448" fmla="*/ 1617300 w 2832830"/>
                  <a:gd name="connsiteY448" fmla="*/ 2579153 h 2836785"/>
                  <a:gd name="connsiteX449" fmla="*/ 1606792 w 2832830"/>
                  <a:gd name="connsiteY449" fmla="*/ 2573216 h 2836785"/>
                  <a:gd name="connsiteX450" fmla="*/ 1590752 w 2832830"/>
                  <a:gd name="connsiteY450" fmla="*/ 2570517 h 2836785"/>
                  <a:gd name="connsiteX451" fmla="*/ 1584115 w 2832830"/>
                  <a:gd name="connsiteY451" fmla="*/ 2575375 h 2836785"/>
                  <a:gd name="connsiteX452" fmla="*/ 1574159 w 2832830"/>
                  <a:gd name="connsiteY452" fmla="*/ 2571057 h 2836785"/>
                  <a:gd name="connsiteX453" fmla="*/ 1566969 w 2832830"/>
                  <a:gd name="connsiteY453" fmla="*/ 2560802 h 2836785"/>
                  <a:gd name="connsiteX454" fmla="*/ 1559779 w 2832830"/>
                  <a:gd name="connsiteY454" fmla="*/ 2553246 h 2836785"/>
                  <a:gd name="connsiteX455" fmla="*/ 1564204 w 2832830"/>
                  <a:gd name="connsiteY455" fmla="*/ 2551087 h 2836785"/>
                  <a:gd name="connsiteX456" fmla="*/ 1576372 w 2832830"/>
                  <a:gd name="connsiteY456" fmla="*/ 2545150 h 2836785"/>
                  <a:gd name="connsiteX457" fmla="*/ 1591305 w 2832830"/>
                  <a:gd name="connsiteY457" fmla="*/ 2525181 h 2836785"/>
                  <a:gd name="connsiteX458" fmla="*/ 1595730 w 2832830"/>
                  <a:gd name="connsiteY458" fmla="*/ 2525181 h 2836785"/>
                  <a:gd name="connsiteX459" fmla="*/ 1597942 w 2832830"/>
                  <a:gd name="connsiteY459" fmla="*/ 2528419 h 2836785"/>
                  <a:gd name="connsiteX460" fmla="*/ 1613429 w 2832830"/>
                  <a:gd name="connsiteY460" fmla="*/ 2524101 h 2836785"/>
                  <a:gd name="connsiteX461" fmla="*/ 1615088 w 2832830"/>
                  <a:gd name="connsiteY461" fmla="*/ 2519244 h 2836785"/>
                  <a:gd name="connsiteX462" fmla="*/ 1597942 w 2832830"/>
                  <a:gd name="connsiteY462" fmla="*/ 2511688 h 2836785"/>
                  <a:gd name="connsiteX463" fmla="*/ 1617300 w 2832830"/>
                  <a:gd name="connsiteY463" fmla="*/ 2494416 h 2836785"/>
                  <a:gd name="connsiteX464" fmla="*/ 1636659 w 2832830"/>
                  <a:gd name="connsiteY464" fmla="*/ 2464732 h 2836785"/>
                  <a:gd name="connsiteX465" fmla="*/ 1651592 w 2832830"/>
                  <a:gd name="connsiteY465" fmla="*/ 2456636 h 2836785"/>
                  <a:gd name="connsiteX466" fmla="*/ 1646061 w 2832830"/>
                  <a:gd name="connsiteY466" fmla="*/ 2443143 h 2836785"/>
                  <a:gd name="connsiteX467" fmla="*/ 1641083 w 2832830"/>
                  <a:gd name="connsiteY467" fmla="*/ 2432348 h 2836785"/>
                  <a:gd name="connsiteX468" fmla="*/ 1618960 w 2832830"/>
                  <a:gd name="connsiteY468" fmla="*/ 2440984 h 2836785"/>
                  <a:gd name="connsiteX469" fmla="*/ 1613982 w 2832830"/>
                  <a:gd name="connsiteY469" fmla="*/ 2451778 h 2836785"/>
                  <a:gd name="connsiteX470" fmla="*/ 1599601 w 2832830"/>
                  <a:gd name="connsiteY470" fmla="*/ 2465271 h 2836785"/>
                  <a:gd name="connsiteX471" fmla="*/ 1569734 w 2832830"/>
                  <a:gd name="connsiteY471" fmla="*/ 2483082 h 2836785"/>
                  <a:gd name="connsiteX472" fmla="*/ 1556460 w 2832830"/>
                  <a:gd name="connsiteY472" fmla="*/ 2477145 h 2836785"/>
                  <a:gd name="connsiteX473" fmla="*/ 1547058 w 2832830"/>
                  <a:gd name="connsiteY473" fmla="*/ 2455556 h 2836785"/>
                  <a:gd name="connsiteX474" fmla="*/ 1548717 w 2832830"/>
                  <a:gd name="connsiteY474" fmla="*/ 2437746 h 2836785"/>
                  <a:gd name="connsiteX475" fmla="*/ 1557566 w 2832830"/>
                  <a:gd name="connsiteY475" fmla="*/ 2415617 h 2836785"/>
                  <a:gd name="connsiteX476" fmla="*/ 1578031 w 2832830"/>
                  <a:gd name="connsiteY476" fmla="*/ 2393488 h 2836785"/>
                  <a:gd name="connsiteX477" fmla="*/ 1598495 w 2832830"/>
                  <a:gd name="connsiteY477" fmla="*/ 2360025 h 2836785"/>
                  <a:gd name="connsiteX478" fmla="*/ 1620619 w 2832830"/>
                  <a:gd name="connsiteY478" fmla="*/ 2343834 h 2836785"/>
                  <a:gd name="connsiteX479" fmla="*/ 1631128 w 2832830"/>
                  <a:gd name="connsiteY479" fmla="*/ 2318467 h 2836785"/>
                  <a:gd name="connsiteX480" fmla="*/ 1629468 w 2832830"/>
                  <a:gd name="connsiteY480" fmla="*/ 2307672 h 2836785"/>
                  <a:gd name="connsiteX481" fmla="*/ 1620066 w 2832830"/>
                  <a:gd name="connsiteY481" fmla="*/ 2293639 h 2836785"/>
                  <a:gd name="connsiteX482" fmla="*/ 1602920 w 2832830"/>
                  <a:gd name="connsiteY482" fmla="*/ 2283924 h 2836785"/>
                  <a:gd name="connsiteX483" fmla="*/ 1597389 w 2832830"/>
                  <a:gd name="connsiteY483" fmla="*/ 2275289 h 2836785"/>
                  <a:gd name="connsiteX484" fmla="*/ 1597389 w 2832830"/>
                  <a:gd name="connsiteY484" fmla="*/ 2266114 h 2836785"/>
                  <a:gd name="connsiteX485" fmla="*/ 1603473 w 2832830"/>
                  <a:gd name="connsiteY485" fmla="*/ 2244525 h 2836785"/>
                  <a:gd name="connsiteX486" fmla="*/ 1587987 w 2832830"/>
                  <a:gd name="connsiteY486" fmla="*/ 2242905 h 2836785"/>
                  <a:gd name="connsiteX487" fmla="*/ 1587433 w 2832830"/>
                  <a:gd name="connsiteY487" fmla="*/ 2236429 h 2836785"/>
                  <a:gd name="connsiteX488" fmla="*/ 1600155 w 2832830"/>
                  <a:gd name="connsiteY488" fmla="*/ 2212141 h 2836785"/>
                  <a:gd name="connsiteX489" fmla="*/ 1596283 w 2832830"/>
                  <a:gd name="connsiteY489" fmla="*/ 2187854 h 2836785"/>
                  <a:gd name="connsiteX490" fmla="*/ 1577478 w 2832830"/>
                  <a:gd name="connsiteY490" fmla="*/ 2164646 h 2836785"/>
                  <a:gd name="connsiteX491" fmla="*/ 1540974 w 2832830"/>
                  <a:gd name="connsiteY491" fmla="*/ 2167344 h 2836785"/>
                  <a:gd name="connsiteX492" fmla="*/ 1504470 w 2832830"/>
                  <a:gd name="connsiteY492" fmla="*/ 2160867 h 2836785"/>
                  <a:gd name="connsiteX493" fmla="*/ 1489536 w 2832830"/>
                  <a:gd name="connsiteY493" fmla="*/ 2171662 h 2836785"/>
                  <a:gd name="connsiteX494" fmla="*/ 1480687 w 2832830"/>
                  <a:gd name="connsiteY494" fmla="*/ 2174900 h 2836785"/>
                  <a:gd name="connsiteX495" fmla="*/ 1447501 w 2832830"/>
                  <a:gd name="connsiteY495" fmla="*/ 2173821 h 2836785"/>
                  <a:gd name="connsiteX496" fmla="*/ 1423718 w 2832830"/>
                  <a:gd name="connsiteY496" fmla="*/ 2184076 h 2836785"/>
                  <a:gd name="connsiteX497" fmla="*/ 1407679 w 2832830"/>
                  <a:gd name="connsiteY497" fmla="*/ 2181917 h 2836785"/>
                  <a:gd name="connsiteX498" fmla="*/ 1399935 w 2832830"/>
                  <a:gd name="connsiteY498" fmla="*/ 2194330 h 2836785"/>
                  <a:gd name="connsiteX499" fmla="*/ 1374493 w 2832830"/>
                  <a:gd name="connsiteY499" fmla="*/ 2193791 h 2836785"/>
                  <a:gd name="connsiteX500" fmla="*/ 1352369 w 2832830"/>
                  <a:gd name="connsiteY500" fmla="*/ 2166804 h 2836785"/>
                  <a:gd name="connsiteX501" fmla="*/ 1335777 w 2832830"/>
                  <a:gd name="connsiteY501" fmla="*/ 2174361 h 2836785"/>
                  <a:gd name="connsiteX502" fmla="*/ 1321396 w 2832830"/>
                  <a:gd name="connsiteY502" fmla="*/ 2193251 h 2836785"/>
                  <a:gd name="connsiteX503" fmla="*/ 1293188 w 2832830"/>
                  <a:gd name="connsiteY503" fmla="*/ 2200807 h 2836785"/>
                  <a:gd name="connsiteX504" fmla="*/ 1245069 w 2832830"/>
                  <a:gd name="connsiteY504" fmla="*/ 2197569 h 2836785"/>
                  <a:gd name="connsiteX505" fmla="*/ 1231242 w 2832830"/>
                  <a:gd name="connsiteY505" fmla="*/ 2206744 h 2836785"/>
                  <a:gd name="connsiteX506" fmla="*/ 1211884 w 2832830"/>
                  <a:gd name="connsiteY506" fmla="*/ 2197029 h 2836785"/>
                  <a:gd name="connsiteX507" fmla="*/ 1186995 w 2832830"/>
                  <a:gd name="connsiteY507" fmla="*/ 2150073 h 2836785"/>
                  <a:gd name="connsiteX508" fmla="*/ 1151597 w 2832830"/>
                  <a:gd name="connsiteY508" fmla="*/ 2138739 h 2836785"/>
                  <a:gd name="connsiteX509" fmla="*/ 1123942 w 2832830"/>
                  <a:gd name="connsiteY509" fmla="*/ 2147374 h 2836785"/>
                  <a:gd name="connsiteX510" fmla="*/ 1092416 w 2832830"/>
                  <a:gd name="connsiteY510" fmla="*/ 2145216 h 2836785"/>
                  <a:gd name="connsiteX511" fmla="*/ 1082460 w 2832830"/>
                  <a:gd name="connsiteY511" fmla="*/ 2132802 h 2836785"/>
                  <a:gd name="connsiteX512" fmla="*/ 1076929 w 2832830"/>
                  <a:gd name="connsiteY512" fmla="*/ 2110134 h 2836785"/>
                  <a:gd name="connsiteX513" fmla="*/ 1075823 w 2832830"/>
                  <a:gd name="connsiteY513" fmla="*/ 2080449 h 2836785"/>
                  <a:gd name="connsiteX514" fmla="*/ 1068633 w 2832830"/>
                  <a:gd name="connsiteY514" fmla="*/ 2069654 h 2836785"/>
                  <a:gd name="connsiteX515" fmla="*/ 1058677 w 2832830"/>
                  <a:gd name="connsiteY515" fmla="*/ 2064257 h 2836785"/>
                  <a:gd name="connsiteX516" fmla="*/ 1047616 w 2832830"/>
                  <a:gd name="connsiteY516" fmla="*/ 2037811 h 2836785"/>
                  <a:gd name="connsiteX517" fmla="*/ 1031023 w 2832830"/>
                  <a:gd name="connsiteY517" fmla="*/ 2034032 h 2836785"/>
                  <a:gd name="connsiteX518" fmla="*/ 1023833 w 2832830"/>
                  <a:gd name="connsiteY518" fmla="*/ 2028095 h 2836785"/>
                  <a:gd name="connsiteX519" fmla="*/ 1007793 w 2832830"/>
                  <a:gd name="connsiteY519" fmla="*/ 2041589 h 2836785"/>
                  <a:gd name="connsiteX520" fmla="*/ 981245 w 2832830"/>
                  <a:gd name="connsiteY520" fmla="*/ 2043747 h 2836785"/>
                  <a:gd name="connsiteX521" fmla="*/ 972395 w 2832830"/>
                  <a:gd name="connsiteY521" fmla="*/ 2058320 h 2836785"/>
                  <a:gd name="connsiteX522" fmla="*/ 962439 w 2832830"/>
                  <a:gd name="connsiteY522" fmla="*/ 2065876 h 2836785"/>
                  <a:gd name="connsiteX523" fmla="*/ 930913 w 2832830"/>
                  <a:gd name="connsiteY523" fmla="*/ 2073432 h 2836785"/>
                  <a:gd name="connsiteX524" fmla="*/ 921511 w 2832830"/>
                  <a:gd name="connsiteY524" fmla="*/ 2110673 h 2836785"/>
                  <a:gd name="connsiteX525" fmla="*/ 910449 w 2832830"/>
                  <a:gd name="connsiteY525" fmla="*/ 2105816 h 2836785"/>
                  <a:gd name="connsiteX526" fmla="*/ 885560 w 2832830"/>
                  <a:gd name="connsiteY526" fmla="*/ 2109054 h 2836785"/>
                  <a:gd name="connsiteX527" fmla="*/ 881135 w 2832830"/>
                  <a:gd name="connsiteY527" fmla="*/ 2088545 h 2836785"/>
                  <a:gd name="connsiteX528" fmla="*/ 868414 w 2832830"/>
                  <a:gd name="connsiteY528" fmla="*/ 2077750 h 2836785"/>
                  <a:gd name="connsiteX529" fmla="*/ 857905 w 2832830"/>
                  <a:gd name="connsiteY529" fmla="*/ 2055082 h 2836785"/>
                  <a:gd name="connsiteX530" fmla="*/ 854586 w 2832830"/>
                  <a:gd name="connsiteY530" fmla="*/ 2023778 h 2836785"/>
                  <a:gd name="connsiteX531" fmla="*/ 842418 w 2832830"/>
                  <a:gd name="connsiteY531" fmla="*/ 2004348 h 2836785"/>
                  <a:gd name="connsiteX532" fmla="*/ 840206 w 2832830"/>
                  <a:gd name="connsiteY532" fmla="*/ 1989775 h 2836785"/>
                  <a:gd name="connsiteX533" fmla="*/ 858458 w 2832830"/>
                  <a:gd name="connsiteY533" fmla="*/ 1980060 h 2836785"/>
                  <a:gd name="connsiteX534" fmla="*/ 879476 w 2832830"/>
                  <a:gd name="connsiteY534" fmla="*/ 1977362 h 2836785"/>
                  <a:gd name="connsiteX535" fmla="*/ 893856 w 2832830"/>
                  <a:gd name="connsiteY535" fmla="*/ 1968726 h 2836785"/>
                  <a:gd name="connsiteX536" fmla="*/ 899940 w 2832830"/>
                  <a:gd name="connsiteY536" fmla="*/ 1940660 h 2836785"/>
                  <a:gd name="connsiteX537" fmla="*/ 875051 w 2832830"/>
                  <a:gd name="connsiteY537" fmla="*/ 1911515 h 2836785"/>
                  <a:gd name="connsiteX538" fmla="*/ 860117 w 2832830"/>
                  <a:gd name="connsiteY538" fmla="*/ 1914214 h 2836785"/>
                  <a:gd name="connsiteX539" fmla="*/ 855140 w 2832830"/>
                  <a:gd name="connsiteY539" fmla="*/ 1923929 h 2836785"/>
                  <a:gd name="connsiteX540" fmla="*/ 833569 w 2832830"/>
                  <a:gd name="connsiteY540" fmla="*/ 1937962 h 2836785"/>
                  <a:gd name="connsiteX541" fmla="*/ 820848 w 2832830"/>
                  <a:gd name="connsiteY541" fmla="*/ 1925548 h 2836785"/>
                  <a:gd name="connsiteX542" fmla="*/ 820848 w 2832830"/>
                  <a:gd name="connsiteY542" fmla="*/ 1895863 h 2836785"/>
                  <a:gd name="connsiteX543" fmla="*/ 824166 w 2832830"/>
                  <a:gd name="connsiteY543" fmla="*/ 1891546 h 2836785"/>
                  <a:gd name="connsiteX544" fmla="*/ 786556 w 2832830"/>
                  <a:gd name="connsiteY544" fmla="*/ 1879672 h 2836785"/>
                  <a:gd name="connsiteX545" fmla="*/ 769963 w 2832830"/>
                  <a:gd name="connsiteY545" fmla="*/ 1863480 h 2836785"/>
                  <a:gd name="connsiteX546" fmla="*/ 755030 w 2832830"/>
                  <a:gd name="connsiteY546" fmla="*/ 1832716 h 2836785"/>
                  <a:gd name="connsiteX547" fmla="*/ 734565 w 2832830"/>
                  <a:gd name="connsiteY547" fmla="*/ 1826779 h 2836785"/>
                  <a:gd name="connsiteX548" fmla="*/ 725163 w 2832830"/>
                  <a:gd name="connsiteY548" fmla="*/ 1820302 h 2836785"/>
                  <a:gd name="connsiteX549" fmla="*/ 722397 w 2832830"/>
                  <a:gd name="connsiteY549" fmla="*/ 1811666 h 2836785"/>
                  <a:gd name="connsiteX550" fmla="*/ 722951 w 2832830"/>
                  <a:gd name="connsiteY550" fmla="*/ 1788998 h 2836785"/>
                  <a:gd name="connsiteX551" fmla="*/ 704145 w 2832830"/>
                  <a:gd name="connsiteY551" fmla="*/ 1771727 h 2836785"/>
                  <a:gd name="connsiteX552" fmla="*/ 697508 w 2832830"/>
                  <a:gd name="connsiteY552" fmla="*/ 1735026 h 2836785"/>
                  <a:gd name="connsiteX553" fmla="*/ 646071 w 2832830"/>
                  <a:gd name="connsiteY553" fmla="*/ 1725850 h 2836785"/>
                  <a:gd name="connsiteX554" fmla="*/ 627819 w 2832830"/>
                  <a:gd name="connsiteY554" fmla="*/ 1732867 h 2836785"/>
                  <a:gd name="connsiteX555" fmla="*/ 606801 w 2832830"/>
                  <a:gd name="connsiteY555" fmla="*/ 1757694 h 2836785"/>
                  <a:gd name="connsiteX556" fmla="*/ 597952 w 2832830"/>
                  <a:gd name="connsiteY556" fmla="*/ 1754996 h 2836785"/>
                  <a:gd name="connsiteX557" fmla="*/ 597399 w 2832830"/>
                  <a:gd name="connsiteY557" fmla="*/ 1728549 h 2836785"/>
                  <a:gd name="connsiteX558" fmla="*/ 568638 w 2832830"/>
                  <a:gd name="connsiteY558" fmla="*/ 1728009 h 2836785"/>
                  <a:gd name="connsiteX559" fmla="*/ 555364 w 2832830"/>
                  <a:gd name="connsiteY559" fmla="*/ 1739883 h 2836785"/>
                  <a:gd name="connsiteX560" fmla="*/ 545961 w 2832830"/>
                  <a:gd name="connsiteY560" fmla="*/ 1724231 h 2836785"/>
                  <a:gd name="connsiteX561" fmla="*/ 531028 w 2832830"/>
                  <a:gd name="connsiteY561" fmla="*/ 1729629 h 2836785"/>
                  <a:gd name="connsiteX562" fmla="*/ 525497 w 2832830"/>
                  <a:gd name="connsiteY562" fmla="*/ 1740963 h 2836785"/>
                  <a:gd name="connsiteX563" fmla="*/ 507798 w 2832830"/>
                  <a:gd name="connsiteY563" fmla="*/ 1735026 h 2836785"/>
                  <a:gd name="connsiteX564" fmla="*/ 507798 w 2832830"/>
                  <a:gd name="connsiteY564" fmla="*/ 1714516 h 2836785"/>
                  <a:gd name="connsiteX565" fmla="*/ 494524 w 2832830"/>
                  <a:gd name="connsiteY565" fmla="*/ 1698864 h 2836785"/>
                  <a:gd name="connsiteX566" fmla="*/ 479590 w 2832830"/>
                  <a:gd name="connsiteY566" fmla="*/ 1692388 h 2836785"/>
                  <a:gd name="connsiteX567" fmla="*/ 470187 w 2832830"/>
                  <a:gd name="connsiteY567" fmla="*/ 1667021 h 2836785"/>
                  <a:gd name="connsiteX568" fmla="*/ 463550 w 2832830"/>
                  <a:gd name="connsiteY568" fmla="*/ 1658385 h 2836785"/>
                  <a:gd name="connsiteX569" fmla="*/ 448064 w 2832830"/>
                  <a:gd name="connsiteY569" fmla="*/ 1664862 h 2836785"/>
                  <a:gd name="connsiteX570" fmla="*/ 438108 w 2832830"/>
                  <a:gd name="connsiteY570" fmla="*/ 1652448 h 2836785"/>
                  <a:gd name="connsiteX571" fmla="*/ 449723 w 2832830"/>
                  <a:gd name="connsiteY571" fmla="*/ 1629780 h 2836785"/>
                  <a:gd name="connsiteX572" fmla="*/ 452489 w 2832830"/>
                  <a:gd name="connsiteY572" fmla="*/ 1613588 h 2836785"/>
                  <a:gd name="connsiteX573" fmla="*/ 428153 w 2832830"/>
                  <a:gd name="connsiteY573" fmla="*/ 1610889 h 2836785"/>
                  <a:gd name="connsiteX574" fmla="*/ 423728 w 2832830"/>
                  <a:gd name="connsiteY574" fmla="*/ 1593079 h 2836785"/>
                  <a:gd name="connsiteX575" fmla="*/ 403816 w 2832830"/>
                  <a:gd name="connsiteY575" fmla="*/ 1589300 h 2836785"/>
                  <a:gd name="connsiteX576" fmla="*/ 414878 w 2832830"/>
                  <a:gd name="connsiteY576" fmla="*/ 1552060 h 2836785"/>
                  <a:gd name="connsiteX577" fmla="*/ 427599 w 2832830"/>
                  <a:gd name="connsiteY577" fmla="*/ 1539106 h 2836785"/>
                  <a:gd name="connsiteX578" fmla="*/ 419856 w 2832830"/>
                  <a:gd name="connsiteY578" fmla="*/ 1531010 h 2836785"/>
                  <a:gd name="connsiteX579" fmla="*/ 404923 w 2832830"/>
                  <a:gd name="connsiteY579" fmla="*/ 1527232 h 2836785"/>
                  <a:gd name="connsiteX580" fmla="*/ 391648 w 2832830"/>
                  <a:gd name="connsiteY580" fmla="*/ 1509421 h 2836785"/>
                  <a:gd name="connsiteX581" fmla="*/ 368419 w 2832830"/>
                  <a:gd name="connsiteY581" fmla="*/ 1444115 h 2836785"/>
                  <a:gd name="connsiteX582" fmla="*/ 372290 w 2832830"/>
                  <a:gd name="connsiteY582" fmla="*/ 1412811 h 2836785"/>
                  <a:gd name="connsiteX583" fmla="*/ 371184 w 2832830"/>
                  <a:gd name="connsiteY583" fmla="*/ 1388523 h 2836785"/>
                  <a:gd name="connsiteX584" fmla="*/ 386671 w 2832830"/>
                  <a:gd name="connsiteY584" fmla="*/ 1375570 h 2836785"/>
                  <a:gd name="connsiteX585" fmla="*/ 394967 w 2832830"/>
                  <a:gd name="connsiteY585" fmla="*/ 1364776 h 2836785"/>
                  <a:gd name="connsiteX586" fmla="*/ 380033 w 2832830"/>
                  <a:gd name="connsiteY586" fmla="*/ 1350203 h 2836785"/>
                  <a:gd name="connsiteX587" fmla="*/ 371737 w 2832830"/>
                  <a:gd name="connsiteY587" fmla="*/ 1350203 h 2836785"/>
                  <a:gd name="connsiteX588" fmla="*/ 377268 w 2832830"/>
                  <a:gd name="connsiteY588" fmla="*/ 1321598 h 2836785"/>
                  <a:gd name="connsiteX589" fmla="*/ 392202 w 2832830"/>
                  <a:gd name="connsiteY589" fmla="*/ 1322677 h 2836785"/>
                  <a:gd name="connsiteX590" fmla="*/ 394414 w 2832830"/>
                  <a:gd name="connsiteY590" fmla="*/ 1307025 h 2836785"/>
                  <a:gd name="connsiteX591" fmla="*/ 412666 w 2832830"/>
                  <a:gd name="connsiteY591" fmla="*/ 1304327 h 2836785"/>
                  <a:gd name="connsiteX592" fmla="*/ 430365 w 2832830"/>
                  <a:gd name="connsiteY592" fmla="*/ 1276801 h 2836785"/>
                  <a:gd name="connsiteX593" fmla="*/ 486227 w 2832830"/>
                  <a:gd name="connsiteY593" fmla="*/ 1265466 h 2836785"/>
                  <a:gd name="connsiteX594" fmla="*/ 488993 w 2832830"/>
                  <a:gd name="connsiteY594" fmla="*/ 1258990 h 2836785"/>
                  <a:gd name="connsiteX595" fmla="*/ 487886 w 2832830"/>
                  <a:gd name="connsiteY595" fmla="*/ 1257371 h 2836785"/>
                  <a:gd name="connsiteX596" fmla="*/ 471294 w 2832830"/>
                  <a:gd name="connsiteY596" fmla="*/ 1254672 h 2836785"/>
                  <a:gd name="connsiteX597" fmla="*/ 459126 w 2832830"/>
                  <a:gd name="connsiteY597" fmla="*/ 1244957 h 2836785"/>
                  <a:gd name="connsiteX598" fmla="*/ 414325 w 2832830"/>
                  <a:gd name="connsiteY598" fmla="*/ 1254132 h 2836785"/>
                  <a:gd name="connsiteX599" fmla="*/ 399392 w 2832830"/>
                  <a:gd name="connsiteY599" fmla="*/ 1239560 h 2836785"/>
                  <a:gd name="connsiteX600" fmla="*/ 378374 w 2832830"/>
                  <a:gd name="connsiteY600" fmla="*/ 1233083 h 2836785"/>
                  <a:gd name="connsiteX601" fmla="*/ 383352 w 2832830"/>
                  <a:gd name="connsiteY601" fmla="*/ 1229305 h 2836785"/>
                  <a:gd name="connsiteX602" fmla="*/ 371737 w 2832830"/>
                  <a:gd name="connsiteY602" fmla="*/ 1202319 h 2836785"/>
                  <a:gd name="connsiteX603" fmla="*/ 359569 w 2832830"/>
                  <a:gd name="connsiteY603" fmla="*/ 1213653 h 2836785"/>
                  <a:gd name="connsiteX604" fmla="*/ 350720 w 2832830"/>
                  <a:gd name="connsiteY604" fmla="*/ 1227146 h 2836785"/>
                  <a:gd name="connsiteX605" fmla="*/ 336892 w 2832830"/>
                  <a:gd name="connsiteY605" fmla="*/ 1237401 h 2836785"/>
                  <a:gd name="connsiteX606" fmla="*/ 333574 w 2832830"/>
                  <a:gd name="connsiteY606" fmla="*/ 1237401 h 2836785"/>
                  <a:gd name="connsiteX607" fmla="*/ 340211 w 2832830"/>
                  <a:gd name="connsiteY607" fmla="*/ 1210415 h 2836785"/>
                  <a:gd name="connsiteX608" fmla="*/ 347401 w 2832830"/>
                  <a:gd name="connsiteY608" fmla="*/ 1198001 h 2836785"/>
                  <a:gd name="connsiteX609" fmla="*/ 364547 w 2832830"/>
                  <a:gd name="connsiteY609" fmla="*/ 1154283 h 2836785"/>
                  <a:gd name="connsiteX610" fmla="*/ 392202 w 2832830"/>
                  <a:gd name="connsiteY610" fmla="*/ 1104089 h 2836785"/>
                  <a:gd name="connsiteX611" fmla="*/ 413219 w 2832830"/>
                  <a:gd name="connsiteY611" fmla="*/ 1039322 h 2836785"/>
                  <a:gd name="connsiteX612" fmla="*/ 423175 w 2832830"/>
                  <a:gd name="connsiteY612" fmla="*/ 992906 h 2836785"/>
                  <a:gd name="connsiteX613" fmla="*/ 440321 w 2832830"/>
                  <a:gd name="connsiteY613" fmla="*/ 954586 h 2836785"/>
                  <a:gd name="connsiteX614" fmla="*/ 435343 w 2832830"/>
                  <a:gd name="connsiteY614" fmla="*/ 902772 h 2836785"/>
                  <a:gd name="connsiteX615" fmla="*/ 407688 w 2832830"/>
                  <a:gd name="connsiteY615" fmla="*/ 881723 h 2836785"/>
                  <a:gd name="connsiteX616" fmla="*/ 404923 w 2832830"/>
                  <a:gd name="connsiteY616" fmla="*/ 875247 h 2836785"/>
                  <a:gd name="connsiteX617" fmla="*/ 361781 w 2832830"/>
                  <a:gd name="connsiteY617" fmla="*/ 870389 h 2836785"/>
                  <a:gd name="connsiteX618" fmla="*/ 324724 w 2832830"/>
                  <a:gd name="connsiteY618" fmla="*/ 836386 h 2836785"/>
                  <a:gd name="connsiteX619" fmla="*/ 331914 w 2832830"/>
                  <a:gd name="connsiteY619" fmla="*/ 825592 h 2836785"/>
                  <a:gd name="connsiteX620" fmla="*/ 336892 w 2832830"/>
                  <a:gd name="connsiteY620" fmla="*/ 798606 h 2836785"/>
                  <a:gd name="connsiteX621" fmla="*/ 334127 w 2832830"/>
                  <a:gd name="connsiteY621" fmla="*/ 787811 h 2836785"/>
                  <a:gd name="connsiteX622" fmla="*/ 329702 w 2832830"/>
                  <a:gd name="connsiteY622" fmla="*/ 780795 h 2836785"/>
                  <a:gd name="connsiteX623" fmla="*/ 298729 w 2832830"/>
                  <a:gd name="connsiteY623" fmla="*/ 766762 h 2836785"/>
                  <a:gd name="connsiteX624" fmla="*/ 290433 w 2832830"/>
                  <a:gd name="connsiteY624" fmla="*/ 746253 h 2836785"/>
                  <a:gd name="connsiteX625" fmla="*/ 293198 w 2832830"/>
                  <a:gd name="connsiteY625" fmla="*/ 735458 h 2836785"/>
                  <a:gd name="connsiteX626" fmla="*/ 286561 w 2832830"/>
                  <a:gd name="connsiteY626" fmla="*/ 727902 h 2836785"/>
                  <a:gd name="connsiteX627" fmla="*/ 269415 w 2832830"/>
                  <a:gd name="connsiteY627" fmla="*/ 728442 h 2836785"/>
                  <a:gd name="connsiteX628" fmla="*/ 260566 w 2832830"/>
                  <a:gd name="connsiteY628" fmla="*/ 719266 h 2836785"/>
                  <a:gd name="connsiteX629" fmla="*/ 254482 w 2832830"/>
                  <a:gd name="connsiteY629" fmla="*/ 700916 h 2836785"/>
                  <a:gd name="connsiteX630" fmla="*/ 260566 w 2832830"/>
                  <a:gd name="connsiteY630" fmla="*/ 684724 h 2836785"/>
                  <a:gd name="connsiteX631" fmla="*/ 242314 w 2832830"/>
                  <a:gd name="connsiteY631" fmla="*/ 682026 h 2836785"/>
                  <a:gd name="connsiteX632" fmla="*/ 238995 w 2832830"/>
                  <a:gd name="connsiteY632" fmla="*/ 648563 h 2836785"/>
                  <a:gd name="connsiteX633" fmla="*/ 232911 w 2832830"/>
                  <a:gd name="connsiteY633" fmla="*/ 636149 h 2836785"/>
                  <a:gd name="connsiteX634" fmla="*/ 248951 w 2832830"/>
                  <a:gd name="connsiteY634" fmla="*/ 623196 h 2836785"/>
                  <a:gd name="connsiteX635" fmla="*/ 224615 w 2832830"/>
                  <a:gd name="connsiteY635" fmla="*/ 584336 h 2836785"/>
                  <a:gd name="connsiteX636" fmla="*/ 189770 w 2832830"/>
                  <a:gd name="connsiteY636" fmla="*/ 555191 h 2836785"/>
                  <a:gd name="connsiteX637" fmla="*/ 155478 w 2832830"/>
                  <a:gd name="connsiteY637" fmla="*/ 518489 h 2836785"/>
                  <a:gd name="connsiteX638" fmla="*/ 146629 w 2832830"/>
                  <a:gd name="connsiteY638" fmla="*/ 503377 h 2836785"/>
                  <a:gd name="connsiteX639" fmla="*/ 158797 w 2832830"/>
                  <a:gd name="connsiteY639" fmla="*/ 447786 h 2836785"/>
                  <a:gd name="connsiteX640" fmla="*/ 160456 w 2832830"/>
                  <a:gd name="connsiteY640" fmla="*/ 415942 h 2836785"/>
                  <a:gd name="connsiteX641" fmla="*/ 157137 w 2832830"/>
                  <a:gd name="connsiteY641" fmla="*/ 405148 h 2836785"/>
                  <a:gd name="connsiteX642" fmla="*/ 127270 w 2832830"/>
                  <a:gd name="connsiteY642" fmla="*/ 391115 h 2836785"/>
                  <a:gd name="connsiteX643" fmla="*/ 110678 w 2832830"/>
                  <a:gd name="connsiteY643" fmla="*/ 374383 h 2836785"/>
                  <a:gd name="connsiteX644" fmla="*/ 76386 w 2832830"/>
                  <a:gd name="connsiteY644" fmla="*/ 367907 h 2836785"/>
                  <a:gd name="connsiteX645" fmla="*/ 55368 w 2832830"/>
                  <a:gd name="connsiteY645" fmla="*/ 332285 h 2836785"/>
                  <a:gd name="connsiteX646" fmla="*/ 53709 w 2832830"/>
                  <a:gd name="connsiteY646" fmla="*/ 294504 h 2836785"/>
                  <a:gd name="connsiteX647" fmla="*/ 41541 w 2832830"/>
                  <a:gd name="connsiteY647" fmla="*/ 295584 h 2836785"/>
                  <a:gd name="connsiteX648" fmla="*/ 58134 w 2832830"/>
                  <a:gd name="connsiteY648" fmla="*/ 281011 h 2836785"/>
                  <a:gd name="connsiteX649" fmla="*/ 65324 w 2832830"/>
                  <a:gd name="connsiteY649" fmla="*/ 249167 h 2836785"/>
                  <a:gd name="connsiteX650" fmla="*/ 62559 w 2832830"/>
                  <a:gd name="connsiteY650" fmla="*/ 243231 h 2836785"/>
                  <a:gd name="connsiteX651" fmla="*/ 64218 w 2832830"/>
                  <a:gd name="connsiteY651" fmla="*/ 232976 h 2836785"/>
                  <a:gd name="connsiteX652" fmla="*/ 80258 w 2832830"/>
                  <a:gd name="connsiteY652" fmla="*/ 221642 h 2836785"/>
                  <a:gd name="connsiteX653" fmla="*/ 92979 w 2832830"/>
                  <a:gd name="connsiteY653" fmla="*/ 196814 h 2836785"/>
                  <a:gd name="connsiteX654" fmla="*/ 102381 w 2832830"/>
                  <a:gd name="connsiteY654" fmla="*/ 198973 h 2836785"/>
                  <a:gd name="connsiteX655" fmla="*/ 108465 w 2832830"/>
                  <a:gd name="connsiteY655" fmla="*/ 195735 h 2836785"/>
                  <a:gd name="connsiteX656" fmla="*/ 110678 w 2832830"/>
                  <a:gd name="connsiteY656" fmla="*/ 184940 h 2836785"/>
                  <a:gd name="connsiteX657" fmla="*/ 109571 w 2832830"/>
                  <a:gd name="connsiteY657" fmla="*/ 164971 h 2836785"/>
                  <a:gd name="connsiteX658" fmla="*/ 154925 w 2832830"/>
                  <a:gd name="connsiteY658" fmla="*/ 1951995 h 2836785"/>
                  <a:gd name="connsiteX659" fmla="*/ 175389 w 2832830"/>
                  <a:gd name="connsiteY659" fmla="*/ 1954153 h 2836785"/>
                  <a:gd name="connsiteX660" fmla="*/ 199725 w 2832830"/>
                  <a:gd name="connsiteY660" fmla="*/ 1969805 h 2836785"/>
                  <a:gd name="connsiteX661" fmla="*/ 200279 w 2832830"/>
                  <a:gd name="connsiteY661" fmla="*/ 1977901 h 2836785"/>
                  <a:gd name="connsiteX662" fmla="*/ 189770 w 2832830"/>
                  <a:gd name="connsiteY662" fmla="*/ 1995172 h 2836785"/>
                  <a:gd name="connsiteX663" fmla="*/ 205256 w 2832830"/>
                  <a:gd name="connsiteY663" fmla="*/ 2022159 h 2836785"/>
                  <a:gd name="connsiteX664" fmla="*/ 193641 w 2832830"/>
                  <a:gd name="connsiteY664" fmla="*/ 2032413 h 2836785"/>
                  <a:gd name="connsiteX665" fmla="*/ 179814 w 2832830"/>
                  <a:gd name="connsiteY665" fmla="*/ 2039430 h 2836785"/>
                  <a:gd name="connsiteX666" fmla="*/ 106806 w 2832830"/>
                  <a:gd name="connsiteY666" fmla="*/ 2056161 h 2836785"/>
                  <a:gd name="connsiteX667" fmla="*/ 34351 w 2832830"/>
                  <a:gd name="connsiteY667" fmla="*/ 2063178 h 2836785"/>
                  <a:gd name="connsiteX668" fmla="*/ 1165 w 2832830"/>
                  <a:gd name="connsiteY668" fmla="*/ 2062098 h 2836785"/>
                  <a:gd name="connsiteX669" fmla="*/ 16652 w 2832830"/>
                  <a:gd name="connsiteY669" fmla="*/ 2036731 h 2836785"/>
                  <a:gd name="connsiteX670" fmla="*/ 28267 w 2832830"/>
                  <a:gd name="connsiteY670" fmla="*/ 2021619 h 2836785"/>
                  <a:gd name="connsiteX671" fmla="*/ 22183 w 2832830"/>
                  <a:gd name="connsiteY671" fmla="*/ 2021079 h 2836785"/>
                  <a:gd name="connsiteX672" fmla="*/ 2825 w 2832830"/>
                  <a:gd name="connsiteY672" fmla="*/ 2026476 h 2836785"/>
                  <a:gd name="connsiteX673" fmla="*/ 1719 w 2832830"/>
                  <a:gd name="connsiteY673" fmla="*/ 2025397 h 2836785"/>
                  <a:gd name="connsiteX674" fmla="*/ 2272 w 2832830"/>
                  <a:gd name="connsiteY674" fmla="*/ 2014063 h 2836785"/>
                  <a:gd name="connsiteX675" fmla="*/ 2272 w 2832830"/>
                  <a:gd name="connsiteY675" fmla="*/ 1995172 h 2836785"/>
                  <a:gd name="connsiteX676" fmla="*/ 18311 w 2832830"/>
                  <a:gd name="connsiteY676" fmla="*/ 1994093 h 2836785"/>
                  <a:gd name="connsiteX677" fmla="*/ 27714 w 2832830"/>
                  <a:gd name="connsiteY677" fmla="*/ 1987077 h 2836785"/>
                  <a:gd name="connsiteX678" fmla="*/ 38776 w 2832830"/>
                  <a:gd name="connsiteY678" fmla="*/ 1978981 h 2836785"/>
                  <a:gd name="connsiteX679" fmla="*/ 49838 w 2832830"/>
                  <a:gd name="connsiteY679" fmla="*/ 1939041 h 2836785"/>
                  <a:gd name="connsiteX680" fmla="*/ 54815 w 2832830"/>
                  <a:gd name="connsiteY680" fmla="*/ 1928247 h 2836785"/>
                  <a:gd name="connsiteX681" fmla="*/ 56475 w 2832830"/>
                  <a:gd name="connsiteY681" fmla="*/ 1922849 h 2836785"/>
                  <a:gd name="connsiteX682" fmla="*/ 60346 w 2832830"/>
                  <a:gd name="connsiteY682" fmla="*/ 1926628 h 2836785"/>
                  <a:gd name="connsiteX683" fmla="*/ 55368 w 2832830"/>
                  <a:gd name="connsiteY683" fmla="*/ 1950915 h 2836785"/>
                  <a:gd name="connsiteX684" fmla="*/ 50944 w 2832830"/>
                  <a:gd name="connsiteY684" fmla="*/ 1959011 h 2836785"/>
                  <a:gd name="connsiteX685" fmla="*/ 50391 w 2832830"/>
                  <a:gd name="connsiteY685" fmla="*/ 1983838 h 2836785"/>
                  <a:gd name="connsiteX686" fmla="*/ 55368 w 2832830"/>
                  <a:gd name="connsiteY686" fmla="*/ 1987077 h 2836785"/>
                  <a:gd name="connsiteX687" fmla="*/ 73621 w 2832830"/>
                  <a:gd name="connsiteY687" fmla="*/ 1984918 h 2836785"/>
                  <a:gd name="connsiteX688" fmla="*/ 75833 w 2832830"/>
                  <a:gd name="connsiteY688" fmla="*/ 1959011 h 2836785"/>
                  <a:gd name="connsiteX689" fmla="*/ 78598 w 2832830"/>
                  <a:gd name="connsiteY689" fmla="*/ 1938501 h 2836785"/>
                  <a:gd name="connsiteX690" fmla="*/ 100722 w 2832830"/>
                  <a:gd name="connsiteY690" fmla="*/ 1942279 h 2836785"/>
                  <a:gd name="connsiteX691" fmla="*/ 113996 w 2832830"/>
                  <a:gd name="connsiteY691" fmla="*/ 1950915 h 2836785"/>
                  <a:gd name="connsiteX692" fmla="*/ 154925 w 2832830"/>
                  <a:gd name="connsiteY692" fmla="*/ 1951995 h 2836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</a:cxnLst>
                <a:rect l="l" t="t" r="r" b="b"/>
                <a:pathLst>
                  <a:path w="2832830" h="2836785">
                    <a:moveTo>
                      <a:pt x="109571" y="164971"/>
                    </a:moveTo>
                    <a:cubicBezTo>
                      <a:pt x="112890" y="163891"/>
                      <a:pt x="120633" y="163351"/>
                      <a:pt x="123952" y="165510"/>
                    </a:cubicBezTo>
                    <a:cubicBezTo>
                      <a:pt x="125611" y="166590"/>
                      <a:pt x="126164" y="169828"/>
                      <a:pt x="127824" y="171447"/>
                    </a:cubicBezTo>
                    <a:cubicBezTo>
                      <a:pt x="128377" y="171447"/>
                      <a:pt x="129483" y="171447"/>
                      <a:pt x="130589" y="170908"/>
                    </a:cubicBezTo>
                    <a:cubicBezTo>
                      <a:pt x="131142" y="170908"/>
                      <a:pt x="138885" y="164971"/>
                      <a:pt x="139438" y="164431"/>
                    </a:cubicBezTo>
                    <a:cubicBezTo>
                      <a:pt x="142757" y="159034"/>
                      <a:pt x="135014" y="157954"/>
                      <a:pt x="134461" y="154716"/>
                    </a:cubicBezTo>
                    <a:cubicBezTo>
                      <a:pt x="133908" y="153097"/>
                      <a:pt x="135567" y="149319"/>
                      <a:pt x="136673" y="148779"/>
                    </a:cubicBezTo>
                    <a:cubicBezTo>
                      <a:pt x="140545" y="147160"/>
                      <a:pt x="145522" y="150938"/>
                      <a:pt x="150500" y="148239"/>
                    </a:cubicBezTo>
                    <a:lnTo>
                      <a:pt x="151053" y="145541"/>
                    </a:lnTo>
                    <a:cubicBezTo>
                      <a:pt x="149394" y="141763"/>
                      <a:pt x="146076" y="139064"/>
                      <a:pt x="144416" y="135826"/>
                    </a:cubicBezTo>
                    <a:lnTo>
                      <a:pt x="144969" y="133667"/>
                    </a:lnTo>
                    <a:cubicBezTo>
                      <a:pt x="146629" y="133127"/>
                      <a:pt x="148288" y="133667"/>
                      <a:pt x="149947" y="133667"/>
                    </a:cubicBezTo>
                    <a:cubicBezTo>
                      <a:pt x="154925" y="136365"/>
                      <a:pt x="168752" y="141223"/>
                      <a:pt x="172624" y="141763"/>
                    </a:cubicBezTo>
                    <a:cubicBezTo>
                      <a:pt x="177602" y="141763"/>
                      <a:pt x="184792" y="134206"/>
                      <a:pt x="191982" y="140683"/>
                    </a:cubicBezTo>
                    <a:cubicBezTo>
                      <a:pt x="193088" y="141763"/>
                      <a:pt x="195301" y="143921"/>
                      <a:pt x="195301" y="145541"/>
                    </a:cubicBezTo>
                    <a:cubicBezTo>
                      <a:pt x="196960" y="155256"/>
                      <a:pt x="185345" y="162272"/>
                      <a:pt x="176496" y="161193"/>
                    </a:cubicBezTo>
                    <a:cubicBezTo>
                      <a:pt x="172071" y="161193"/>
                      <a:pt x="167093" y="157415"/>
                      <a:pt x="162668" y="157415"/>
                    </a:cubicBezTo>
                    <a:cubicBezTo>
                      <a:pt x="161562" y="157415"/>
                      <a:pt x="159350" y="158494"/>
                      <a:pt x="158797" y="159034"/>
                    </a:cubicBezTo>
                    <a:cubicBezTo>
                      <a:pt x="157690" y="160653"/>
                      <a:pt x="156031" y="169288"/>
                      <a:pt x="157137" y="170908"/>
                    </a:cubicBezTo>
                    <a:cubicBezTo>
                      <a:pt x="162668" y="174146"/>
                      <a:pt x="168752" y="168749"/>
                      <a:pt x="175389" y="168749"/>
                    </a:cubicBezTo>
                    <a:cubicBezTo>
                      <a:pt x="179261" y="172527"/>
                      <a:pt x="176496" y="171987"/>
                      <a:pt x="178155" y="175765"/>
                    </a:cubicBezTo>
                    <a:lnTo>
                      <a:pt x="180367" y="176845"/>
                    </a:lnTo>
                    <a:cubicBezTo>
                      <a:pt x="188111" y="173066"/>
                      <a:pt x="188664" y="167669"/>
                      <a:pt x="200832" y="171447"/>
                    </a:cubicBezTo>
                    <a:cubicBezTo>
                      <a:pt x="205256" y="180083"/>
                      <a:pt x="209681" y="170908"/>
                      <a:pt x="215212" y="169288"/>
                    </a:cubicBezTo>
                    <a:cubicBezTo>
                      <a:pt x="217424" y="168209"/>
                      <a:pt x="224615" y="168209"/>
                      <a:pt x="227380" y="168209"/>
                    </a:cubicBezTo>
                    <a:cubicBezTo>
                      <a:pt x="230146" y="173066"/>
                      <a:pt x="225168" y="179003"/>
                      <a:pt x="226827" y="182781"/>
                    </a:cubicBezTo>
                    <a:cubicBezTo>
                      <a:pt x="227933" y="186020"/>
                      <a:pt x="234017" y="183321"/>
                      <a:pt x="234570" y="192497"/>
                    </a:cubicBezTo>
                    <a:cubicBezTo>
                      <a:pt x="235123" y="197354"/>
                      <a:pt x="228486" y="200592"/>
                      <a:pt x="228486" y="205990"/>
                    </a:cubicBezTo>
                    <a:lnTo>
                      <a:pt x="230146" y="209228"/>
                    </a:lnTo>
                    <a:lnTo>
                      <a:pt x="233464" y="209768"/>
                    </a:lnTo>
                    <a:cubicBezTo>
                      <a:pt x="237336" y="210307"/>
                      <a:pt x="240101" y="198433"/>
                      <a:pt x="240101" y="196275"/>
                    </a:cubicBezTo>
                    <a:cubicBezTo>
                      <a:pt x="240101" y="193036"/>
                      <a:pt x="237889" y="179003"/>
                      <a:pt x="239548" y="177384"/>
                    </a:cubicBezTo>
                    <a:cubicBezTo>
                      <a:pt x="241207" y="175225"/>
                      <a:pt x="253375" y="171447"/>
                      <a:pt x="255588" y="169288"/>
                    </a:cubicBezTo>
                    <a:cubicBezTo>
                      <a:pt x="257247" y="167669"/>
                      <a:pt x="255588" y="164431"/>
                      <a:pt x="259459" y="160653"/>
                    </a:cubicBezTo>
                    <a:cubicBezTo>
                      <a:pt x="268309" y="159573"/>
                      <a:pt x="273840" y="168749"/>
                      <a:pt x="279924" y="166590"/>
                    </a:cubicBezTo>
                    <a:cubicBezTo>
                      <a:pt x="284902" y="165510"/>
                      <a:pt x="291539" y="166050"/>
                      <a:pt x="295964" y="164431"/>
                    </a:cubicBezTo>
                    <a:cubicBezTo>
                      <a:pt x="301494" y="162272"/>
                      <a:pt x="297623" y="156335"/>
                      <a:pt x="299282" y="154716"/>
                    </a:cubicBezTo>
                    <a:cubicBezTo>
                      <a:pt x="300941" y="153636"/>
                      <a:pt x="319746" y="147160"/>
                      <a:pt x="321406" y="147160"/>
                    </a:cubicBezTo>
                    <a:cubicBezTo>
                      <a:pt x="330808" y="148239"/>
                      <a:pt x="340211" y="152017"/>
                      <a:pt x="349613" y="153636"/>
                    </a:cubicBezTo>
                    <a:cubicBezTo>
                      <a:pt x="362335" y="155795"/>
                      <a:pt x="375056" y="156875"/>
                      <a:pt x="387224" y="159034"/>
                    </a:cubicBezTo>
                    <a:cubicBezTo>
                      <a:pt x="394414" y="160653"/>
                      <a:pt x="400498" y="164431"/>
                      <a:pt x="407135" y="166050"/>
                    </a:cubicBezTo>
                    <a:cubicBezTo>
                      <a:pt x="417091" y="168749"/>
                      <a:pt x="427599" y="170368"/>
                      <a:pt x="437555" y="171987"/>
                    </a:cubicBezTo>
                    <a:cubicBezTo>
                      <a:pt x="442533" y="172527"/>
                      <a:pt x="448064" y="172527"/>
                      <a:pt x="453042" y="173606"/>
                    </a:cubicBezTo>
                    <a:cubicBezTo>
                      <a:pt x="468528" y="177924"/>
                      <a:pt x="477378" y="196814"/>
                      <a:pt x="487333" y="193036"/>
                    </a:cubicBezTo>
                    <a:cubicBezTo>
                      <a:pt x="490652" y="186560"/>
                      <a:pt x="485674" y="188718"/>
                      <a:pt x="487333" y="184940"/>
                    </a:cubicBezTo>
                    <a:lnTo>
                      <a:pt x="489546" y="184401"/>
                    </a:lnTo>
                    <a:cubicBezTo>
                      <a:pt x="498948" y="187099"/>
                      <a:pt x="522178" y="196275"/>
                      <a:pt x="531028" y="195735"/>
                    </a:cubicBezTo>
                    <a:cubicBezTo>
                      <a:pt x="532687" y="195735"/>
                      <a:pt x="534346" y="193576"/>
                      <a:pt x="536005" y="192497"/>
                    </a:cubicBezTo>
                    <a:cubicBezTo>
                      <a:pt x="538218" y="191417"/>
                      <a:pt x="544855" y="188179"/>
                      <a:pt x="545961" y="186020"/>
                    </a:cubicBezTo>
                    <a:cubicBezTo>
                      <a:pt x="553704" y="186560"/>
                      <a:pt x="578594" y="192497"/>
                      <a:pt x="584124" y="196814"/>
                    </a:cubicBezTo>
                    <a:cubicBezTo>
                      <a:pt x="586890" y="198973"/>
                      <a:pt x="585231" y="203831"/>
                      <a:pt x="590208" y="208148"/>
                    </a:cubicBezTo>
                    <a:cubicBezTo>
                      <a:pt x="595739" y="212466"/>
                      <a:pt x="599058" y="204910"/>
                      <a:pt x="602930" y="203831"/>
                    </a:cubicBezTo>
                    <a:cubicBezTo>
                      <a:pt x="605142" y="202751"/>
                      <a:pt x="621182" y="203831"/>
                      <a:pt x="623947" y="204910"/>
                    </a:cubicBezTo>
                    <a:cubicBezTo>
                      <a:pt x="632797" y="208688"/>
                      <a:pt x="629478" y="217864"/>
                      <a:pt x="633350" y="223800"/>
                    </a:cubicBezTo>
                    <a:cubicBezTo>
                      <a:pt x="637221" y="228658"/>
                      <a:pt x="643858" y="231357"/>
                      <a:pt x="648283" y="235674"/>
                    </a:cubicBezTo>
                    <a:cubicBezTo>
                      <a:pt x="651049" y="238913"/>
                      <a:pt x="651049" y="243231"/>
                      <a:pt x="654920" y="246469"/>
                    </a:cubicBezTo>
                    <a:cubicBezTo>
                      <a:pt x="660451" y="251866"/>
                      <a:pt x="669854" y="240532"/>
                      <a:pt x="675385" y="251326"/>
                    </a:cubicBezTo>
                    <a:cubicBezTo>
                      <a:pt x="678150" y="256184"/>
                      <a:pt x="684234" y="279932"/>
                      <a:pt x="684234" y="285869"/>
                    </a:cubicBezTo>
                    <a:cubicBezTo>
                      <a:pt x="683681" y="305299"/>
                      <a:pt x="684787" y="340920"/>
                      <a:pt x="677044" y="358731"/>
                    </a:cubicBezTo>
                    <a:cubicBezTo>
                      <a:pt x="673172" y="367367"/>
                      <a:pt x="667641" y="376542"/>
                      <a:pt x="662110" y="385178"/>
                    </a:cubicBezTo>
                    <a:cubicBezTo>
                      <a:pt x="654367" y="397052"/>
                      <a:pt x="644965" y="407846"/>
                      <a:pt x="632243" y="415402"/>
                    </a:cubicBezTo>
                    <a:cubicBezTo>
                      <a:pt x="626159" y="419180"/>
                      <a:pt x="618416" y="421339"/>
                      <a:pt x="612332" y="425657"/>
                    </a:cubicBezTo>
                    <a:cubicBezTo>
                      <a:pt x="610673" y="426736"/>
                      <a:pt x="610120" y="428356"/>
                      <a:pt x="608461" y="429435"/>
                    </a:cubicBezTo>
                    <a:cubicBezTo>
                      <a:pt x="597952" y="435912"/>
                      <a:pt x="573616" y="439150"/>
                      <a:pt x="561448" y="439150"/>
                    </a:cubicBezTo>
                    <a:cubicBezTo>
                      <a:pt x="547620" y="439690"/>
                      <a:pt x="524944" y="437531"/>
                      <a:pt x="512222" y="440230"/>
                    </a:cubicBezTo>
                    <a:cubicBezTo>
                      <a:pt x="493970" y="444547"/>
                      <a:pt x="475165" y="452643"/>
                      <a:pt x="455807" y="453183"/>
                    </a:cubicBezTo>
                    <a:cubicBezTo>
                      <a:pt x="437002" y="453723"/>
                      <a:pt x="432024" y="439150"/>
                      <a:pt x="420409" y="441309"/>
                    </a:cubicBezTo>
                    <a:cubicBezTo>
                      <a:pt x="413219" y="442928"/>
                      <a:pt x="412113" y="451024"/>
                      <a:pt x="407688" y="455342"/>
                    </a:cubicBezTo>
                    <a:cubicBezTo>
                      <a:pt x="399945" y="453723"/>
                      <a:pt x="404923" y="448325"/>
                      <a:pt x="401604" y="445627"/>
                    </a:cubicBezTo>
                    <a:cubicBezTo>
                      <a:pt x="397179" y="444008"/>
                      <a:pt x="384458" y="447786"/>
                      <a:pt x="378927" y="448325"/>
                    </a:cubicBezTo>
                    <a:cubicBezTo>
                      <a:pt x="373396" y="449405"/>
                      <a:pt x="366759" y="444008"/>
                      <a:pt x="363441" y="445087"/>
                    </a:cubicBezTo>
                    <a:cubicBezTo>
                      <a:pt x="360675" y="446166"/>
                      <a:pt x="355697" y="451024"/>
                      <a:pt x="354038" y="451024"/>
                    </a:cubicBezTo>
                    <a:cubicBezTo>
                      <a:pt x="349613" y="451024"/>
                      <a:pt x="329149" y="446166"/>
                      <a:pt x="324724" y="444008"/>
                    </a:cubicBezTo>
                    <a:cubicBezTo>
                      <a:pt x="322512" y="442928"/>
                      <a:pt x="315322" y="435372"/>
                      <a:pt x="314216" y="433213"/>
                    </a:cubicBezTo>
                    <a:cubicBezTo>
                      <a:pt x="313109" y="429975"/>
                      <a:pt x="315875" y="428895"/>
                      <a:pt x="312556" y="425117"/>
                    </a:cubicBezTo>
                    <a:cubicBezTo>
                      <a:pt x="304260" y="425117"/>
                      <a:pt x="277158" y="427276"/>
                      <a:pt x="271074" y="432673"/>
                    </a:cubicBezTo>
                    <a:lnTo>
                      <a:pt x="272734" y="433753"/>
                    </a:lnTo>
                    <a:cubicBezTo>
                      <a:pt x="275499" y="434293"/>
                      <a:pt x="278818" y="433753"/>
                      <a:pt x="282136" y="434293"/>
                    </a:cubicBezTo>
                    <a:cubicBezTo>
                      <a:pt x="286561" y="434832"/>
                      <a:pt x="298176" y="438610"/>
                      <a:pt x="298729" y="443468"/>
                    </a:cubicBezTo>
                    <a:cubicBezTo>
                      <a:pt x="299282" y="445627"/>
                      <a:pt x="297623" y="449405"/>
                      <a:pt x="297623" y="452103"/>
                    </a:cubicBezTo>
                    <a:lnTo>
                      <a:pt x="298729" y="453183"/>
                    </a:lnTo>
                    <a:cubicBezTo>
                      <a:pt x="299282" y="454262"/>
                      <a:pt x="309238" y="459120"/>
                      <a:pt x="310897" y="459660"/>
                    </a:cubicBezTo>
                    <a:cubicBezTo>
                      <a:pt x="314216" y="460739"/>
                      <a:pt x="326384" y="460199"/>
                      <a:pt x="328596" y="461818"/>
                    </a:cubicBezTo>
                    <a:cubicBezTo>
                      <a:pt x="329702" y="462358"/>
                      <a:pt x="326937" y="467216"/>
                      <a:pt x="326937" y="468295"/>
                    </a:cubicBezTo>
                    <a:cubicBezTo>
                      <a:pt x="336892" y="473153"/>
                      <a:pt x="338552" y="462898"/>
                      <a:pt x="346848" y="465597"/>
                    </a:cubicBezTo>
                    <a:lnTo>
                      <a:pt x="348507" y="467216"/>
                    </a:lnTo>
                    <a:cubicBezTo>
                      <a:pt x="347954" y="469914"/>
                      <a:pt x="345742" y="472073"/>
                      <a:pt x="345189" y="474232"/>
                    </a:cubicBezTo>
                    <a:cubicBezTo>
                      <a:pt x="351826" y="476931"/>
                      <a:pt x="360122" y="478550"/>
                      <a:pt x="366759" y="481788"/>
                    </a:cubicBezTo>
                    <a:cubicBezTo>
                      <a:pt x="373949" y="485566"/>
                      <a:pt x="373396" y="495281"/>
                      <a:pt x="377268" y="497440"/>
                    </a:cubicBezTo>
                    <a:cubicBezTo>
                      <a:pt x="381140" y="500139"/>
                      <a:pt x="401051" y="496900"/>
                      <a:pt x="406582" y="496900"/>
                    </a:cubicBezTo>
                    <a:cubicBezTo>
                      <a:pt x="411560" y="496900"/>
                      <a:pt x="415431" y="497980"/>
                      <a:pt x="419303" y="500679"/>
                    </a:cubicBezTo>
                    <a:cubicBezTo>
                      <a:pt x="420409" y="501758"/>
                      <a:pt x="439767" y="500679"/>
                      <a:pt x="446958" y="507155"/>
                    </a:cubicBezTo>
                    <a:cubicBezTo>
                      <a:pt x="450829" y="510933"/>
                      <a:pt x="465763" y="527125"/>
                      <a:pt x="467422" y="530903"/>
                    </a:cubicBezTo>
                    <a:cubicBezTo>
                      <a:pt x="468528" y="533062"/>
                      <a:pt x="466869" y="537380"/>
                      <a:pt x="467975" y="540078"/>
                    </a:cubicBezTo>
                    <a:cubicBezTo>
                      <a:pt x="468528" y="542777"/>
                      <a:pt x="471294" y="544396"/>
                      <a:pt x="471847" y="547095"/>
                    </a:cubicBezTo>
                    <a:cubicBezTo>
                      <a:pt x="472400" y="550333"/>
                      <a:pt x="471847" y="562207"/>
                      <a:pt x="470741" y="564906"/>
                    </a:cubicBezTo>
                    <a:cubicBezTo>
                      <a:pt x="469634" y="568684"/>
                      <a:pt x="460785" y="568684"/>
                      <a:pt x="462444" y="577859"/>
                    </a:cubicBezTo>
                    <a:cubicBezTo>
                      <a:pt x="462997" y="578938"/>
                      <a:pt x="464657" y="583256"/>
                      <a:pt x="465210" y="583796"/>
                    </a:cubicBezTo>
                    <a:cubicBezTo>
                      <a:pt x="473506" y="591352"/>
                      <a:pt x="479590" y="588114"/>
                      <a:pt x="492864" y="603226"/>
                    </a:cubicBezTo>
                    <a:cubicBezTo>
                      <a:pt x="499501" y="610782"/>
                      <a:pt x="501714" y="618338"/>
                      <a:pt x="506692" y="625355"/>
                    </a:cubicBezTo>
                    <a:cubicBezTo>
                      <a:pt x="508904" y="628053"/>
                      <a:pt x="512222" y="629672"/>
                      <a:pt x="514435" y="632371"/>
                    </a:cubicBezTo>
                    <a:cubicBezTo>
                      <a:pt x="516094" y="635070"/>
                      <a:pt x="516647" y="638308"/>
                      <a:pt x="518860" y="641007"/>
                    </a:cubicBezTo>
                    <a:cubicBezTo>
                      <a:pt x="519966" y="642626"/>
                      <a:pt x="522731" y="643165"/>
                      <a:pt x="523837" y="644785"/>
                    </a:cubicBezTo>
                    <a:cubicBezTo>
                      <a:pt x="532687" y="655039"/>
                      <a:pt x="530475" y="665294"/>
                      <a:pt x="548727" y="671771"/>
                    </a:cubicBezTo>
                    <a:cubicBezTo>
                      <a:pt x="566979" y="678787"/>
                      <a:pt x="564766" y="667453"/>
                      <a:pt x="573616" y="666913"/>
                    </a:cubicBezTo>
                    <a:cubicBezTo>
                      <a:pt x="583018" y="666374"/>
                      <a:pt x="594633" y="671231"/>
                      <a:pt x="604036" y="672850"/>
                    </a:cubicBezTo>
                    <a:cubicBezTo>
                      <a:pt x="606248" y="671231"/>
                      <a:pt x="610673" y="670152"/>
                      <a:pt x="612885" y="670152"/>
                    </a:cubicBezTo>
                    <a:cubicBezTo>
                      <a:pt x="613991" y="673390"/>
                      <a:pt x="615651" y="673930"/>
                      <a:pt x="617310" y="676628"/>
                    </a:cubicBezTo>
                    <a:cubicBezTo>
                      <a:pt x="618416" y="678787"/>
                      <a:pt x="617863" y="682026"/>
                      <a:pt x="618969" y="684184"/>
                    </a:cubicBezTo>
                    <a:cubicBezTo>
                      <a:pt x="624500" y="693360"/>
                      <a:pt x="650496" y="684184"/>
                      <a:pt x="658792" y="684724"/>
                    </a:cubicBezTo>
                    <a:cubicBezTo>
                      <a:pt x="667088" y="685264"/>
                      <a:pt x="675385" y="690661"/>
                      <a:pt x="683128" y="690661"/>
                    </a:cubicBezTo>
                    <a:cubicBezTo>
                      <a:pt x="685340" y="690661"/>
                      <a:pt x="689765" y="687963"/>
                      <a:pt x="690871" y="686343"/>
                    </a:cubicBezTo>
                    <a:cubicBezTo>
                      <a:pt x="692531" y="683105"/>
                      <a:pt x="691424" y="674469"/>
                      <a:pt x="693084" y="671771"/>
                    </a:cubicBezTo>
                    <a:cubicBezTo>
                      <a:pt x="696402" y="666374"/>
                      <a:pt x="710229" y="663135"/>
                      <a:pt x="708570" y="652881"/>
                    </a:cubicBezTo>
                    <a:cubicBezTo>
                      <a:pt x="706358" y="639927"/>
                      <a:pt x="693637" y="637229"/>
                      <a:pt x="692531" y="635609"/>
                    </a:cubicBezTo>
                    <a:cubicBezTo>
                      <a:pt x="691424" y="633990"/>
                      <a:pt x="691424" y="624815"/>
                      <a:pt x="690871" y="624275"/>
                    </a:cubicBezTo>
                    <a:cubicBezTo>
                      <a:pt x="688659" y="620497"/>
                      <a:pt x="678703" y="614560"/>
                      <a:pt x="673725" y="616179"/>
                    </a:cubicBezTo>
                    <a:cubicBezTo>
                      <a:pt x="668748" y="617798"/>
                      <a:pt x="665982" y="632371"/>
                      <a:pt x="652155" y="630212"/>
                    </a:cubicBezTo>
                    <a:cubicBezTo>
                      <a:pt x="636115" y="626974"/>
                      <a:pt x="627819" y="615640"/>
                      <a:pt x="613991" y="609163"/>
                    </a:cubicBezTo>
                    <a:cubicBezTo>
                      <a:pt x="609567" y="607004"/>
                      <a:pt x="604589" y="607544"/>
                      <a:pt x="600164" y="605385"/>
                    </a:cubicBezTo>
                    <a:cubicBezTo>
                      <a:pt x="594080" y="602686"/>
                      <a:pt x="584124" y="596210"/>
                      <a:pt x="580806" y="590812"/>
                    </a:cubicBezTo>
                    <a:lnTo>
                      <a:pt x="580806" y="588114"/>
                    </a:lnTo>
                    <a:cubicBezTo>
                      <a:pt x="584124" y="585415"/>
                      <a:pt x="595739" y="590273"/>
                      <a:pt x="594633" y="575160"/>
                    </a:cubicBezTo>
                    <a:cubicBezTo>
                      <a:pt x="594080" y="570303"/>
                      <a:pt x="585784" y="555730"/>
                      <a:pt x="591315" y="551413"/>
                    </a:cubicBezTo>
                    <a:cubicBezTo>
                      <a:pt x="599058" y="544936"/>
                      <a:pt x="657686" y="562207"/>
                      <a:pt x="677044" y="556810"/>
                    </a:cubicBezTo>
                    <a:cubicBezTo>
                      <a:pt x="678150" y="558429"/>
                      <a:pt x="680916" y="560048"/>
                      <a:pt x="683128" y="560048"/>
                    </a:cubicBezTo>
                    <a:cubicBezTo>
                      <a:pt x="690318" y="559508"/>
                      <a:pt x="698061" y="553571"/>
                      <a:pt x="705805" y="554111"/>
                    </a:cubicBezTo>
                    <a:cubicBezTo>
                      <a:pt x="718526" y="554651"/>
                      <a:pt x="731247" y="558969"/>
                      <a:pt x="743968" y="558969"/>
                    </a:cubicBezTo>
                    <a:cubicBezTo>
                      <a:pt x="755583" y="558969"/>
                      <a:pt x="753924" y="550333"/>
                      <a:pt x="758902" y="547634"/>
                    </a:cubicBezTo>
                    <a:cubicBezTo>
                      <a:pt x="764432" y="544396"/>
                      <a:pt x="792640" y="544936"/>
                      <a:pt x="795406" y="540618"/>
                    </a:cubicBezTo>
                    <a:cubicBezTo>
                      <a:pt x="797618" y="537919"/>
                      <a:pt x="793193" y="531982"/>
                      <a:pt x="790981" y="529824"/>
                    </a:cubicBezTo>
                    <a:cubicBezTo>
                      <a:pt x="787662" y="526585"/>
                      <a:pt x="782685" y="524966"/>
                      <a:pt x="779366" y="521728"/>
                    </a:cubicBezTo>
                    <a:cubicBezTo>
                      <a:pt x="776600" y="518489"/>
                      <a:pt x="775494" y="514172"/>
                      <a:pt x="772729" y="510933"/>
                    </a:cubicBezTo>
                    <a:cubicBezTo>
                      <a:pt x="769963" y="508235"/>
                      <a:pt x="761114" y="502298"/>
                      <a:pt x="757795" y="500139"/>
                    </a:cubicBezTo>
                    <a:cubicBezTo>
                      <a:pt x="746180" y="493662"/>
                      <a:pt x="701933" y="478010"/>
                      <a:pt x="700827" y="461279"/>
                    </a:cubicBezTo>
                    <a:cubicBezTo>
                      <a:pt x="700274" y="455881"/>
                      <a:pt x="703039" y="437531"/>
                      <a:pt x="704145" y="432134"/>
                    </a:cubicBezTo>
                    <a:cubicBezTo>
                      <a:pt x="705805" y="425117"/>
                      <a:pt x="710229" y="418641"/>
                      <a:pt x="712442" y="411624"/>
                    </a:cubicBezTo>
                    <a:cubicBezTo>
                      <a:pt x="715207" y="404068"/>
                      <a:pt x="715760" y="395432"/>
                      <a:pt x="719079" y="387876"/>
                    </a:cubicBezTo>
                    <a:cubicBezTo>
                      <a:pt x="721291" y="383019"/>
                      <a:pt x="725716" y="380320"/>
                      <a:pt x="728481" y="376002"/>
                    </a:cubicBezTo>
                    <a:cubicBezTo>
                      <a:pt x="733459" y="369526"/>
                      <a:pt x="740096" y="353874"/>
                      <a:pt x="742309" y="346318"/>
                    </a:cubicBezTo>
                    <a:cubicBezTo>
                      <a:pt x="743968" y="338222"/>
                      <a:pt x="745074" y="329047"/>
                      <a:pt x="745627" y="320951"/>
                    </a:cubicBezTo>
                    <a:cubicBezTo>
                      <a:pt x="746180" y="315014"/>
                      <a:pt x="744521" y="297743"/>
                      <a:pt x="745627" y="293425"/>
                    </a:cubicBezTo>
                    <a:cubicBezTo>
                      <a:pt x="746180" y="291806"/>
                      <a:pt x="750605" y="289647"/>
                      <a:pt x="752264" y="289107"/>
                    </a:cubicBezTo>
                    <a:cubicBezTo>
                      <a:pt x="764432" y="285869"/>
                      <a:pt x="762773" y="299901"/>
                      <a:pt x="772176" y="300981"/>
                    </a:cubicBezTo>
                    <a:lnTo>
                      <a:pt x="774388" y="299901"/>
                    </a:lnTo>
                    <a:cubicBezTo>
                      <a:pt x="775494" y="299362"/>
                      <a:pt x="779919" y="291266"/>
                      <a:pt x="782131" y="289647"/>
                    </a:cubicBezTo>
                    <a:cubicBezTo>
                      <a:pt x="792087" y="282091"/>
                      <a:pt x="810892" y="286408"/>
                      <a:pt x="821954" y="288567"/>
                    </a:cubicBezTo>
                    <a:cubicBezTo>
                      <a:pt x="823060" y="292885"/>
                      <a:pt x="817529" y="305838"/>
                      <a:pt x="815870" y="311236"/>
                    </a:cubicBezTo>
                    <a:cubicBezTo>
                      <a:pt x="815870" y="312855"/>
                      <a:pt x="818082" y="314474"/>
                      <a:pt x="819742" y="314474"/>
                    </a:cubicBezTo>
                    <a:cubicBezTo>
                      <a:pt x="820848" y="314474"/>
                      <a:pt x="821401" y="313934"/>
                      <a:pt x="821954" y="312855"/>
                    </a:cubicBezTo>
                    <a:cubicBezTo>
                      <a:pt x="824719" y="309077"/>
                      <a:pt x="825826" y="303140"/>
                      <a:pt x="828591" y="299362"/>
                    </a:cubicBezTo>
                    <a:cubicBezTo>
                      <a:pt x="830250" y="297743"/>
                      <a:pt x="835781" y="293965"/>
                      <a:pt x="837994" y="293425"/>
                    </a:cubicBezTo>
                    <a:cubicBezTo>
                      <a:pt x="842418" y="292345"/>
                      <a:pt x="850162" y="303140"/>
                      <a:pt x="854033" y="305838"/>
                    </a:cubicBezTo>
                    <a:cubicBezTo>
                      <a:pt x="856799" y="307458"/>
                      <a:pt x="862883" y="309616"/>
                      <a:pt x="866201" y="310156"/>
                    </a:cubicBezTo>
                    <a:lnTo>
                      <a:pt x="867861" y="309616"/>
                    </a:lnTo>
                    <a:lnTo>
                      <a:pt x="868414" y="305838"/>
                    </a:lnTo>
                    <a:cubicBezTo>
                      <a:pt x="862330" y="295044"/>
                      <a:pt x="849609" y="288028"/>
                      <a:pt x="844631" y="276693"/>
                    </a:cubicBezTo>
                    <a:cubicBezTo>
                      <a:pt x="838547" y="262661"/>
                      <a:pt x="836888" y="247009"/>
                      <a:pt x="830804" y="233515"/>
                    </a:cubicBezTo>
                    <a:cubicBezTo>
                      <a:pt x="827485" y="225959"/>
                      <a:pt x="820295" y="219483"/>
                      <a:pt x="815870" y="212466"/>
                    </a:cubicBezTo>
                    <a:cubicBezTo>
                      <a:pt x="813105" y="208688"/>
                      <a:pt x="811445" y="203291"/>
                      <a:pt x="808680" y="199513"/>
                    </a:cubicBezTo>
                    <a:cubicBezTo>
                      <a:pt x="808127" y="198433"/>
                      <a:pt x="807021" y="197354"/>
                      <a:pt x="805914" y="196814"/>
                    </a:cubicBezTo>
                    <a:cubicBezTo>
                      <a:pt x="795406" y="187099"/>
                      <a:pt x="785450" y="184401"/>
                      <a:pt x="772729" y="192497"/>
                    </a:cubicBezTo>
                    <a:cubicBezTo>
                      <a:pt x="766645" y="191957"/>
                      <a:pt x="759455" y="187099"/>
                      <a:pt x="756689" y="181162"/>
                    </a:cubicBezTo>
                    <a:cubicBezTo>
                      <a:pt x="754477" y="175765"/>
                      <a:pt x="754477" y="168209"/>
                      <a:pt x="752818" y="162272"/>
                    </a:cubicBezTo>
                    <a:cubicBezTo>
                      <a:pt x="752264" y="159573"/>
                      <a:pt x="750605" y="156335"/>
                      <a:pt x="750052" y="153636"/>
                    </a:cubicBezTo>
                    <a:cubicBezTo>
                      <a:pt x="747840" y="147160"/>
                      <a:pt x="747840" y="139604"/>
                      <a:pt x="745074" y="133127"/>
                    </a:cubicBezTo>
                    <a:cubicBezTo>
                      <a:pt x="742862" y="127730"/>
                      <a:pt x="731800" y="105601"/>
                      <a:pt x="728481" y="101823"/>
                    </a:cubicBezTo>
                    <a:cubicBezTo>
                      <a:pt x="727375" y="100204"/>
                      <a:pt x="722951" y="100204"/>
                      <a:pt x="721844" y="99124"/>
                    </a:cubicBezTo>
                    <a:cubicBezTo>
                      <a:pt x="720738" y="96965"/>
                      <a:pt x="720185" y="88870"/>
                      <a:pt x="718526" y="86171"/>
                    </a:cubicBezTo>
                    <a:cubicBezTo>
                      <a:pt x="717420" y="84012"/>
                      <a:pt x="712995" y="79155"/>
                      <a:pt x="711336" y="76996"/>
                    </a:cubicBezTo>
                    <a:cubicBezTo>
                      <a:pt x="710229" y="75916"/>
                      <a:pt x="708570" y="74297"/>
                      <a:pt x="707464" y="73757"/>
                    </a:cubicBezTo>
                    <a:cubicBezTo>
                      <a:pt x="696402" y="70519"/>
                      <a:pt x="683128" y="71598"/>
                      <a:pt x="671513" y="68900"/>
                    </a:cubicBezTo>
                    <a:cubicBezTo>
                      <a:pt x="667641" y="68360"/>
                      <a:pt x="663770" y="65662"/>
                      <a:pt x="659898" y="64042"/>
                    </a:cubicBezTo>
                    <a:cubicBezTo>
                      <a:pt x="657133" y="62423"/>
                      <a:pt x="653261" y="60804"/>
                      <a:pt x="650496" y="58645"/>
                    </a:cubicBezTo>
                    <a:lnTo>
                      <a:pt x="650496" y="55947"/>
                    </a:lnTo>
                    <a:cubicBezTo>
                      <a:pt x="651049" y="54867"/>
                      <a:pt x="652708" y="53788"/>
                      <a:pt x="653814" y="53248"/>
                    </a:cubicBezTo>
                    <a:cubicBezTo>
                      <a:pt x="659898" y="52708"/>
                      <a:pt x="670407" y="56486"/>
                      <a:pt x="677597" y="56486"/>
                    </a:cubicBezTo>
                    <a:cubicBezTo>
                      <a:pt x="689765" y="56486"/>
                      <a:pt x="702486" y="51629"/>
                      <a:pt x="712995" y="45692"/>
                    </a:cubicBezTo>
                    <a:cubicBezTo>
                      <a:pt x="725716" y="37596"/>
                      <a:pt x="738990" y="21944"/>
                      <a:pt x="755030" y="19785"/>
                    </a:cubicBezTo>
                    <a:cubicBezTo>
                      <a:pt x="758348" y="19245"/>
                      <a:pt x="768304" y="20325"/>
                      <a:pt x="771070" y="21404"/>
                    </a:cubicBezTo>
                    <a:cubicBezTo>
                      <a:pt x="775494" y="23563"/>
                      <a:pt x="775494" y="28421"/>
                      <a:pt x="781025" y="29500"/>
                    </a:cubicBezTo>
                    <a:cubicBezTo>
                      <a:pt x="789875" y="32199"/>
                      <a:pt x="800937" y="28960"/>
                      <a:pt x="809786" y="32199"/>
                    </a:cubicBezTo>
                    <a:cubicBezTo>
                      <a:pt x="816976" y="34358"/>
                      <a:pt x="833016" y="51089"/>
                      <a:pt x="834675" y="58645"/>
                    </a:cubicBezTo>
                    <a:cubicBezTo>
                      <a:pt x="836888" y="71598"/>
                      <a:pt x="802596" y="87250"/>
                      <a:pt x="794853" y="98585"/>
                    </a:cubicBezTo>
                    <a:cubicBezTo>
                      <a:pt x="790981" y="105061"/>
                      <a:pt x="798171" y="110998"/>
                      <a:pt x="798724" y="116396"/>
                    </a:cubicBezTo>
                    <a:cubicBezTo>
                      <a:pt x="798724" y="121253"/>
                      <a:pt x="793193" y="124491"/>
                      <a:pt x="792640" y="127730"/>
                    </a:cubicBezTo>
                    <a:cubicBezTo>
                      <a:pt x="790981" y="133667"/>
                      <a:pt x="794853" y="143921"/>
                      <a:pt x="799830" y="147699"/>
                    </a:cubicBezTo>
                    <a:cubicBezTo>
                      <a:pt x="808680" y="155795"/>
                      <a:pt x="814211" y="149858"/>
                      <a:pt x="823613" y="149858"/>
                    </a:cubicBezTo>
                    <a:cubicBezTo>
                      <a:pt x="828038" y="149858"/>
                      <a:pt x="840759" y="153636"/>
                      <a:pt x="845184" y="156335"/>
                    </a:cubicBezTo>
                    <a:cubicBezTo>
                      <a:pt x="855140" y="162272"/>
                      <a:pt x="862883" y="171447"/>
                      <a:pt x="876710" y="170908"/>
                    </a:cubicBezTo>
                    <a:cubicBezTo>
                      <a:pt x="879476" y="170908"/>
                      <a:pt x="887772" y="167130"/>
                      <a:pt x="889984" y="165510"/>
                    </a:cubicBezTo>
                    <a:cubicBezTo>
                      <a:pt x="892750" y="163891"/>
                      <a:pt x="893856" y="161732"/>
                      <a:pt x="896068" y="160113"/>
                    </a:cubicBezTo>
                    <a:cubicBezTo>
                      <a:pt x="902152" y="155795"/>
                      <a:pt x="909343" y="152557"/>
                      <a:pt x="915427" y="148239"/>
                    </a:cubicBezTo>
                    <a:cubicBezTo>
                      <a:pt x="918192" y="146620"/>
                      <a:pt x="920958" y="144461"/>
                      <a:pt x="923170" y="142302"/>
                    </a:cubicBezTo>
                    <a:cubicBezTo>
                      <a:pt x="925382" y="140143"/>
                      <a:pt x="933126" y="131508"/>
                      <a:pt x="934232" y="128809"/>
                    </a:cubicBezTo>
                    <a:cubicBezTo>
                      <a:pt x="940316" y="117475"/>
                      <a:pt x="922064" y="92108"/>
                      <a:pt x="917086" y="81314"/>
                    </a:cubicBezTo>
                    <a:cubicBezTo>
                      <a:pt x="915427" y="77535"/>
                      <a:pt x="915980" y="72678"/>
                      <a:pt x="913767" y="69440"/>
                    </a:cubicBezTo>
                    <a:cubicBezTo>
                      <a:pt x="910449" y="62963"/>
                      <a:pt x="903259" y="57566"/>
                      <a:pt x="900493" y="51089"/>
                    </a:cubicBezTo>
                    <a:cubicBezTo>
                      <a:pt x="899940" y="50010"/>
                      <a:pt x="899387" y="46771"/>
                      <a:pt x="900493" y="46231"/>
                    </a:cubicBezTo>
                    <a:cubicBezTo>
                      <a:pt x="901046" y="45152"/>
                      <a:pt x="905471" y="45152"/>
                      <a:pt x="906577" y="44073"/>
                    </a:cubicBezTo>
                    <a:cubicBezTo>
                      <a:pt x="908789" y="41914"/>
                      <a:pt x="912108" y="29500"/>
                      <a:pt x="915427" y="25182"/>
                    </a:cubicBezTo>
                    <a:cubicBezTo>
                      <a:pt x="917086" y="23023"/>
                      <a:pt x="923170" y="20325"/>
                      <a:pt x="926488" y="18166"/>
                    </a:cubicBezTo>
                    <a:lnTo>
                      <a:pt x="926488" y="16547"/>
                    </a:lnTo>
                    <a:lnTo>
                      <a:pt x="917639" y="7371"/>
                    </a:lnTo>
                    <a:cubicBezTo>
                      <a:pt x="914873" y="4673"/>
                      <a:pt x="909896" y="2514"/>
                      <a:pt x="906577" y="-185"/>
                    </a:cubicBezTo>
                    <a:lnTo>
                      <a:pt x="2831891" y="-185"/>
                    </a:lnTo>
                    <a:lnTo>
                      <a:pt x="2831891" y="244850"/>
                    </a:lnTo>
                    <a:lnTo>
                      <a:pt x="2809214" y="250787"/>
                    </a:lnTo>
                    <a:lnTo>
                      <a:pt x="2790409" y="260502"/>
                    </a:lnTo>
                    <a:lnTo>
                      <a:pt x="2779347" y="261581"/>
                    </a:lnTo>
                    <a:lnTo>
                      <a:pt x="2777688" y="279932"/>
                    </a:lnTo>
                    <a:lnTo>
                      <a:pt x="2779900" y="290186"/>
                    </a:lnTo>
                    <a:lnTo>
                      <a:pt x="2768285" y="324729"/>
                    </a:lnTo>
                    <a:lnTo>
                      <a:pt x="2772157" y="350635"/>
                    </a:lnTo>
                    <a:lnTo>
                      <a:pt x="2787090" y="370605"/>
                    </a:lnTo>
                    <a:lnTo>
                      <a:pt x="2779900" y="386257"/>
                    </a:lnTo>
                    <a:lnTo>
                      <a:pt x="2771050" y="393274"/>
                    </a:lnTo>
                    <a:lnTo>
                      <a:pt x="2731781" y="488805"/>
                    </a:lnTo>
                    <a:lnTo>
                      <a:pt x="2722931" y="498520"/>
                    </a:lnTo>
                    <a:lnTo>
                      <a:pt x="2709657" y="537919"/>
                    </a:lnTo>
                    <a:lnTo>
                      <a:pt x="2700808" y="554651"/>
                    </a:lnTo>
                    <a:lnTo>
                      <a:pt x="2697489" y="574081"/>
                    </a:lnTo>
                    <a:lnTo>
                      <a:pt x="2682556" y="585415"/>
                    </a:lnTo>
                    <a:cubicBezTo>
                      <a:pt x="2682003" y="598368"/>
                      <a:pt x="2664857" y="623735"/>
                      <a:pt x="2662091" y="638848"/>
                    </a:cubicBezTo>
                    <a:cubicBezTo>
                      <a:pt x="2659879" y="643165"/>
                      <a:pt x="2656560" y="647483"/>
                      <a:pt x="2654348" y="652341"/>
                    </a:cubicBezTo>
                    <a:cubicBezTo>
                      <a:pt x="2652136" y="657198"/>
                      <a:pt x="2652136" y="663135"/>
                      <a:pt x="2649370" y="667993"/>
                    </a:cubicBezTo>
                    <a:cubicBezTo>
                      <a:pt x="2643286" y="678787"/>
                      <a:pt x="2632777" y="686883"/>
                      <a:pt x="2626140" y="697678"/>
                    </a:cubicBezTo>
                    <a:cubicBezTo>
                      <a:pt x="2622269" y="703075"/>
                      <a:pt x="2621162" y="710091"/>
                      <a:pt x="2618397" y="715488"/>
                    </a:cubicBezTo>
                    <a:cubicBezTo>
                      <a:pt x="2616738" y="717647"/>
                      <a:pt x="2615078" y="719266"/>
                      <a:pt x="2613972" y="721425"/>
                    </a:cubicBezTo>
                    <a:cubicBezTo>
                      <a:pt x="2611207" y="725203"/>
                      <a:pt x="2604017" y="737617"/>
                      <a:pt x="2601251" y="739776"/>
                    </a:cubicBezTo>
                    <a:cubicBezTo>
                      <a:pt x="2596273" y="743554"/>
                      <a:pt x="2593508" y="748412"/>
                      <a:pt x="2588530" y="752729"/>
                    </a:cubicBezTo>
                    <a:cubicBezTo>
                      <a:pt x="2584658" y="756507"/>
                      <a:pt x="2579127" y="759746"/>
                      <a:pt x="2574703" y="763524"/>
                    </a:cubicBezTo>
                    <a:cubicBezTo>
                      <a:pt x="2571384" y="766762"/>
                      <a:pt x="2569172" y="771080"/>
                      <a:pt x="2565853" y="774858"/>
                    </a:cubicBezTo>
                    <a:cubicBezTo>
                      <a:pt x="2560322" y="780255"/>
                      <a:pt x="2551473" y="784573"/>
                      <a:pt x="2549261" y="792129"/>
                    </a:cubicBezTo>
                    <a:cubicBezTo>
                      <a:pt x="2547048" y="799146"/>
                      <a:pt x="2548154" y="809940"/>
                      <a:pt x="2544836" y="815877"/>
                    </a:cubicBezTo>
                    <a:lnTo>
                      <a:pt x="2543177" y="833688"/>
                    </a:lnTo>
                    <a:lnTo>
                      <a:pt x="2558663" y="850419"/>
                    </a:lnTo>
                    <a:lnTo>
                      <a:pt x="2573043" y="856356"/>
                    </a:lnTo>
                    <a:lnTo>
                      <a:pt x="2651583" y="843943"/>
                    </a:lnTo>
                    <a:lnTo>
                      <a:pt x="2654901" y="855277"/>
                    </a:lnTo>
                    <a:lnTo>
                      <a:pt x="2649923" y="868770"/>
                    </a:lnTo>
                    <a:lnTo>
                      <a:pt x="2643286" y="876326"/>
                    </a:lnTo>
                    <a:lnTo>
                      <a:pt x="2622269" y="888200"/>
                    </a:lnTo>
                    <a:lnTo>
                      <a:pt x="2607335" y="939474"/>
                    </a:lnTo>
                    <a:lnTo>
                      <a:pt x="2656007" y="962682"/>
                    </a:lnTo>
                    <a:lnTo>
                      <a:pt x="2647711" y="1007479"/>
                    </a:lnTo>
                    <a:lnTo>
                      <a:pt x="2648817" y="1037163"/>
                    </a:lnTo>
                    <a:lnTo>
                      <a:pt x="2657667" y="1035005"/>
                    </a:lnTo>
                    <a:lnTo>
                      <a:pt x="2679790" y="1040942"/>
                    </a:lnTo>
                    <a:lnTo>
                      <a:pt x="2691405" y="1035544"/>
                    </a:lnTo>
                    <a:lnTo>
                      <a:pt x="2728462" y="1036084"/>
                    </a:lnTo>
                    <a:lnTo>
                      <a:pt x="2743396" y="1028528"/>
                    </a:lnTo>
                    <a:lnTo>
                      <a:pt x="2784878" y="1027988"/>
                    </a:lnTo>
                    <a:lnTo>
                      <a:pt x="2797046" y="1045799"/>
                    </a:lnTo>
                    <a:lnTo>
                      <a:pt x="2803683" y="1104089"/>
                    </a:lnTo>
                    <a:lnTo>
                      <a:pt x="2794833" y="1122440"/>
                    </a:lnTo>
                    <a:lnTo>
                      <a:pt x="2754458" y="1159141"/>
                    </a:lnTo>
                    <a:lnTo>
                      <a:pt x="2745608" y="1163459"/>
                    </a:lnTo>
                    <a:lnTo>
                      <a:pt x="2736759" y="1203938"/>
                    </a:lnTo>
                    <a:lnTo>
                      <a:pt x="2705232" y="1212034"/>
                    </a:lnTo>
                    <a:lnTo>
                      <a:pt x="2646605" y="1226067"/>
                    </a:lnTo>
                    <a:lnTo>
                      <a:pt x="2628906" y="1214732"/>
                    </a:lnTo>
                    <a:lnTo>
                      <a:pt x="2582999" y="1232004"/>
                    </a:lnTo>
                    <a:lnTo>
                      <a:pt x="2582999" y="1241179"/>
                    </a:lnTo>
                    <a:lnTo>
                      <a:pt x="2592955" y="1260069"/>
                    </a:lnTo>
                    <a:lnTo>
                      <a:pt x="2592402" y="1273023"/>
                    </a:lnTo>
                    <a:lnTo>
                      <a:pt x="2577468" y="1281118"/>
                    </a:lnTo>
                    <a:lnTo>
                      <a:pt x="2557004" y="1277340"/>
                    </a:lnTo>
                    <a:lnTo>
                      <a:pt x="2533221" y="1313502"/>
                    </a:lnTo>
                    <a:lnTo>
                      <a:pt x="2523818" y="1318899"/>
                    </a:lnTo>
                    <a:lnTo>
                      <a:pt x="2507779" y="1389603"/>
                    </a:lnTo>
                    <a:lnTo>
                      <a:pt x="2498376" y="1397699"/>
                    </a:lnTo>
                    <a:lnTo>
                      <a:pt x="2478465" y="1395540"/>
                    </a:lnTo>
                    <a:lnTo>
                      <a:pt x="2433111" y="1408493"/>
                    </a:lnTo>
                    <a:lnTo>
                      <a:pt x="2456341" y="1460846"/>
                    </a:lnTo>
                    <a:lnTo>
                      <a:pt x="2451363" y="1463005"/>
                    </a:lnTo>
                    <a:lnTo>
                      <a:pt x="2433664" y="1458148"/>
                    </a:lnTo>
                    <a:lnTo>
                      <a:pt x="2424262" y="1449512"/>
                    </a:lnTo>
                    <a:lnTo>
                      <a:pt x="2416518" y="1431701"/>
                    </a:lnTo>
                    <a:lnTo>
                      <a:pt x="2369506" y="1419827"/>
                    </a:lnTo>
                    <a:lnTo>
                      <a:pt x="2315856" y="1420367"/>
                    </a:lnTo>
                    <a:lnTo>
                      <a:pt x="2311431" y="1417668"/>
                    </a:lnTo>
                    <a:lnTo>
                      <a:pt x="2309219" y="1410112"/>
                    </a:lnTo>
                    <a:lnTo>
                      <a:pt x="2251697" y="1439797"/>
                    </a:lnTo>
                    <a:lnTo>
                      <a:pt x="2240635" y="1436019"/>
                    </a:lnTo>
                    <a:lnTo>
                      <a:pt x="2232892" y="1426844"/>
                    </a:lnTo>
                    <a:lnTo>
                      <a:pt x="2204131" y="1457608"/>
                    </a:lnTo>
                    <a:lnTo>
                      <a:pt x="2198600" y="1474879"/>
                    </a:lnTo>
                    <a:lnTo>
                      <a:pt x="2186985" y="1487832"/>
                    </a:lnTo>
                    <a:lnTo>
                      <a:pt x="2174264" y="1491611"/>
                    </a:lnTo>
                    <a:lnTo>
                      <a:pt x="2167627" y="1486213"/>
                    </a:lnTo>
                    <a:lnTo>
                      <a:pt x="2149375" y="1498087"/>
                    </a:lnTo>
                    <a:lnTo>
                      <a:pt x="2127804" y="1499706"/>
                    </a:lnTo>
                    <a:lnTo>
                      <a:pt x="2128911" y="1525613"/>
                    </a:lnTo>
                    <a:lnTo>
                      <a:pt x="2123380" y="1541265"/>
                    </a:lnTo>
                    <a:lnTo>
                      <a:pt x="2130570" y="1583364"/>
                    </a:lnTo>
                    <a:lnTo>
                      <a:pt x="2113977" y="1625462"/>
                    </a:lnTo>
                    <a:lnTo>
                      <a:pt x="2103468" y="1697785"/>
                    </a:lnTo>
                    <a:lnTo>
                      <a:pt x="2095725" y="1709119"/>
                    </a:lnTo>
                    <a:lnTo>
                      <a:pt x="2094066" y="1715596"/>
                    </a:lnTo>
                    <a:lnTo>
                      <a:pt x="2136101" y="1778204"/>
                    </a:lnTo>
                    <a:lnTo>
                      <a:pt x="2136101" y="1784680"/>
                    </a:lnTo>
                    <a:lnTo>
                      <a:pt x="2130017" y="1794395"/>
                    </a:lnTo>
                    <a:lnTo>
                      <a:pt x="2115083" y="1803571"/>
                    </a:lnTo>
                    <a:lnTo>
                      <a:pt x="2026588" y="1774965"/>
                    </a:lnTo>
                    <a:lnTo>
                      <a:pt x="2025482" y="1804110"/>
                    </a:lnTo>
                    <a:lnTo>
                      <a:pt x="2030460" y="1827318"/>
                    </a:lnTo>
                    <a:lnTo>
                      <a:pt x="2027695" y="1861321"/>
                    </a:lnTo>
                    <a:lnTo>
                      <a:pt x="2035991" y="1888847"/>
                    </a:lnTo>
                    <a:lnTo>
                      <a:pt x="2054243" y="1934184"/>
                    </a:lnTo>
                    <a:lnTo>
                      <a:pt x="2060880" y="1937962"/>
                    </a:lnTo>
                    <a:lnTo>
                      <a:pt x="2066964" y="1941740"/>
                    </a:lnTo>
                    <a:lnTo>
                      <a:pt x="2059221" y="1967107"/>
                    </a:lnTo>
                    <a:lnTo>
                      <a:pt x="2082451" y="2025397"/>
                    </a:lnTo>
                    <a:lnTo>
                      <a:pt x="2121167" y="2020000"/>
                    </a:lnTo>
                    <a:lnTo>
                      <a:pt x="2128911" y="2022159"/>
                    </a:lnTo>
                    <a:lnTo>
                      <a:pt x="2151587" y="2055621"/>
                    </a:lnTo>
                    <a:lnTo>
                      <a:pt x="2168180" y="2051304"/>
                    </a:lnTo>
                    <a:lnTo>
                      <a:pt x="2170946" y="2041049"/>
                    </a:lnTo>
                    <a:lnTo>
                      <a:pt x="2181454" y="2027016"/>
                    </a:lnTo>
                    <a:lnTo>
                      <a:pt x="2210215" y="2009745"/>
                    </a:lnTo>
                    <a:lnTo>
                      <a:pt x="2218511" y="2008126"/>
                    </a:lnTo>
                    <a:lnTo>
                      <a:pt x="2278245" y="2050764"/>
                    </a:lnTo>
                    <a:lnTo>
                      <a:pt x="2325258" y="2103657"/>
                    </a:lnTo>
                    <a:lnTo>
                      <a:pt x="2300369" y="2112832"/>
                    </a:lnTo>
                    <a:lnTo>
                      <a:pt x="2307559" y="2123627"/>
                    </a:lnTo>
                    <a:cubicBezTo>
                      <a:pt x="2314749" y="2119849"/>
                      <a:pt x="2315303" y="2118769"/>
                      <a:pt x="2323046" y="2114991"/>
                    </a:cubicBezTo>
                    <a:cubicBezTo>
                      <a:pt x="2325258" y="2113372"/>
                      <a:pt x="2329683" y="2112832"/>
                      <a:pt x="2332448" y="2111753"/>
                    </a:cubicBezTo>
                    <a:cubicBezTo>
                      <a:pt x="2336320" y="2110134"/>
                      <a:pt x="2342957" y="2106355"/>
                      <a:pt x="2347382" y="2105276"/>
                    </a:cubicBezTo>
                    <a:cubicBezTo>
                      <a:pt x="2356231" y="2103657"/>
                      <a:pt x="2372271" y="2103657"/>
                      <a:pt x="2381674" y="2103117"/>
                    </a:cubicBezTo>
                    <a:cubicBezTo>
                      <a:pt x="2382227" y="2104197"/>
                      <a:pt x="2382780" y="2105816"/>
                      <a:pt x="2382780" y="2107435"/>
                    </a:cubicBezTo>
                    <a:cubicBezTo>
                      <a:pt x="2382227" y="2110673"/>
                      <a:pt x="2378908" y="2118229"/>
                      <a:pt x="2380014" y="2121468"/>
                    </a:cubicBezTo>
                    <a:cubicBezTo>
                      <a:pt x="2380567" y="2123627"/>
                      <a:pt x="2387205" y="2125785"/>
                      <a:pt x="2388864" y="2127405"/>
                    </a:cubicBezTo>
                    <a:lnTo>
                      <a:pt x="2388864" y="2129024"/>
                    </a:lnTo>
                    <a:cubicBezTo>
                      <a:pt x="2378908" y="2134421"/>
                      <a:pt x="2376143" y="2131722"/>
                      <a:pt x="2384439" y="2144136"/>
                    </a:cubicBezTo>
                    <a:cubicBezTo>
                      <a:pt x="2384439" y="2145216"/>
                      <a:pt x="2384439" y="2146835"/>
                      <a:pt x="2383886" y="2147914"/>
                    </a:cubicBezTo>
                    <a:cubicBezTo>
                      <a:pt x="2383333" y="2149533"/>
                      <a:pt x="2377802" y="2152772"/>
                      <a:pt x="2376143" y="2154391"/>
                    </a:cubicBezTo>
                    <a:cubicBezTo>
                      <a:pt x="2372824" y="2158169"/>
                      <a:pt x="2371165" y="2164646"/>
                      <a:pt x="2367846" y="2167884"/>
                    </a:cubicBezTo>
                    <a:cubicBezTo>
                      <a:pt x="2365081" y="2170583"/>
                      <a:pt x="2361209" y="2170043"/>
                      <a:pt x="2358444" y="2171122"/>
                    </a:cubicBezTo>
                    <a:cubicBezTo>
                      <a:pt x="2357891" y="2172741"/>
                      <a:pt x="2357338" y="2173821"/>
                      <a:pt x="2357338" y="2175440"/>
                    </a:cubicBezTo>
                    <a:lnTo>
                      <a:pt x="2358997" y="2178139"/>
                    </a:lnTo>
                    <a:cubicBezTo>
                      <a:pt x="2366740" y="2181917"/>
                      <a:pt x="2379461" y="2182996"/>
                      <a:pt x="2381674" y="2193251"/>
                    </a:cubicBezTo>
                    <a:lnTo>
                      <a:pt x="2379461" y="2194870"/>
                    </a:lnTo>
                    <a:cubicBezTo>
                      <a:pt x="2371718" y="2194330"/>
                      <a:pt x="2367293" y="2189473"/>
                      <a:pt x="2360656" y="2194330"/>
                    </a:cubicBezTo>
                    <a:cubicBezTo>
                      <a:pt x="2358444" y="2199728"/>
                      <a:pt x="2350700" y="2232111"/>
                      <a:pt x="2350700" y="2232651"/>
                    </a:cubicBezTo>
                    <a:cubicBezTo>
                      <a:pt x="2345723" y="2238048"/>
                      <a:pt x="2333555" y="2246144"/>
                      <a:pt x="2331895" y="2252081"/>
                    </a:cubicBezTo>
                    <a:cubicBezTo>
                      <a:pt x="2331342" y="2253160"/>
                      <a:pt x="2332448" y="2257478"/>
                      <a:pt x="2332448" y="2259097"/>
                    </a:cubicBezTo>
                    <a:lnTo>
                      <a:pt x="2330789" y="2261256"/>
                    </a:lnTo>
                    <a:cubicBezTo>
                      <a:pt x="2325811" y="2261256"/>
                      <a:pt x="2320280" y="2259097"/>
                      <a:pt x="2315303" y="2259097"/>
                    </a:cubicBezTo>
                    <a:lnTo>
                      <a:pt x="2313090" y="2260716"/>
                    </a:lnTo>
                    <a:lnTo>
                      <a:pt x="2312537" y="2263415"/>
                    </a:lnTo>
                    <a:cubicBezTo>
                      <a:pt x="2314196" y="2266653"/>
                      <a:pt x="2316962" y="2269352"/>
                      <a:pt x="2318621" y="2272590"/>
                    </a:cubicBezTo>
                    <a:cubicBezTo>
                      <a:pt x="2322493" y="2281766"/>
                      <a:pt x="2319727" y="2292560"/>
                      <a:pt x="2320280" y="2302275"/>
                    </a:cubicBezTo>
                    <a:cubicBezTo>
                      <a:pt x="2321387" y="2327102"/>
                      <a:pt x="2323599" y="2351930"/>
                      <a:pt x="2322493" y="2376757"/>
                    </a:cubicBezTo>
                    <a:cubicBezTo>
                      <a:pt x="2322493" y="2384313"/>
                      <a:pt x="2320280" y="2379995"/>
                      <a:pt x="2318068" y="2382694"/>
                    </a:cubicBezTo>
                    <a:cubicBezTo>
                      <a:pt x="2316962" y="2384853"/>
                      <a:pt x="2310878" y="2408600"/>
                      <a:pt x="2310325" y="2412379"/>
                    </a:cubicBezTo>
                    <a:cubicBezTo>
                      <a:pt x="2308112" y="2421554"/>
                      <a:pt x="2309772" y="2432888"/>
                      <a:pt x="2318621" y="2438285"/>
                    </a:cubicBezTo>
                    <a:cubicBezTo>
                      <a:pt x="2319174" y="2438825"/>
                      <a:pt x="2325811" y="2439904"/>
                      <a:pt x="2326918" y="2440444"/>
                    </a:cubicBezTo>
                    <a:cubicBezTo>
                      <a:pt x="2330789" y="2440984"/>
                      <a:pt x="2334661" y="2437206"/>
                      <a:pt x="2338532" y="2436666"/>
                    </a:cubicBezTo>
                    <a:cubicBezTo>
                      <a:pt x="2356784" y="2433428"/>
                      <a:pt x="2358444" y="2448000"/>
                      <a:pt x="2365081" y="2445841"/>
                    </a:cubicBezTo>
                    <a:cubicBezTo>
                      <a:pt x="2366740" y="2445302"/>
                      <a:pt x="2370059" y="2440984"/>
                      <a:pt x="2372271" y="2439365"/>
                    </a:cubicBezTo>
                    <a:lnTo>
                      <a:pt x="2375590" y="2439904"/>
                    </a:lnTo>
                    <a:cubicBezTo>
                      <a:pt x="2380014" y="2444762"/>
                      <a:pt x="2383886" y="2451239"/>
                      <a:pt x="2388311" y="2456096"/>
                    </a:cubicBezTo>
                    <a:cubicBezTo>
                      <a:pt x="2394948" y="2463113"/>
                      <a:pt x="2404903" y="2469049"/>
                      <a:pt x="2408775" y="2477685"/>
                    </a:cubicBezTo>
                    <a:cubicBezTo>
                      <a:pt x="2410988" y="2482543"/>
                      <a:pt x="2409328" y="2490638"/>
                      <a:pt x="2408775" y="2495496"/>
                    </a:cubicBezTo>
                    <a:cubicBezTo>
                      <a:pt x="2409328" y="2497655"/>
                      <a:pt x="2410988" y="2501973"/>
                      <a:pt x="2412647" y="2503592"/>
                    </a:cubicBezTo>
                    <a:cubicBezTo>
                      <a:pt x="2413753" y="2504671"/>
                      <a:pt x="2418731" y="2508449"/>
                      <a:pt x="2420390" y="2507910"/>
                    </a:cubicBezTo>
                    <a:cubicBezTo>
                      <a:pt x="2421496" y="2507370"/>
                      <a:pt x="2420390" y="2500893"/>
                      <a:pt x="2420390" y="2499814"/>
                    </a:cubicBezTo>
                    <a:cubicBezTo>
                      <a:pt x="2418731" y="2490099"/>
                      <a:pt x="2410988" y="2464192"/>
                      <a:pt x="2414859" y="2456096"/>
                    </a:cubicBezTo>
                    <a:lnTo>
                      <a:pt x="2418178" y="2456096"/>
                    </a:lnTo>
                    <a:cubicBezTo>
                      <a:pt x="2419837" y="2457176"/>
                      <a:pt x="2423156" y="2460954"/>
                      <a:pt x="2423709" y="2463113"/>
                    </a:cubicBezTo>
                    <a:cubicBezTo>
                      <a:pt x="2426474" y="2470669"/>
                      <a:pt x="2425368" y="2487400"/>
                      <a:pt x="2427027" y="2496575"/>
                    </a:cubicBezTo>
                    <a:cubicBezTo>
                      <a:pt x="2427027" y="2499274"/>
                      <a:pt x="2433664" y="2517625"/>
                      <a:pt x="2434770" y="2519244"/>
                    </a:cubicBezTo>
                    <a:cubicBezTo>
                      <a:pt x="2436430" y="2522482"/>
                      <a:pt x="2441408" y="2525181"/>
                      <a:pt x="2443067" y="2527879"/>
                    </a:cubicBezTo>
                    <a:cubicBezTo>
                      <a:pt x="2446938" y="2535435"/>
                      <a:pt x="2446938" y="2545150"/>
                      <a:pt x="2450257" y="2552707"/>
                    </a:cubicBezTo>
                    <a:cubicBezTo>
                      <a:pt x="2455235" y="2562961"/>
                      <a:pt x="2467403" y="2561882"/>
                      <a:pt x="2475699" y="2566200"/>
                    </a:cubicBezTo>
                    <a:cubicBezTo>
                      <a:pt x="2483443" y="2569978"/>
                      <a:pt x="2482336" y="2577534"/>
                      <a:pt x="2485655" y="2580232"/>
                    </a:cubicBezTo>
                    <a:cubicBezTo>
                      <a:pt x="2491739" y="2585630"/>
                      <a:pt x="2503907" y="2584550"/>
                      <a:pt x="2508332" y="2586709"/>
                    </a:cubicBezTo>
                    <a:cubicBezTo>
                      <a:pt x="2513310" y="2589408"/>
                      <a:pt x="2516628" y="2595345"/>
                      <a:pt x="2521606" y="2598043"/>
                    </a:cubicBezTo>
                    <a:cubicBezTo>
                      <a:pt x="2526584" y="2601282"/>
                      <a:pt x="2540411" y="2601282"/>
                      <a:pt x="2546495" y="2604520"/>
                    </a:cubicBezTo>
                    <a:cubicBezTo>
                      <a:pt x="2555898" y="2610457"/>
                      <a:pt x="2562535" y="2623950"/>
                      <a:pt x="2572490" y="2628268"/>
                    </a:cubicBezTo>
                    <a:cubicBezTo>
                      <a:pt x="2573597" y="2628808"/>
                      <a:pt x="2585765" y="2631506"/>
                      <a:pt x="2587424" y="2631506"/>
                    </a:cubicBezTo>
                    <a:cubicBezTo>
                      <a:pt x="2591849" y="2631506"/>
                      <a:pt x="2595167" y="2629347"/>
                      <a:pt x="2599592" y="2629887"/>
                    </a:cubicBezTo>
                    <a:lnTo>
                      <a:pt x="2599592" y="2671446"/>
                    </a:lnTo>
                    <a:lnTo>
                      <a:pt x="2581340" y="2702750"/>
                    </a:lnTo>
                    <a:lnTo>
                      <a:pt x="2573597" y="2738371"/>
                    </a:lnTo>
                    <a:lnTo>
                      <a:pt x="2552579" y="2747007"/>
                    </a:lnTo>
                    <a:lnTo>
                      <a:pt x="2528796" y="2748086"/>
                    </a:lnTo>
                    <a:lnTo>
                      <a:pt x="2518840" y="2737832"/>
                    </a:lnTo>
                    <a:lnTo>
                      <a:pt x="2507779" y="2733514"/>
                    </a:lnTo>
                    <a:lnTo>
                      <a:pt x="2495611" y="2737832"/>
                    </a:lnTo>
                    <a:lnTo>
                      <a:pt x="2455235" y="2731355"/>
                    </a:lnTo>
                    <a:lnTo>
                      <a:pt x="2423709" y="2742149"/>
                    </a:lnTo>
                    <a:lnTo>
                      <a:pt x="2349041" y="2720021"/>
                    </a:lnTo>
                    <a:lnTo>
                      <a:pt x="2354019" y="2713004"/>
                    </a:lnTo>
                    <a:lnTo>
                      <a:pt x="2347382" y="2705988"/>
                    </a:lnTo>
                    <a:lnTo>
                      <a:pt x="2334108" y="2700051"/>
                    </a:lnTo>
                    <a:lnTo>
                      <a:pt x="2325811" y="2713544"/>
                    </a:lnTo>
                    <a:lnTo>
                      <a:pt x="2307006" y="2716243"/>
                    </a:lnTo>
                    <a:lnTo>
                      <a:pt x="2300922" y="2708147"/>
                    </a:lnTo>
                    <a:lnTo>
                      <a:pt x="2293179" y="2705988"/>
                    </a:lnTo>
                    <a:lnTo>
                      <a:pt x="2277692" y="2718941"/>
                    </a:lnTo>
                    <a:lnTo>
                      <a:pt x="2257781" y="2722719"/>
                    </a:lnTo>
                    <a:lnTo>
                      <a:pt x="2238423" y="2737832"/>
                    </a:lnTo>
                    <a:lnTo>
                      <a:pt x="2224042" y="2763199"/>
                    </a:lnTo>
                    <a:lnTo>
                      <a:pt x="2193069" y="2770755"/>
                    </a:lnTo>
                    <a:lnTo>
                      <a:pt x="2188091" y="2753484"/>
                    </a:lnTo>
                    <a:lnTo>
                      <a:pt x="2122827" y="2755103"/>
                    </a:lnTo>
                    <a:lnTo>
                      <a:pt x="2118402" y="2749706"/>
                    </a:lnTo>
                    <a:lnTo>
                      <a:pt x="2096831" y="2750245"/>
                    </a:lnTo>
                    <a:lnTo>
                      <a:pt x="2079132" y="2759421"/>
                    </a:lnTo>
                    <a:lnTo>
                      <a:pt x="1944178" y="2795042"/>
                    </a:lnTo>
                    <a:lnTo>
                      <a:pt x="1883891" y="2804757"/>
                    </a:lnTo>
                    <a:lnTo>
                      <a:pt x="1871723" y="2818790"/>
                    </a:lnTo>
                    <a:lnTo>
                      <a:pt x="1880572" y="2836601"/>
                    </a:lnTo>
                    <a:cubicBezTo>
                      <a:pt x="1877254" y="2836601"/>
                      <a:pt x="1861767" y="2836061"/>
                      <a:pt x="1860108" y="2834982"/>
                    </a:cubicBezTo>
                    <a:cubicBezTo>
                      <a:pt x="1857342" y="2833902"/>
                      <a:pt x="1856236" y="2827426"/>
                      <a:pt x="1854024" y="2826346"/>
                    </a:cubicBezTo>
                    <a:cubicBezTo>
                      <a:pt x="1848493" y="2823648"/>
                      <a:pt x="1835772" y="2825267"/>
                      <a:pt x="1828582" y="2822568"/>
                    </a:cubicBezTo>
                    <a:cubicBezTo>
                      <a:pt x="1819179" y="2818790"/>
                      <a:pt x="1813095" y="2810694"/>
                      <a:pt x="1803692" y="2806916"/>
                    </a:cubicBezTo>
                    <a:cubicBezTo>
                      <a:pt x="1785993" y="2798281"/>
                      <a:pt x="1753361" y="2785867"/>
                      <a:pt x="1734556" y="2780470"/>
                    </a:cubicBezTo>
                    <a:cubicBezTo>
                      <a:pt x="1730684" y="2779930"/>
                      <a:pt x="1720729" y="2780470"/>
                      <a:pt x="1716304" y="2781010"/>
                    </a:cubicBezTo>
                    <a:cubicBezTo>
                      <a:pt x="1708007" y="2782089"/>
                      <a:pt x="1698605" y="2789105"/>
                      <a:pt x="1692521" y="2789645"/>
                    </a:cubicBezTo>
                    <a:cubicBezTo>
                      <a:pt x="1689202" y="2790185"/>
                      <a:pt x="1679800" y="2788026"/>
                      <a:pt x="1676481" y="2785867"/>
                    </a:cubicBezTo>
                    <a:cubicBezTo>
                      <a:pt x="1670397" y="2782629"/>
                      <a:pt x="1658782" y="2768056"/>
                      <a:pt x="1652145" y="2768056"/>
                    </a:cubicBezTo>
                    <a:cubicBezTo>
                      <a:pt x="1646614" y="2768056"/>
                      <a:pt x="1643849" y="2776152"/>
                      <a:pt x="1637765" y="2777231"/>
                    </a:cubicBezTo>
                    <a:cubicBezTo>
                      <a:pt x="1634999" y="2777771"/>
                      <a:pt x="1632787" y="2780470"/>
                      <a:pt x="1628915" y="2781010"/>
                    </a:cubicBezTo>
                    <a:cubicBezTo>
                      <a:pt x="1626150" y="2781010"/>
                      <a:pt x="1616194" y="2778851"/>
                      <a:pt x="1613429" y="2777231"/>
                    </a:cubicBezTo>
                    <a:cubicBezTo>
                      <a:pt x="1601814" y="2770755"/>
                      <a:pt x="1601261" y="2757801"/>
                      <a:pt x="1584115" y="2752944"/>
                    </a:cubicBezTo>
                    <a:cubicBezTo>
                      <a:pt x="1566416" y="2748086"/>
                      <a:pt x="1546505" y="2760500"/>
                      <a:pt x="1537102" y="2755643"/>
                    </a:cubicBezTo>
                    <a:cubicBezTo>
                      <a:pt x="1527699" y="2750785"/>
                      <a:pt x="1554248" y="2738911"/>
                      <a:pt x="1553142" y="2729196"/>
                    </a:cubicBezTo>
                    <a:cubicBezTo>
                      <a:pt x="1553142" y="2728117"/>
                      <a:pt x="1552589" y="2727577"/>
                      <a:pt x="1552036" y="2727037"/>
                    </a:cubicBezTo>
                    <a:cubicBezTo>
                      <a:pt x="1550929" y="2726498"/>
                      <a:pt x="1534890" y="2731895"/>
                      <a:pt x="1531018" y="2731355"/>
                    </a:cubicBezTo>
                    <a:cubicBezTo>
                      <a:pt x="1537102" y="2726498"/>
                      <a:pt x="1538761" y="2717322"/>
                      <a:pt x="1548164" y="2716782"/>
                    </a:cubicBezTo>
                    <a:cubicBezTo>
                      <a:pt x="1554801" y="2716243"/>
                      <a:pt x="1560885" y="2720561"/>
                      <a:pt x="1568075" y="2720021"/>
                    </a:cubicBezTo>
                    <a:cubicBezTo>
                      <a:pt x="1569181" y="2720021"/>
                      <a:pt x="1585221" y="2712465"/>
                      <a:pt x="1586327" y="2711385"/>
                    </a:cubicBezTo>
                    <a:cubicBezTo>
                      <a:pt x="1588540" y="2709766"/>
                      <a:pt x="1592964" y="2704909"/>
                      <a:pt x="1594071" y="2702750"/>
                    </a:cubicBezTo>
                    <a:cubicBezTo>
                      <a:pt x="1594624" y="2700591"/>
                      <a:pt x="1595730" y="2690336"/>
                      <a:pt x="1594624" y="2688177"/>
                    </a:cubicBezTo>
                    <a:cubicBezTo>
                      <a:pt x="1594071" y="2686018"/>
                      <a:pt x="1592411" y="2684939"/>
                      <a:pt x="1591305" y="2682780"/>
                    </a:cubicBezTo>
                    <a:cubicBezTo>
                      <a:pt x="1590752" y="2681161"/>
                      <a:pt x="1590199" y="2673605"/>
                      <a:pt x="1590199" y="2671446"/>
                    </a:cubicBezTo>
                    <a:cubicBezTo>
                      <a:pt x="1590752" y="2662270"/>
                      <a:pt x="1597942" y="2655254"/>
                      <a:pt x="1599048" y="2646079"/>
                    </a:cubicBezTo>
                    <a:cubicBezTo>
                      <a:pt x="1599601" y="2637443"/>
                      <a:pt x="1597389" y="2629347"/>
                      <a:pt x="1597942" y="2621251"/>
                    </a:cubicBezTo>
                    <a:cubicBezTo>
                      <a:pt x="1598495" y="2618553"/>
                      <a:pt x="1599601" y="2610457"/>
                      <a:pt x="1603473" y="2609917"/>
                    </a:cubicBezTo>
                    <a:cubicBezTo>
                      <a:pt x="1606239" y="2609917"/>
                      <a:pt x="1606792" y="2615854"/>
                      <a:pt x="1607898" y="2617473"/>
                    </a:cubicBezTo>
                    <a:lnTo>
                      <a:pt x="1609557" y="2618013"/>
                    </a:lnTo>
                    <a:cubicBezTo>
                      <a:pt x="1615088" y="2615854"/>
                      <a:pt x="1609004" y="2607758"/>
                      <a:pt x="1608451" y="2607219"/>
                    </a:cubicBezTo>
                    <a:cubicBezTo>
                      <a:pt x="1607345" y="2603441"/>
                      <a:pt x="1611769" y="2594805"/>
                      <a:pt x="1615641" y="2593726"/>
                    </a:cubicBezTo>
                    <a:cubicBezTo>
                      <a:pt x="1622831" y="2592106"/>
                      <a:pt x="1630575" y="2596424"/>
                      <a:pt x="1637212" y="2595345"/>
                    </a:cubicBezTo>
                    <a:cubicBezTo>
                      <a:pt x="1641083" y="2594265"/>
                      <a:pt x="1646614" y="2588868"/>
                      <a:pt x="1642190" y="2585090"/>
                    </a:cubicBezTo>
                    <a:cubicBezTo>
                      <a:pt x="1634999" y="2579153"/>
                      <a:pt x="1625044" y="2581852"/>
                      <a:pt x="1617300" y="2579153"/>
                    </a:cubicBezTo>
                    <a:cubicBezTo>
                      <a:pt x="1613429" y="2578074"/>
                      <a:pt x="1610663" y="2574835"/>
                      <a:pt x="1606792" y="2573216"/>
                    </a:cubicBezTo>
                    <a:cubicBezTo>
                      <a:pt x="1604026" y="2572676"/>
                      <a:pt x="1592964" y="2569978"/>
                      <a:pt x="1590752" y="2570517"/>
                    </a:cubicBezTo>
                    <a:cubicBezTo>
                      <a:pt x="1588540" y="2571057"/>
                      <a:pt x="1585774" y="2574835"/>
                      <a:pt x="1584115" y="2575375"/>
                    </a:cubicBezTo>
                    <a:cubicBezTo>
                      <a:pt x="1581903" y="2575915"/>
                      <a:pt x="1575265" y="2572676"/>
                      <a:pt x="1574159" y="2571057"/>
                    </a:cubicBezTo>
                    <a:cubicBezTo>
                      <a:pt x="1570841" y="2567819"/>
                      <a:pt x="1569181" y="2564041"/>
                      <a:pt x="1566969" y="2560802"/>
                    </a:cubicBezTo>
                    <a:cubicBezTo>
                      <a:pt x="1565863" y="2559723"/>
                      <a:pt x="1559779" y="2553786"/>
                      <a:pt x="1559779" y="2553246"/>
                    </a:cubicBezTo>
                    <a:cubicBezTo>
                      <a:pt x="1559226" y="2550008"/>
                      <a:pt x="1562544" y="2551087"/>
                      <a:pt x="1564204" y="2551087"/>
                    </a:cubicBezTo>
                    <a:cubicBezTo>
                      <a:pt x="1566416" y="2550008"/>
                      <a:pt x="1572500" y="2549468"/>
                      <a:pt x="1576372" y="2545150"/>
                    </a:cubicBezTo>
                    <a:cubicBezTo>
                      <a:pt x="1581349" y="2539753"/>
                      <a:pt x="1584115" y="2527879"/>
                      <a:pt x="1591305" y="2525181"/>
                    </a:cubicBezTo>
                    <a:cubicBezTo>
                      <a:pt x="1592411" y="2525181"/>
                      <a:pt x="1595177" y="2524641"/>
                      <a:pt x="1595730" y="2525181"/>
                    </a:cubicBezTo>
                    <a:cubicBezTo>
                      <a:pt x="1596836" y="2525720"/>
                      <a:pt x="1596836" y="2527340"/>
                      <a:pt x="1597942" y="2528419"/>
                    </a:cubicBezTo>
                    <a:cubicBezTo>
                      <a:pt x="1601814" y="2531657"/>
                      <a:pt x="1610110" y="2527340"/>
                      <a:pt x="1613429" y="2524101"/>
                    </a:cubicBezTo>
                    <a:cubicBezTo>
                      <a:pt x="1613982" y="2523022"/>
                      <a:pt x="1615088" y="2520863"/>
                      <a:pt x="1615088" y="2519244"/>
                    </a:cubicBezTo>
                    <a:cubicBezTo>
                      <a:pt x="1617300" y="2510608"/>
                      <a:pt x="1596283" y="2520863"/>
                      <a:pt x="1597942" y="2511688"/>
                    </a:cubicBezTo>
                    <a:cubicBezTo>
                      <a:pt x="1600708" y="2497115"/>
                      <a:pt x="1608451" y="2501433"/>
                      <a:pt x="1617300" y="2494416"/>
                    </a:cubicBezTo>
                    <a:cubicBezTo>
                      <a:pt x="1626703" y="2486860"/>
                      <a:pt x="1631128" y="2469589"/>
                      <a:pt x="1636659" y="2464732"/>
                    </a:cubicBezTo>
                    <a:cubicBezTo>
                      <a:pt x="1639977" y="2461493"/>
                      <a:pt x="1650486" y="2460954"/>
                      <a:pt x="1651592" y="2456636"/>
                    </a:cubicBezTo>
                    <a:cubicBezTo>
                      <a:pt x="1653804" y="2450699"/>
                      <a:pt x="1648274" y="2447461"/>
                      <a:pt x="1646061" y="2443143"/>
                    </a:cubicBezTo>
                    <a:cubicBezTo>
                      <a:pt x="1644402" y="2440444"/>
                      <a:pt x="1644402" y="2433967"/>
                      <a:pt x="1641083" y="2432348"/>
                    </a:cubicBezTo>
                    <a:cubicBezTo>
                      <a:pt x="1633340" y="2429650"/>
                      <a:pt x="1623384" y="2435047"/>
                      <a:pt x="1618960" y="2440984"/>
                    </a:cubicBezTo>
                    <a:cubicBezTo>
                      <a:pt x="1616747" y="2444222"/>
                      <a:pt x="1616194" y="2448540"/>
                      <a:pt x="1613982" y="2451778"/>
                    </a:cubicBezTo>
                    <a:cubicBezTo>
                      <a:pt x="1611769" y="2455017"/>
                      <a:pt x="1602920" y="2463113"/>
                      <a:pt x="1599601" y="2465271"/>
                    </a:cubicBezTo>
                    <a:cubicBezTo>
                      <a:pt x="1588540" y="2472288"/>
                      <a:pt x="1579137" y="2472828"/>
                      <a:pt x="1569734" y="2483082"/>
                    </a:cubicBezTo>
                    <a:lnTo>
                      <a:pt x="1556460" y="2477145"/>
                    </a:lnTo>
                    <a:lnTo>
                      <a:pt x="1547058" y="2455556"/>
                    </a:lnTo>
                    <a:lnTo>
                      <a:pt x="1548717" y="2437746"/>
                    </a:lnTo>
                    <a:lnTo>
                      <a:pt x="1557566" y="2415617"/>
                    </a:lnTo>
                    <a:lnTo>
                      <a:pt x="1578031" y="2393488"/>
                    </a:lnTo>
                    <a:lnTo>
                      <a:pt x="1598495" y="2360025"/>
                    </a:lnTo>
                    <a:lnTo>
                      <a:pt x="1620619" y="2343834"/>
                    </a:lnTo>
                    <a:lnTo>
                      <a:pt x="1631128" y="2318467"/>
                    </a:lnTo>
                    <a:lnTo>
                      <a:pt x="1629468" y="2307672"/>
                    </a:lnTo>
                    <a:lnTo>
                      <a:pt x="1620066" y="2293639"/>
                    </a:lnTo>
                    <a:lnTo>
                      <a:pt x="1602920" y="2283924"/>
                    </a:lnTo>
                    <a:lnTo>
                      <a:pt x="1597389" y="2275289"/>
                    </a:lnTo>
                    <a:lnTo>
                      <a:pt x="1597389" y="2266114"/>
                    </a:lnTo>
                    <a:lnTo>
                      <a:pt x="1603473" y="2244525"/>
                    </a:lnTo>
                    <a:lnTo>
                      <a:pt x="1587987" y="2242905"/>
                    </a:lnTo>
                    <a:lnTo>
                      <a:pt x="1587433" y="2236429"/>
                    </a:lnTo>
                    <a:lnTo>
                      <a:pt x="1600155" y="2212141"/>
                    </a:lnTo>
                    <a:lnTo>
                      <a:pt x="1596283" y="2187854"/>
                    </a:lnTo>
                    <a:lnTo>
                      <a:pt x="1577478" y="2164646"/>
                    </a:lnTo>
                    <a:lnTo>
                      <a:pt x="1540974" y="2167344"/>
                    </a:lnTo>
                    <a:lnTo>
                      <a:pt x="1504470" y="2160867"/>
                    </a:lnTo>
                    <a:lnTo>
                      <a:pt x="1489536" y="2171662"/>
                    </a:lnTo>
                    <a:lnTo>
                      <a:pt x="1480687" y="2174900"/>
                    </a:lnTo>
                    <a:lnTo>
                      <a:pt x="1447501" y="2173821"/>
                    </a:lnTo>
                    <a:lnTo>
                      <a:pt x="1423718" y="2184076"/>
                    </a:lnTo>
                    <a:lnTo>
                      <a:pt x="1407679" y="2181917"/>
                    </a:lnTo>
                    <a:lnTo>
                      <a:pt x="1399935" y="2194330"/>
                    </a:lnTo>
                    <a:lnTo>
                      <a:pt x="1374493" y="2193791"/>
                    </a:lnTo>
                    <a:lnTo>
                      <a:pt x="1352369" y="2166804"/>
                    </a:lnTo>
                    <a:lnTo>
                      <a:pt x="1335777" y="2174361"/>
                    </a:lnTo>
                    <a:lnTo>
                      <a:pt x="1321396" y="2193251"/>
                    </a:lnTo>
                    <a:lnTo>
                      <a:pt x="1293188" y="2200807"/>
                    </a:lnTo>
                    <a:lnTo>
                      <a:pt x="1245069" y="2197569"/>
                    </a:lnTo>
                    <a:lnTo>
                      <a:pt x="1231242" y="2206744"/>
                    </a:lnTo>
                    <a:lnTo>
                      <a:pt x="1211884" y="2197029"/>
                    </a:lnTo>
                    <a:lnTo>
                      <a:pt x="1186995" y="2150073"/>
                    </a:lnTo>
                    <a:lnTo>
                      <a:pt x="1151597" y="2138739"/>
                    </a:lnTo>
                    <a:lnTo>
                      <a:pt x="1123942" y="2147374"/>
                    </a:lnTo>
                    <a:lnTo>
                      <a:pt x="1092416" y="2145216"/>
                    </a:lnTo>
                    <a:lnTo>
                      <a:pt x="1082460" y="2132802"/>
                    </a:lnTo>
                    <a:lnTo>
                      <a:pt x="1076929" y="2110134"/>
                    </a:lnTo>
                    <a:lnTo>
                      <a:pt x="1075823" y="2080449"/>
                    </a:lnTo>
                    <a:lnTo>
                      <a:pt x="1068633" y="2069654"/>
                    </a:lnTo>
                    <a:lnTo>
                      <a:pt x="1058677" y="2064257"/>
                    </a:lnTo>
                    <a:lnTo>
                      <a:pt x="1047616" y="2037811"/>
                    </a:lnTo>
                    <a:lnTo>
                      <a:pt x="1031023" y="2034032"/>
                    </a:lnTo>
                    <a:lnTo>
                      <a:pt x="1023833" y="2028095"/>
                    </a:lnTo>
                    <a:lnTo>
                      <a:pt x="1007793" y="2041589"/>
                    </a:lnTo>
                    <a:lnTo>
                      <a:pt x="981245" y="2043747"/>
                    </a:lnTo>
                    <a:lnTo>
                      <a:pt x="972395" y="2058320"/>
                    </a:lnTo>
                    <a:lnTo>
                      <a:pt x="962439" y="2065876"/>
                    </a:lnTo>
                    <a:lnTo>
                      <a:pt x="930913" y="2073432"/>
                    </a:lnTo>
                    <a:lnTo>
                      <a:pt x="921511" y="2110673"/>
                    </a:lnTo>
                    <a:lnTo>
                      <a:pt x="910449" y="2105816"/>
                    </a:lnTo>
                    <a:lnTo>
                      <a:pt x="885560" y="2109054"/>
                    </a:lnTo>
                    <a:lnTo>
                      <a:pt x="881135" y="2088545"/>
                    </a:lnTo>
                    <a:lnTo>
                      <a:pt x="868414" y="2077750"/>
                    </a:lnTo>
                    <a:lnTo>
                      <a:pt x="857905" y="2055082"/>
                    </a:lnTo>
                    <a:lnTo>
                      <a:pt x="854586" y="2023778"/>
                    </a:lnTo>
                    <a:lnTo>
                      <a:pt x="842418" y="2004348"/>
                    </a:lnTo>
                    <a:lnTo>
                      <a:pt x="840206" y="1989775"/>
                    </a:lnTo>
                    <a:lnTo>
                      <a:pt x="858458" y="1980060"/>
                    </a:lnTo>
                    <a:lnTo>
                      <a:pt x="879476" y="1977362"/>
                    </a:lnTo>
                    <a:lnTo>
                      <a:pt x="893856" y="1968726"/>
                    </a:lnTo>
                    <a:lnTo>
                      <a:pt x="899940" y="1940660"/>
                    </a:lnTo>
                    <a:lnTo>
                      <a:pt x="875051" y="1911515"/>
                    </a:lnTo>
                    <a:lnTo>
                      <a:pt x="860117" y="1914214"/>
                    </a:lnTo>
                    <a:lnTo>
                      <a:pt x="855140" y="1923929"/>
                    </a:lnTo>
                    <a:lnTo>
                      <a:pt x="833569" y="1937962"/>
                    </a:lnTo>
                    <a:lnTo>
                      <a:pt x="820848" y="1925548"/>
                    </a:lnTo>
                    <a:cubicBezTo>
                      <a:pt x="816423" y="1917992"/>
                      <a:pt x="818082" y="1903419"/>
                      <a:pt x="820848" y="1895863"/>
                    </a:cubicBezTo>
                    <a:cubicBezTo>
                      <a:pt x="821401" y="1894244"/>
                      <a:pt x="823060" y="1892625"/>
                      <a:pt x="824166" y="1891546"/>
                    </a:cubicBezTo>
                    <a:lnTo>
                      <a:pt x="786556" y="1879672"/>
                    </a:lnTo>
                    <a:lnTo>
                      <a:pt x="769963" y="1863480"/>
                    </a:lnTo>
                    <a:lnTo>
                      <a:pt x="755030" y="1832716"/>
                    </a:lnTo>
                    <a:lnTo>
                      <a:pt x="734565" y="1826779"/>
                    </a:lnTo>
                    <a:lnTo>
                      <a:pt x="725163" y="1820302"/>
                    </a:lnTo>
                    <a:lnTo>
                      <a:pt x="722397" y="1811666"/>
                    </a:lnTo>
                    <a:lnTo>
                      <a:pt x="722951" y="1788998"/>
                    </a:lnTo>
                    <a:lnTo>
                      <a:pt x="704145" y="1771727"/>
                    </a:lnTo>
                    <a:lnTo>
                      <a:pt x="697508" y="1735026"/>
                    </a:lnTo>
                    <a:lnTo>
                      <a:pt x="646071" y="1725850"/>
                    </a:lnTo>
                    <a:lnTo>
                      <a:pt x="627819" y="1732867"/>
                    </a:lnTo>
                    <a:lnTo>
                      <a:pt x="606801" y="1757694"/>
                    </a:lnTo>
                    <a:lnTo>
                      <a:pt x="597952" y="1754996"/>
                    </a:lnTo>
                    <a:lnTo>
                      <a:pt x="597399" y="1728549"/>
                    </a:lnTo>
                    <a:lnTo>
                      <a:pt x="568638" y="1728009"/>
                    </a:lnTo>
                    <a:lnTo>
                      <a:pt x="555364" y="1739883"/>
                    </a:lnTo>
                    <a:lnTo>
                      <a:pt x="545961" y="1724231"/>
                    </a:lnTo>
                    <a:lnTo>
                      <a:pt x="531028" y="1729629"/>
                    </a:lnTo>
                    <a:lnTo>
                      <a:pt x="525497" y="1740963"/>
                    </a:lnTo>
                    <a:lnTo>
                      <a:pt x="507798" y="1735026"/>
                    </a:lnTo>
                    <a:lnTo>
                      <a:pt x="507798" y="1714516"/>
                    </a:lnTo>
                    <a:lnTo>
                      <a:pt x="494524" y="1698864"/>
                    </a:lnTo>
                    <a:lnTo>
                      <a:pt x="479590" y="1692388"/>
                    </a:lnTo>
                    <a:lnTo>
                      <a:pt x="470187" y="1667021"/>
                    </a:lnTo>
                    <a:lnTo>
                      <a:pt x="463550" y="1658385"/>
                    </a:lnTo>
                    <a:lnTo>
                      <a:pt x="448064" y="1664862"/>
                    </a:lnTo>
                    <a:lnTo>
                      <a:pt x="438108" y="1652448"/>
                    </a:lnTo>
                    <a:lnTo>
                      <a:pt x="449723" y="1629780"/>
                    </a:lnTo>
                    <a:lnTo>
                      <a:pt x="452489" y="1613588"/>
                    </a:lnTo>
                    <a:lnTo>
                      <a:pt x="428153" y="1610889"/>
                    </a:lnTo>
                    <a:lnTo>
                      <a:pt x="423728" y="1593079"/>
                    </a:lnTo>
                    <a:lnTo>
                      <a:pt x="403816" y="1589300"/>
                    </a:lnTo>
                    <a:lnTo>
                      <a:pt x="414878" y="1552060"/>
                    </a:lnTo>
                    <a:lnTo>
                      <a:pt x="427599" y="1539106"/>
                    </a:lnTo>
                    <a:lnTo>
                      <a:pt x="419856" y="1531010"/>
                    </a:lnTo>
                    <a:lnTo>
                      <a:pt x="404923" y="1527232"/>
                    </a:lnTo>
                    <a:lnTo>
                      <a:pt x="391648" y="1509421"/>
                    </a:lnTo>
                    <a:lnTo>
                      <a:pt x="368419" y="1444115"/>
                    </a:lnTo>
                    <a:lnTo>
                      <a:pt x="372290" y="1412811"/>
                    </a:lnTo>
                    <a:lnTo>
                      <a:pt x="371184" y="1388523"/>
                    </a:lnTo>
                    <a:lnTo>
                      <a:pt x="386671" y="1375570"/>
                    </a:lnTo>
                    <a:lnTo>
                      <a:pt x="394967" y="1364776"/>
                    </a:lnTo>
                    <a:cubicBezTo>
                      <a:pt x="394967" y="1358839"/>
                      <a:pt x="385564" y="1352362"/>
                      <a:pt x="380033" y="1350203"/>
                    </a:cubicBezTo>
                    <a:cubicBezTo>
                      <a:pt x="377821" y="1349124"/>
                      <a:pt x="375609" y="1350203"/>
                      <a:pt x="371737" y="1350203"/>
                    </a:cubicBezTo>
                    <a:cubicBezTo>
                      <a:pt x="370631" y="1341567"/>
                      <a:pt x="363441" y="1323217"/>
                      <a:pt x="377268" y="1321598"/>
                    </a:cubicBezTo>
                    <a:cubicBezTo>
                      <a:pt x="380033" y="1321598"/>
                      <a:pt x="389989" y="1325915"/>
                      <a:pt x="392202" y="1322677"/>
                    </a:cubicBezTo>
                    <a:cubicBezTo>
                      <a:pt x="393308" y="1319979"/>
                      <a:pt x="391648" y="1308644"/>
                      <a:pt x="394414" y="1307025"/>
                    </a:cubicBezTo>
                    <a:cubicBezTo>
                      <a:pt x="399392" y="1304327"/>
                      <a:pt x="408794" y="1309184"/>
                      <a:pt x="412666" y="1304327"/>
                    </a:cubicBezTo>
                    <a:cubicBezTo>
                      <a:pt x="419303" y="1295691"/>
                      <a:pt x="419856" y="1282198"/>
                      <a:pt x="430365" y="1276801"/>
                    </a:cubicBezTo>
                    <a:cubicBezTo>
                      <a:pt x="445298" y="1269245"/>
                      <a:pt x="479590" y="1273023"/>
                      <a:pt x="486227" y="1265466"/>
                    </a:cubicBezTo>
                    <a:cubicBezTo>
                      <a:pt x="487333" y="1264387"/>
                      <a:pt x="488440" y="1260609"/>
                      <a:pt x="488993" y="1258990"/>
                    </a:cubicBezTo>
                    <a:lnTo>
                      <a:pt x="487886" y="1257371"/>
                    </a:lnTo>
                    <a:cubicBezTo>
                      <a:pt x="482356" y="1256291"/>
                      <a:pt x="476825" y="1256291"/>
                      <a:pt x="471294" y="1254672"/>
                    </a:cubicBezTo>
                    <a:cubicBezTo>
                      <a:pt x="465763" y="1253053"/>
                      <a:pt x="465210" y="1244957"/>
                      <a:pt x="459126" y="1244957"/>
                    </a:cubicBezTo>
                    <a:cubicBezTo>
                      <a:pt x="444745" y="1243878"/>
                      <a:pt x="429259" y="1258990"/>
                      <a:pt x="414325" y="1254132"/>
                    </a:cubicBezTo>
                    <a:cubicBezTo>
                      <a:pt x="408794" y="1252513"/>
                      <a:pt x="404370" y="1242258"/>
                      <a:pt x="399392" y="1239560"/>
                    </a:cubicBezTo>
                    <a:cubicBezTo>
                      <a:pt x="397179" y="1238480"/>
                      <a:pt x="373949" y="1241719"/>
                      <a:pt x="378374" y="1233083"/>
                    </a:cubicBezTo>
                    <a:cubicBezTo>
                      <a:pt x="380033" y="1232543"/>
                      <a:pt x="382799" y="1231464"/>
                      <a:pt x="383352" y="1229305"/>
                    </a:cubicBezTo>
                    <a:cubicBezTo>
                      <a:pt x="385564" y="1223368"/>
                      <a:pt x="378374" y="1203398"/>
                      <a:pt x="371737" y="1202319"/>
                    </a:cubicBezTo>
                    <a:cubicBezTo>
                      <a:pt x="367312" y="1205017"/>
                      <a:pt x="362888" y="1209335"/>
                      <a:pt x="359569" y="1213653"/>
                    </a:cubicBezTo>
                    <a:cubicBezTo>
                      <a:pt x="356251" y="1217971"/>
                      <a:pt x="354591" y="1223368"/>
                      <a:pt x="350720" y="1227146"/>
                    </a:cubicBezTo>
                    <a:cubicBezTo>
                      <a:pt x="349060" y="1229305"/>
                      <a:pt x="339658" y="1236321"/>
                      <a:pt x="336892" y="1237401"/>
                    </a:cubicBezTo>
                    <a:cubicBezTo>
                      <a:pt x="336339" y="1237941"/>
                      <a:pt x="334680" y="1237941"/>
                      <a:pt x="333574" y="1237401"/>
                    </a:cubicBezTo>
                    <a:lnTo>
                      <a:pt x="340211" y="1210415"/>
                    </a:lnTo>
                    <a:lnTo>
                      <a:pt x="347401" y="1198001"/>
                    </a:lnTo>
                    <a:lnTo>
                      <a:pt x="364547" y="1154283"/>
                    </a:lnTo>
                    <a:lnTo>
                      <a:pt x="392202" y="1104089"/>
                    </a:lnTo>
                    <a:lnTo>
                      <a:pt x="413219" y="1039322"/>
                    </a:lnTo>
                    <a:lnTo>
                      <a:pt x="423175" y="992906"/>
                    </a:lnTo>
                    <a:lnTo>
                      <a:pt x="440321" y="954586"/>
                    </a:lnTo>
                    <a:lnTo>
                      <a:pt x="435343" y="902772"/>
                    </a:lnTo>
                    <a:lnTo>
                      <a:pt x="407688" y="881723"/>
                    </a:lnTo>
                    <a:lnTo>
                      <a:pt x="404923" y="875247"/>
                    </a:lnTo>
                    <a:lnTo>
                      <a:pt x="361781" y="870389"/>
                    </a:lnTo>
                    <a:lnTo>
                      <a:pt x="324724" y="836386"/>
                    </a:lnTo>
                    <a:lnTo>
                      <a:pt x="331914" y="825592"/>
                    </a:lnTo>
                    <a:lnTo>
                      <a:pt x="336892" y="798606"/>
                    </a:lnTo>
                    <a:lnTo>
                      <a:pt x="334127" y="787811"/>
                    </a:lnTo>
                    <a:lnTo>
                      <a:pt x="329702" y="780795"/>
                    </a:lnTo>
                    <a:lnTo>
                      <a:pt x="298729" y="766762"/>
                    </a:lnTo>
                    <a:lnTo>
                      <a:pt x="290433" y="746253"/>
                    </a:lnTo>
                    <a:lnTo>
                      <a:pt x="293198" y="735458"/>
                    </a:lnTo>
                    <a:lnTo>
                      <a:pt x="286561" y="727902"/>
                    </a:lnTo>
                    <a:lnTo>
                      <a:pt x="269415" y="728442"/>
                    </a:lnTo>
                    <a:lnTo>
                      <a:pt x="260566" y="719266"/>
                    </a:lnTo>
                    <a:lnTo>
                      <a:pt x="254482" y="700916"/>
                    </a:lnTo>
                    <a:lnTo>
                      <a:pt x="260566" y="684724"/>
                    </a:lnTo>
                    <a:lnTo>
                      <a:pt x="242314" y="682026"/>
                    </a:lnTo>
                    <a:lnTo>
                      <a:pt x="238995" y="648563"/>
                    </a:lnTo>
                    <a:lnTo>
                      <a:pt x="232911" y="636149"/>
                    </a:lnTo>
                    <a:lnTo>
                      <a:pt x="248951" y="623196"/>
                    </a:lnTo>
                    <a:lnTo>
                      <a:pt x="224615" y="584336"/>
                    </a:lnTo>
                    <a:lnTo>
                      <a:pt x="189770" y="555191"/>
                    </a:lnTo>
                    <a:lnTo>
                      <a:pt x="155478" y="518489"/>
                    </a:lnTo>
                    <a:lnTo>
                      <a:pt x="146629" y="503377"/>
                    </a:lnTo>
                    <a:lnTo>
                      <a:pt x="158797" y="447786"/>
                    </a:lnTo>
                    <a:lnTo>
                      <a:pt x="160456" y="415942"/>
                    </a:lnTo>
                    <a:lnTo>
                      <a:pt x="157137" y="405148"/>
                    </a:lnTo>
                    <a:lnTo>
                      <a:pt x="127270" y="391115"/>
                    </a:lnTo>
                    <a:lnTo>
                      <a:pt x="110678" y="374383"/>
                    </a:lnTo>
                    <a:lnTo>
                      <a:pt x="76386" y="367907"/>
                    </a:lnTo>
                    <a:lnTo>
                      <a:pt x="55368" y="332285"/>
                    </a:lnTo>
                    <a:lnTo>
                      <a:pt x="53709" y="294504"/>
                    </a:lnTo>
                    <a:lnTo>
                      <a:pt x="41541" y="295584"/>
                    </a:lnTo>
                    <a:cubicBezTo>
                      <a:pt x="41541" y="284249"/>
                      <a:pt x="49838" y="284789"/>
                      <a:pt x="58134" y="281011"/>
                    </a:cubicBezTo>
                    <a:cubicBezTo>
                      <a:pt x="71408" y="274534"/>
                      <a:pt x="70302" y="260502"/>
                      <a:pt x="65324" y="249167"/>
                    </a:cubicBezTo>
                    <a:cubicBezTo>
                      <a:pt x="64771" y="247548"/>
                      <a:pt x="63112" y="245389"/>
                      <a:pt x="62559" y="243231"/>
                    </a:cubicBezTo>
                    <a:cubicBezTo>
                      <a:pt x="62006" y="240532"/>
                      <a:pt x="62006" y="235674"/>
                      <a:pt x="64218" y="232976"/>
                    </a:cubicBezTo>
                    <a:cubicBezTo>
                      <a:pt x="67536" y="228658"/>
                      <a:pt x="75833" y="225420"/>
                      <a:pt x="80258" y="221642"/>
                    </a:cubicBezTo>
                    <a:cubicBezTo>
                      <a:pt x="86895" y="216244"/>
                      <a:pt x="91873" y="204910"/>
                      <a:pt x="92979" y="196814"/>
                    </a:cubicBezTo>
                    <a:lnTo>
                      <a:pt x="102381" y="198973"/>
                    </a:lnTo>
                    <a:lnTo>
                      <a:pt x="108465" y="195735"/>
                    </a:lnTo>
                    <a:lnTo>
                      <a:pt x="110678" y="184940"/>
                    </a:lnTo>
                    <a:lnTo>
                      <a:pt x="109571" y="164971"/>
                    </a:lnTo>
                    <a:close/>
                    <a:moveTo>
                      <a:pt x="154925" y="1951995"/>
                    </a:moveTo>
                    <a:lnTo>
                      <a:pt x="175389" y="1954153"/>
                    </a:lnTo>
                    <a:lnTo>
                      <a:pt x="199725" y="1969805"/>
                    </a:lnTo>
                    <a:lnTo>
                      <a:pt x="200279" y="1977901"/>
                    </a:lnTo>
                    <a:lnTo>
                      <a:pt x="189770" y="1995172"/>
                    </a:lnTo>
                    <a:lnTo>
                      <a:pt x="205256" y="2022159"/>
                    </a:lnTo>
                    <a:lnTo>
                      <a:pt x="193641" y="2032413"/>
                    </a:lnTo>
                    <a:lnTo>
                      <a:pt x="179814" y="2039430"/>
                    </a:lnTo>
                    <a:lnTo>
                      <a:pt x="106806" y="2056161"/>
                    </a:lnTo>
                    <a:lnTo>
                      <a:pt x="34351" y="2063178"/>
                    </a:lnTo>
                    <a:lnTo>
                      <a:pt x="1165" y="2062098"/>
                    </a:lnTo>
                    <a:cubicBezTo>
                      <a:pt x="11121" y="2055621"/>
                      <a:pt x="11121" y="2045367"/>
                      <a:pt x="16652" y="2036731"/>
                    </a:cubicBezTo>
                    <a:cubicBezTo>
                      <a:pt x="19971" y="2032413"/>
                      <a:pt x="28267" y="2027016"/>
                      <a:pt x="28267" y="2021619"/>
                    </a:cubicBezTo>
                    <a:cubicBezTo>
                      <a:pt x="26608" y="2021619"/>
                      <a:pt x="23842" y="2021079"/>
                      <a:pt x="22183" y="2021079"/>
                    </a:cubicBezTo>
                    <a:cubicBezTo>
                      <a:pt x="16099" y="2021619"/>
                      <a:pt x="7803" y="2032413"/>
                      <a:pt x="2825" y="2026476"/>
                    </a:cubicBezTo>
                    <a:lnTo>
                      <a:pt x="1719" y="2025397"/>
                    </a:lnTo>
                    <a:cubicBezTo>
                      <a:pt x="1719" y="2021619"/>
                      <a:pt x="2272" y="2017301"/>
                      <a:pt x="2272" y="2014063"/>
                    </a:cubicBezTo>
                    <a:cubicBezTo>
                      <a:pt x="1165" y="2007046"/>
                      <a:pt x="-4365" y="2001109"/>
                      <a:pt x="2272" y="1995172"/>
                    </a:cubicBezTo>
                    <a:cubicBezTo>
                      <a:pt x="7249" y="1994633"/>
                      <a:pt x="13333" y="1995712"/>
                      <a:pt x="18311" y="1994093"/>
                    </a:cubicBezTo>
                    <a:cubicBezTo>
                      <a:pt x="21077" y="1993013"/>
                      <a:pt x="26608" y="1987616"/>
                      <a:pt x="27714" y="1987077"/>
                    </a:cubicBezTo>
                    <a:cubicBezTo>
                      <a:pt x="31586" y="1985997"/>
                      <a:pt x="36563" y="1982219"/>
                      <a:pt x="38776" y="1978981"/>
                    </a:cubicBezTo>
                    <a:cubicBezTo>
                      <a:pt x="41541" y="1974663"/>
                      <a:pt x="47072" y="1947137"/>
                      <a:pt x="49838" y="1939041"/>
                    </a:cubicBezTo>
                    <a:cubicBezTo>
                      <a:pt x="51497" y="1935263"/>
                      <a:pt x="53156" y="1932025"/>
                      <a:pt x="54815" y="1928247"/>
                    </a:cubicBezTo>
                    <a:cubicBezTo>
                      <a:pt x="55368" y="1927167"/>
                      <a:pt x="55368" y="1923389"/>
                      <a:pt x="56475" y="1922849"/>
                    </a:cubicBezTo>
                    <a:cubicBezTo>
                      <a:pt x="57581" y="1922849"/>
                      <a:pt x="60346" y="1925548"/>
                      <a:pt x="60346" y="1926628"/>
                    </a:cubicBezTo>
                    <a:cubicBezTo>
                      <a:pt x="60346" y="1929326"/>
                      <a:pt x="56475" y="1947677"/>
                      <a:pt x="55368" y="1950915"/>
                    </a:cubicBezTo>
                    <a:cubicBezTo>
                      <a:pt x="54815" y="1954153"/>
                      <a:pt x="51497" y="1956312"/>
                      <a:pt x="50944" y="1959011"/>
                    </a:cubicBezTo>
                    <a:cubicBezTo>
                      <a:pt x="50391" y="1962789"/>
                      <a:pt x="49838" y="1981140"/>
                      <a:pt x="50391" y="1983838"/>
                    </a:cubicBezTo>
                    <a:cubicBezTo>
                      <a:pt x="50944" y="1984918"/>
                      <a:pt x="54262" y="1987077"/>
                      <a:pt x="55368" y="1987077"/>
                    </a:cubicBezTo>
                    <a:cubicBezTo>
                      <a:pt x="59793" y="1989235"/>
                      <a:pt x="69196" y="1987077"/>
                      <a:pt x="73621" y="1984918"/>
                    </a:cubicBezTo>
                    <a:cubicBezTo>
                      <a:pt x="92426" y="1977901"/>
                      <a:pt x="76939" y="1968186"/>
                      <a:pt x="75833" y="1959011"/>
                    </a:cubicBezTo>
                    <a:cubicBezTo>
                      <a:pt x="75280" y="1951995"/>
                      <a:pt x="80258" y="1944978"/>
                      <a:pt x="78598" y="1938501"/>
                    </a:cubicBezTo>
                    <a:cubicBezTo>
                      <a:pt x="91319" y="1940660"/>
                      <a:pt x="96297" y="1940660"/>
                      <a:pt x="100722" y="1942279"/>
                    </a:cubicBezTo>
                    <a:cubicBezTo>
                      <a:pt x="105700" y="1944438"/>
                      <a:pt x="109018" y="1949296"/>
                      <a:pt x="113996" y="1950915"/>
                    </a:cubicBezTo>
                    <a:cubicBezTo>
                      <a:pt x="127824" y="1955773"/>
                      <a:pt x="141098" y="1955233"/>
                      <a:pt x="154925" y="1951995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6" name="Freeform 1058">
                <a:extLst>
                  <a:ext uri="{FF2B5EF4-FFF2-40B4-BE49-F238E27FC236}">
                    <a16:creationId xmlns:a16="http://schemas.microsoft.com/office/drawing/2014/main" id="{9E3286AE-2662-46A7-8B69-A7E1298F9E1F}"/>
                  </a:ext>
                </a:extLst>
              </p:cNvPr>
              <p:cNvSpPr/>
              <p:nvPr/>
            </p:nvSpPr>
            <p:spPr>
              <a:xfrm>
                <a:off x="7242012" y="3931010"/>
                <a:ext cx="790989" cy="583298"/>
              </a:xfrm>
              <a:custGeom>
                <a:avLst/>
                <a:gdLst>
                  <a:gd name="connsiteX0" fmla="*/ 215421 w 790989"/>
                  <a:gd name="connsiteY0" fmla="*/ 90150 h 583298"/>
                  <a:gd name="connsiteX1" fmla="*/ 249160 w 790989"/>
                  <a:gd name="connsiteY1" fmla="*/ 92849 h 583298"/>
                  <a:gd name="connsiteX2" fmla="*/ 294513 w 790989"/>
                  <a:gd name="connsiteY2" fmla="*/ 86372 h 583298"/>
                  <a:gd name="connsiteX3" fmla="*/ 324933 w 790989"/>
                  <a:gd name="connsiteY3" fmla="*/ 105802 h 583298"/>
                  <a:gd name="connsiteX4" fmla="*/ 342079 w 790989"/>
                  <a:gd name="connsiteY4" fmla="*/ 98246 h 583298"/>
                  <a:gd name="connsiteX5" fmla="*/ 361437 w 790989"/>
                  <a:gd name="connsiteY5" fmla="*/ 68021 h 583298"/>
                  <a:gd name="connsiteX6" fmla="*/ 417853 w 790989"/>
                  <a:gd name="connsiteY6" fmla="*/ 48052 h 583298"/>
                  <a:gd name="connsiteX7" fmla="*/ 423937 w 790989"/>
                  <a:gd name="connsiteY7" fmla="*/ 17287 h 583298"/>
                  <a:gd name="connsiteX8" fmla="*/ 452144 w 790989"/>
                  <a:gd name="connsiteY8" fmla="*/ 1096 h 583298"/>
                  <a:gd name="connsiteX9" fmla="*/ 467631 w 790989"/>
                  <a:gd name="connsiteY9" fmla="*/ 1096 h 583298"/>
                  <a:gd name="connsiteX10" fmla="*/ 478140 w 790989"/>
                  <a:gd name="connsiteY10" fmla="*/ 3794 h 583298"/>
                  <a:gd name="connsiteX11" fmla="*/ 522387 w 790989"/>
                  <a:gd name="connsiteY11" fmla="*/ 52369 h 583298"/>
                  <a:gd name="connsiteX12" fmla="*/ 541745 w 790989"/>
                  <a:gd name="connsiteY12" fmla="*/ 70180 h 583298"/>
                  <a:gd name="connsiteX13" fmla="*/ 545064 w 790989"/>
                  <a:gd name="connsiteY13" fmla="*/ 80975 h 583298"/>
                  <a:gd name="connsiteX14" fmla="*/ 564975 w 790989"/>
                  <a:gd name="connsiteY14" fmla="*/ 100944 h 583298"/>
                  <a:gd name="connsiteX15" fmla="*/ 572165 w 790989"/>
                  <a:gd name="connsiteY15" fmla="*/ 111199 h 583298"/>
                  <a:gd name="connsiteX16" fmla="*/ 614754 w 790989"/>
                  <a:gd name="connsiteY16" fmla="*/ 138725 h 583298"/>
                  <a:gd name="connsiteX17" fmla="*/ 616413 w 790989"/>
                  <a:gd name="connsiteY17" fmla="*/ 145742 h 583298"/>
                  <a:gd name="connsiteX18" fmla="*/ 624709 w 790989"/>
                  <a:gd name="connsiteY18" fmla="*/ 177045 h 583298"/>
                  <a:gd name="connsiteX19" fmla="*/ 626922 w 790989"/>
                  <a:gd name="connsiteY19" fmla="*/ 218604 h 583298"/>
                  <a:gd name="connsiteX20" fmla="*/ 639643 w 790989"/>
                  <a:gd name="connsiteY20" fmla="*/ 262861 h 583298"/>
                  <a:gd name="connsiteX21" fmla="*/ 643514 w 790989"/>
                  <a:gd name="connsiteY21" fmla="*/ 287149 h 583298"/>
                  <a:gd name="connsiteX22" fmla="*/ 656789 w 790989"/>
                  <a:gd name="connsiteY22" fmla="*/ 296864 h 583298"/>
                  <a:gd name="connsiteX23" fmla="*/ 661766 w 790989"/>
                  <a:gd name="connsiteY23" fmla="*/ 301722 h 583298"/>
                  <a:gd name="connsiteX24" fmla="*/ 697164 w 790989"/>
                  <a:gd name="connsiteY24" fmla="*/ 311976 h 583298"/>
                  <a:gd name="connsiteX25" fmla="*/ 766854 w 790989"/>
                  <a:gd name="connsiteY25" fmla="*/ 273116 h 583298"/>
                  <a:gd name="connsiteX26" fmla="*/ 781234 w 790989"/>
                  <a:gd name="connsiteY26" fmla="*/ 283911 h 583298"/>
                  <a:gd name="connsiteX27" fmla="*/ 780128 w 790989"/>
                  <a:gd name="connsiteY27" fmla="*/ 285530 h 583298"/>
                  <a:gd name="connsiteX28" fmla="*/ 790084 w 790989"/>
                  <a:gd name="connsiteY28" fmla="*/ 315754 h 583298"/>
                  <a:gd name="connsiteX29" fmla="*/ 786212 w 790989"/>
                  <a:gd name="connsiteY29" fmla="*/ 330327 h 583298"/>
                  <a:gd name="connsiteX30" fmla="*/ 769066 w 790989"/>
                  <a:gd name="connsiteY30" fmla="*/ 340042 h 583298"/>
                  <a:gd name="connsiteX31" fmla="*/ 756898 w 790989"/>
                  <a:gd name="connsiteY31" fmla="*/ 349757 h 583298"/>
                  <a:gd name="connsiteX32" fmla="*/ 744177 w 790989"/>
                  <a:gd name="connsiteY32" fmla="*/ 362171 h 583298"/>
                  <a:gd name="connsiteX33" fmla="*/ 746943 w 790989"/>
                  <a:gd name="connsiteY33" fmla="*/ 346519 h 583298"/>
                  <a:gd name="connsiteX34" fmla="*/ 741412 w 790989"/>
                  <a:gd name="connsiteY34" fmla="*/ 337883 h 583298"/>
                  <a:gd name="connsiteX35" fmla="*/ 740305 w 790989"/>
                  <a:gd name="connsiteY35" fmla="*/ 329247 h 583298"/>
                  <a:gd name="connsiteX36" fmla="*/ 732009 w 790989"/>
                  <a:gd name="connsiteY36" fmla="*/ 329247 h 583298"/>
                  <a:gd name="connsiteX37" fmla="*/ 724266 w 790989"/>
                  <a:gd name="connsiteY37" fmla="*/ 347058 h 583298"/>
                  <a:gd name="connsiteX38" fmla="*/ 732009 w 790989"/>
                  <a:gd name="connsiteY38" fmla="*/ 355154 h 583298"/>
                  <a:gd name="connsiteX39" fmla="*/ 726478 w 790989"/>
                  <a:gd name="connsiteY39" fmla="*/ 374584 h 583298"/>
                  <a:gd name="connsiteX40" fmla="*/ 737540 w 790989"/>
                  <a:gd name="connsiteY40" fmla="*/ 386458 h 583298"/>
                  <a:gd name="connsiteX41" fmla="*/ 727031 w 790989"/>
                  <a:gd name="connsiteY41" fmla="*/ 425858 h 583298"/>
                  <a:gd name="connsiteX42" fmla="*/ 734221 w 790989"/>
                  <a:gd name="connsiteY42" fmla="*/ 444748 h 583298"/>
                  <a:gd name="connsiteX43" fmla="*/ 739199 w 790989"/>
                  <a:gd name="connsiteY43" fmla="*/ 488466 h 583298"/>
                  <a:gd name="connsiteX44" fmla="*/ 734221 w 790989"/>
                  <a:gd name="connsiteY44" fmla="*/ 490085 h 583298"/>
                  <a:gd name="connsiteX45" fmla="*/ 708779 w 790989"/>
                  <a:gd name="connsiteY45" fmla="*/ 493863 h 583298"/>
                  <a:gd name="connsiteX46" fmla="*/ 686102 w 790989"/>
                  <a:gd name="connsiteY46" fmla="*/ 486307 h 583298"/>
                  <a:gd name="connsiteX47" fmla="*/ 678359 w 790989"/>
                  <a:gd name="connsiteY47" fmla="*/ 474433 h 583298"/>
                  <a:gd name="connsiteX48" fmla="*/ 665638 w 790989"/>
                  <a:gd name="connsiteY48" fmla="*/ 483608 h 583298"/>
                  <a:gd name="connsiteX49" fmla="*/ 650151 w 790989"/>
                  <a:gd name="connsiteY49" fmla="*/ 474433 h 583298"/>
                  <a:gd name="connsiteX50" fmla="*/ 630240 w 790989"/>
                  <a:gd name="connsiteY50" fmla="*/ 481449 h 583298"/>
                  <a:gd name="connsiteX51" fmla="*/ 613647 w 790989"/>
                  <a:gd name="connsiteY51" fmla="*/ 469036 h 583298"/>
                  <a:gd name="connsiteX52" fmla="*/ 595948 w 790989"/>
                  <a:gd name="connsiteY52" fmla="*/ 472814 h 583298"/>
                  <a:gd name="connsiteX53" fmla="*/ 564975 w 790989"/>
                  <a:gd name="connsiteY53" fmla="*/ 490085 h 583298"/>
                  <a:gd name="connsiteX54" fmla="*/ 528471 w 790989"/>
                  <a:gd name="connsiteY54" fmla="*/ 510055 h 583298"/>
                  <a:gd name="connsiteX55" fmla="*/ 521834 w 790989"/>
                  <a:gd name="connsiteY55" fmla="*/ 517611 h 583298"/>
                  <a:gd name="connsiteX56" fmla="*/ 482011 w 790989"/>
                  <a:gd name="connsiteY56" fmla="*/ 567805 h 583298"/>
                  <a:gd name="connsiteX57" fmla="*/ 468184 w 790989"/>
                  <a:gd name="connsiteY57" fmla="*/ 569964 h 583298"/>
                  <a:gd name="connsiteX58" fmla="*/ 438317 w 790989"/>
                  <a:gd name="connsiteY58" fmla="*/ 566186 h 583298"/>
                  <a:gd name="connsiteX59" fmla="*/ 426702 w 790989"/>
                  <a:gd name="connsiteY59" fmla="*/ 568345 h 583298"/>
                  <a:gd name="connsiteX60" fmla="*/ 419512 w 790989"/>
                  <a:gd name="connsiteY60" fmla="*/ 568345 h 583298"/>
                  <a:gd name="connsiteX61" fmla="*/ 391857 w 790989"/>
                  <a:gd name="connsiteY61" fmla="*/ 573742 h 583298"/>
                  <a:gd name="connsiteX62" fmla="*/ 376371 w 790989"/>
                  <a:gd name="connsiteY62" fmla="*/ 580759 h 583298"/>
                  <a:gd name="connsiteX63" fmla="*/ 313318 w 790989"/>
                  <a:gd name="connsiteY63" fmla="*/ 575361 h 583298"/>
                  <a:gd name="connsiteX64" fmla="*/ 297832 w 790989"/>
                  <a:gd name="connsiteY64" fmla="*/ 578600 h 583298"/>
                  <a:gd name="connsiteX65" fmla="*/ 285664 w 790989"/>
                  <a:gd name="connsiteY65" fmla="*/ 579139 h 583298"/>
                  <a:gd name="connsiteX66" fmla="*/ 276814 w 790989"/>
                  <a:gd name="connsiteY66" fmla="*/ 579679 h 583298"/>
                  <a:gd name="connsiteX67" fmla="*/ 270730 w 790989"/>
                  <a:gd name="connsiteY67" fmla="*/ 582917 h 583298"/>
                  <a:gd name="connsiteX68" fmla="*/ 259115 w 790989"/>
                  <a:gd name="connsiteY68" fmla="*/ 580219 h 583298"/>
                  <a:gd name="connsiteX69" fmla="*/ 261328 w 790989"/>
                  <a:gd name="connsiteY69" fmla="*/ 555392 h 583298"/>
                  <a:gd name="connsiteX70" fmla="*/ 227589 w 790989"/>
                  <a:gd name="connsiteY70" fmla="*/ 544057 h 583298"/>
                  <a:gd name="connsiteX71" fmla="*/ 212656 w 790989"/>
                  <a:gd name="connsiteY71" fmla="*/ 527326 h 583298"/>
                  <a:gd name="connsiteX72" fmla="*/ 214868 w 790989"/>
                  <a:gd name="connsiteY72" fmla="*/ 516531 h 583298"/>
                  <a:gd name="connsiteX73" fmla="*/ 223164 w 790989"/>
                  <a:gd name="connsiteY73" fmla="*/ 512214 h 583298"/>
                  <a:gd name="connsiteX74" fmla="*/ 220399 w 790989"/>
                  <a:gd name="connsiteY74" fmla="*/ 502499 h 583298"/>
                  <a:gd name="connsiteX75" fmla="*/ 208231 w 790989"/>
                  <a:gd name="connsiteY75" fmla="*/ 498721 h 583298"/>
                  <a:gd name="connsiteX76" fmla="*/ 178364 w 790989"/>
                  <a:gd name="connsiteY76" fmla="*/ 526246 h 583298"/>
                  <a:gd name="connsiteX77" fmla="*/ 168961 w 790989"/>
                  <a:gd name="connsiteY77" fmla="*/ 518151 h 583298"/>
                  <a:gd name="connsiteX78" fmla="*/ 138541 w 790989"/>
                  <a:gd name="connsiteY78" fmla="*/ 512753 h 583298"/>
                  <a:gd name="connsiteX79" fmla="*/ 120289 w 790989"/>
                  <a:gd name="connsiteY79" fmla="*/ 505197 h 583298"/>
                  <a:gd name="connsiteX80" fmla="*/ 114205 w 790989"/>
                  <a:gd name="connsiteY80" fmla="*/ 465797 h 583298"/>
                  <a:gd name="connsiteX81" fmla="*/ 85998 w 790989"/>
                  <a:gd name="connsiteY81" fmla="*/ 447987 h 583298"/>
                  <a:gd name="connsiteX82" fmla="*/ 65533 w 790989"/>
                  <a:gd name="connsiteY82" fmla="*/ 440430 h 583298"/>
                  <a:gd name="connsiteX83" fmla="*/ 52259 w 790989"/>
                  <a:gd name="connsiteY83" fmla="*/ 430715 h 583298"/>
                  <a:gd name="connsiteX84" fmla="*/ 48387 w 790989"/>
                  <a:gd name="connsiteY84" fmla="*/ 419381 h 583298"/>
                  <a:gd name="connsiteX85" fmla="*/ 47834 w 790989"/>
                  <a:gd name="connsiteY85" fmla="*/ 403190 h 583298"/>
                  <a:gd name="connsiteX86" fmla="*/ 41750 w 790989"/>
                  <a:gd name="connsiteY86" fmla="*/ 402110 h 583298"/>
                  <a:gd name="connsiteX87" fmla="*/ 37879 w 790989"/>
                  <a:gd name="connsiteY87" fmla="*/ 397253 h 583298"/>
                  <a:gd name="connsiteX88" fmla="*/ 16308 w 790989"/>
                  <a:gd name="connsiteY88" fmla="*/ 388617 h 583298"/>
                  <a:gd name="connsiteX89" fmla="*/ 5799 w 790989"/>
                  <a:gd name="connsiteY89" fmla="*/ 381061 h 583298"/>
                  <a:gd name="connsiteX90" fmla="*/ -838 w 790989"/>
                  <a:gd name="connsiteY90" fmla="*/ 365949 h 583298"/>
                  <a:gd name="connsiteX91" fmla="*/ 11330 w 790989"/>
                  <a:gd name="connsiteY91" fmla="*/ 356773 h 583298"/>
                  <a:gd name="connsiteX92" fmla="*/ 24051 w 790989"/>
                  <a:gd name="connsiteY92" fmla="*/ 356234 h 583298"/>
                  <a:gd name="connsiteX93" fmla="*/ 32348 w 790989"/>
                  <a:gd name="connsiteY93" fmla="*/ 342201 h 583298"/>
                  <a:gd name="connsiteX94" fmla="*/ 56684 w 790989"/>
                  <a:gd name="connsiteY94" fmla="*/ 337343 h 583298"/>
                  <a:gd name="connsiteX95" fmla="*/ 87657 w 790989"/>
                  <a:gd name="connsiteY95" fmla="*/ 255305 h 583298"/>
                  <a:gd name="connsiteX96" fmla="*/ 94847 w 790989"/>
                  <a:gd name="connsiteY96" fmla="*/ 214286 h 583298"/>
                  <a:gd name="connsiteX97" fmla="*/ 108674 w 790989"/>
                  <a:gd name="connsiteY97" fmla="*/ 193237 h 583298"/>
                  <a:gd name="connsiteX98" fmla="*/ 102037 w 790989"/>
                  <a:gd name="connsiteY98" fmla="*/ 175426 h 583298"/>
                  <a:gd name="connsiteX99" fmla="*/ 116418 w 790989"/>
                  <a:gd name="connsiteY99" fmla="*/ 152218 h 583298"/>
                  <a:gd name="connsiteX100" fmla="*/ 139094 w 790989"/>
                  <a:gd name="connsiteY100" fmla="*/ 133868 h 583298"/>
                  <a:gd name="connsiteX101" fmla="*/ 155134 w 790989"/>
                  <a:gd name="connsiteY101" fmla="*/ 129010 h 583298"/>
                  <a:gd name="connsiteX102" fmla="*/ 163984 w 790989"/>
                  <a:gd name="connsiteY102" fmla="*/ 105802 h 583298"/>
                  <a:gd name="connsiteX103" fmla="*/ 191638 w 790989"/>
                  <a:gd name="connsiteY103" fmla="*/ 93928 h 583298"/>
                  <a:gd name="connsiteX104" fmla="*/ 213209 w 790989"/>
                  <a:gd name="connsiteY104" fmla="*/ 97166 h 583298"/>
                  <a:gd name="connsiteX105" fmla="*/ 215421 w 790989"/>
                  <a:gd name="connsiteY105" fmla="*/ 90150 h 583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790989" h="583298">
                    <a:moveTo>
                      <a:pt x="215421" y="90150"/>
                    </a:moveTo>
                    <a:cubicBezTo>
                      <a:pt x="224824" y="91769"/>
                      <a:pt x="240863" y="90150"/>
                      <a:pt x="249160" y="92849"/>
                    </a:cubicBezTo>
                    <a:lnTo>
                      <a:pt x="294513" y="86372"/>
                    </a:lnTo>
                    <a:lnTo>
                      <a:pt x="324933" y="105802"/>
                    </a:lnTo>
                    <a:lnTo>
                      <a:pt x="342079" y="98246"/>
                    </a:lnTo>
                    <a:lnTo>
                      <a:pt x="361437" y="68021"/>
                    </a:lnTo>
                    <a:lnTo>
                      <a:pt x="417853" y="48052"/>
                    </a:lnTo>
                    <a:lnTo>
                      <a:pt x="423937" y="17287"/>
                    </a:lnTo>
                    <a:cubicBezTo>
                      <a:pt x="434999" y="17287"/>
                      <a:pt x="443295" y="7033"/>
                      <a:pt x="452144" y="1096"/>
                    </a:cubicBezTo>
                    <a:cubicBezTo>
                      <a:pt x="457122" y="-1603"/>
                      <a:pt x="462653" y="16"/>
                      <a:pt x="467631" y="1096"/>
                    </a:cubicBezTo>
                    <a:cubicBezTo>
                      <a:pt x="470950" y="2175"/>
                      <a:pt x="474821" y="2175"/>
                      <a:pt x="478140" y="3794"/>
                    </a:cubicBezTo>
                    <a:cubicBezTo>
                      <a:pt x="494179" y="10271"/>
                      <a:pt x="510219" y="39956"/>
                      <a:pt x="522387" y="52369"/>
                    </a:cubicBezTo>
                    <a:cubicBezTo>
                      <a:pt x="528471" y="58846"/>
                      <a:pt x="537321" y="62084"/>
                      <a:pt x="541745" y="70180"/>
                    </a:cubicBezTo>
                    <a:cubicBezTo>
                      <a:pt x="543405" y="73419"/>
                      <a:pt x="543405" y="77197"/>
                      <a:pt x="545064" y="80975"/>
                    </a:cubicBezTo>
                    <a:cubicBezTo>
                      <a:pt x="550595" y="91229"/>
                      <a:pt x="557785" y="93388"/>
                      <a:pt x="564975" y="100944"/>
                    </a:cubicBezTo>
                    <a:cubicBezTo>
                      <a:pt x="567741" y="103643"/>
                      <a:pt x="569400" y="107961"/>
                      <a:pt x="572165" y="111199"/>
                    </a:cubicBezTo>
                    <a:cubicBezTo>
                      <a:pt x="579356" y="118755"/>
                      <a:pt x="600926" y="106881"/>
                      <a:pt x="614754" y="138725"/>
                    </a:cubicBezTo>
                    <a:cubicBezTo>
                      <a:pt x="615860" y="140884"/>
                      <a:pt x="616413" y="143583"/>
                      <a:pt x="616413" y="145742"/>
                    </a:cubicBezTo>
                    <a:cubicBezTo>
                      <a:pt x="618072" y="157615"/>
                      <a:pt x="623050" y="163552"/>
                      <a:pt x="624709" y="177045"/>
                    </a:cubicBezTo>
                    <a:cubicBezTo>
                      <a:pt x="626368" y="191078"/>
                      <a:pt x="624156" y="205111"/>
                      <a:pt x="626922" y="218604"/>
                    </a:cubicBezTo>
                    <a:cubicBezTo>
                      <a:pt x="629687" y="233177"/>
                      <a:pt x="636877" y="247749"/>
                      <a:pt x="639643" y="262861"/>
                    </a:cubicBezTo>
                    <a:cubicBezTo>
                      <a:pt x="641302" y="270418"/>
                      <a:pt x="637983" y="280133"/>
                      <a:pt x="643514" y="287149"/>
                    </a:cubicBezTo>
                    <a:cubicBezTo>
                      <a:pt x="645727" y="289848"/>
                      <a:pt x="653470" y="294705"/>
                      <a:pt x="656789" y="296864"/>
                    </a:cubicBezTo>
                    <a:cubicBezTo>
                      <a:pt x="658448" y="296324"/>
                      <a:pt x="660107" y="300102"/>
                      <a:pt x="661766" y="301722"/>
                    </a:cubicBezTo>
                    <a:cubicBezTo>
                      <a:pt x="673381" y="315215"/>
                      <a:pt x="680571" y="314675"/>
                      <a:pt x="697164" y="311976"/>
                    </a:cubicBezTo>
                    <a:cubicBezTo>
                      <a:pt x="712651" y="296324"/>
                      <a:pt x="741965" y="263401"/>
                      <a:pt x="766854" y="273116"/>
                    </a:cubicBezTo>
                    <a:cubicBezTo>
                      <a:pt x="771832" y="275275"/>
                      <a:pt x="777363" y="280672"/>
                      <a:pt x="781234" y="283911"/>
                    </a:cubicBezTo>
                    <a:lnTo>
                      <a:pt x="780128" y="285530"/>
                    </a:lnTo>
                    <a:cubicBezTo>
                      <a:pt x="778469" y="293626"/>
                      <a:pt x="791190" y="302801"/>
                      <a:pt x="790084" y="315754"/>
                    </a:cubicBezTo>
                    <a:cubicBezTo>
                      <a:pt x="788978" y="321152"/>
                      <a:pt x="787318" y="324930"/>
                      <a:pt x="786212" y="330327"/>
                    </a:cubicBezTo>
                    <a:cubicBezTo>
                      <a:pt x="780128" y="338962"/>
                      <a:pt x="776256" y="336264"/>
                      <a:pt x="769066" y="340042"/>
                    </a:cubicBezTo>
                    <a:cubicBezTo>
                      <a:pt x="766301" y="341661"/>
                      <a:pt x="758557" y="347598"/>
                      <a:pt x="756898" y="349757"/>
                    </a:cubicBezTo>
                    <a:cubicBezTo>
                      <a:pt x="755239" y="351916"/>
                      <a:pt x="746943" y="369727"/>
                      <a:pt x="744177" y="362171"/>
                    </a:cubicBezTo>
                    <a:cubicBezTo>
                      <a:pt x="741412" y="356773"/>
                      <a:pt x="747496" y="350836"/>
                      <a:pt x="746943" y="346519"/>
                    </a:cubicBezTo>
                    <a:cubicBezTo>
                      <a:pt x="746943" y="343820"/>
                      <a:pt x="742518" y="340582"/>
                      <a:pt x="741412" y="337883"/>
                    </a:cubicBezTo>
                    <a:cubicBezTo>
                      <a:pt x="740859" y="335184"/>
                      <a:pt x="742518" y="331406"/>
                      <a:pt x="740305" y="329247"/>
                    </a:cubicBezTo>
                    <a:cubicBezTo>
                      <a:pt x="738646" y="328708"/>
                      <a:pt x="734221" y="328168"/>
                      <a:pt x="732009" y="329247"/>
                    </a:cubicBezTo>
                    <a:cubicBezTo>
                      <a:pt x="727584" y="331946"/>
                      <a:pt x="722606" y="342201"/>
                      <a:pt x="724266" y="347058"/>
                    </a:cubicBezTo>
                    <a:cubicBezTo>
                      <a:pt x="724819" y="349217"/>
                      <a:pt x="732009" y="352995"/>
                      <a:pt x="732009" y="355154"/>
                    </a:cubicBezTo>
                    <a:cubicBezTo>
                      <a:pt x="732562" y="358392"/>
                      <a:pt x="724819" y="364329"/>
                      <a:pt x="726478" y="374584"/>
                    </a:cubicBezTo>
                    <a:cubicBezTo>
                      <a:pt x="727584" y="379981"/>
                      <a:pt x="738093" y="379981"/>
                      <a:pt x="737540" y="386458"/>
                    </a:cubicBezTo>
                    <a:cubicBezTo>
                      <a:pt x="735881" y="398872"/>
                      <a:pt x="724819" y="413444"/>
                      <a:pt x="727031" y="425858"/>
                    </a:cubicBezTo>
                    <a:cubicBezTo>
                      <a:pt x="728137" y="432335"/>
                      <a:pt x="732009" y="438811"/>
                      <a:pt x="734221" y="444748"/>
                    </a:cubicBezTo>
                    <a:cubicBezTo>
                      <a:pt x="738646" y="458781"/>
                      <a:pt x="738646" y="473893"/>
                      <a:pt x="739199" y="488466"/>
                    </a:cubicBezTo>
                    <a:lnTo>
                      <a:pt x="734221" y="490085"/>
                    </a:lnTo>
                    <a:lnTo>
                      <a:pt x="708779" y="493863"/>
                    </a:lnTo>
                    <a:lnTo>
                      <a:pt x="686102" y="486307"/>
                    </a:lnTo>
                    <a:lnTo>
                      <a:pt x="678359" y="474433"/>
                    </a:lnTo>
                    <a:lnTo>
                      <a:pt x="665638" y="483608"/>
                    </a:lnTo>
                    <a:lnTo>
                      <a:pt x="650151" y="474433"/>
                    </a:lnTo>
                    <a:lnTo>
                      <a:pt x="630240" y="481449"/>
                    </a:lnTo>
                    <a:lnTo>
                      <a:pt x="613647" y="469036"/>
                    </a:lnTo>
                    <a:cubicBezTo>
                      <a:pt x="607563" y="470115"/>
                      <a:pt x="602032" y="472274"/>
                      <a:pt x="595948" y="472814"/>
                    </a:cubicBezTo>
                    <a:cubicBezTo>
                      <a:pt x="595395" y="473354"/>
                      <a:pt x="568847" y="487926"/>
                      <a:pt x="564975" y="490085"/>
                    </a:cubicBezTo>
                    <a:cubicBezTo>
                      <a:pt x="552254" y="496562"/>
                      <a:pt x="539533" y="500879"/>
                      <a:pt x="528471" y="510055"/>
                    </a:cubicBezTo>
                    <a:cubicBezTo>
                      <a:pt x="525706" y="512214"/>
                      <a:pt x="523493" y="514912"/>
                      <a:pt x="521834" y="517611"/>
                    </a:cubicBezTo>
                    <a:cubicBezTo>
                      <a:pt x="510219" y="539740"/>
                      <a:pt x="510772" y="559709"/>
                      <a:pt x="482011" y="567805"/>
                    </a:cubicBezTo>
                    <a:cubicBezTo>
                      <a:pt x="478140" y="568885"/>
                      <a:pt x="472609" y="569964"/>
                      <a:pt x="468184" y="569964"/>
                    </a:cubicBezTo>
                    <a:cubicBezTo>
                      <a:pt x="458228" y="569424"/>
                      <a:pt x="448273" y="566726"/>
                      <a:pt x="438317" y="566186"/>
                    </a:cubicBezTo>
                    <a:cubicBezTo>
                      <a:pt x="433339" y="565646"/>
                      <a:pt x="431127" y="567265"/>
                      <a:pt x="426702" y="568345"/>
                    </a:cubicBezTo>
                    <a:cubicBezTo>
                      <a:pt x="425043" y="568885"/>
                      <a:pt x="421171" y="568345"/>
                      <a:pt x="419512" y="568345"/>
                    </a:cubicBezTo>
                    <a:cubicBezTo>
                      <a:pt x="413428" y="567805"/>
                      <a:pt x="397941" y="571583"/>
                      <a:pt x="391857" y="573742"/>
                    </a:cubicBezTo>
                    <a:cubicBezTo>
                      <a:pt x="385773" y="575901"/>
                      <a:pt x="383561" y="581298"/>
                      <a:pt x="376371" y="580759"/>
                    </a:cubicBezTo>
                    <a:cubicBezTo>
                      <a:pt x="355353" y="579679"/>
                      <a:pt x="334336" y="575901"/>
                      <a:pt x="313318" y="575361"/>
                    </a:cubicBezTo>
                    <a:cubicBezTo>
                      <a:pt x="308341" y="575361"/>
                      <a:pt x="303363" y="578060"/>
                      <a:pt x="297832" y="578600"/>
                    </a:cubicBezTo>
                    <a:cubicBezTo>
                      <a:pt x="293960" y="579139"/>
                      <a:pt x="289535" y="578600"/>
                      <a:pt x="285664" y="579139"/>
                    </a:cubicBezTo>
                    <a:cubicBezTo>
                      <a:pt x="282898" y="579139"/>
                      <a:pt x="279580" y="579139"/>
                      <a:pt x="276814" y="579679"/>
                    </a:cubicBezTo>
                    <a:cubicBezTo>
                      <a:pt x="274602" y="580759"/>
                      <a:pt x="272943" y="582917"/>
                      <a:pt x="270730" y="582917"/>
                    </a:cubicBezTo>
                    <a:cubicBezTo>
                      <a:pt x="267965" y="582917"/>
                      <a:pt x="261881" y="581298"/>
                      <a:pt x="259115" y="580219"/>
                    </a:cubicBezTo>
                    <a:cubicBezTo>
                      <a:pt x="251925" y="576980"/>
                      <a:pt x="264093" y="562408"/>
                      <a:pt x="261328" y="555392"/>
                    </a:cubicBezTo>
                    <a:cubicBezTo>
                      <a:pt x="258009" y="546216"/>
                      <a:pt x="235885" y="545137"/>
                      <a:pt x="227589" y="544057"/>
                    </a:cubicBezTo>
                    <a:cubicBezTo>
                      <a:pt x="223164" y="541898"/>
                      <a:pt x="214868" y="531644"/>
                      <a:pt x="212656" y="527326"/>
                    </a:cubicBezTo>
                    <a:cubicBezTo>
                      <a:pt x="212103" y="525707"/>
                      <a:pt x="213762" y="518151"/>
                      <a:pt x="214868" y="516531"/>
                    </a:cubicBezTo>
                    <a:cubicBezTo>
                      <a:pt x="217080" y="514912"/>
                      <a:pt x="221505" y="513833"/>
                      <a:pt x="223164" y="512214"/>
                    </a:cubicBezTo>
                    <a:cubicBezTo>
                      <a:pt x="225377" y="510055"/>
                      <a:pt x="222611" y="504118"/>
                      <a:pt x="220399" y="502499"/>
                    </a:cubicBezTo>
                    <a:cubicBezTo>
                      <a:pt x="218187" y="500340"/>
                      <a:pt x="210996" y="498721"/>
                      <a:pt x="208231" y="498721"/>
                    </a:cubicBezTo>
                    <a:cubicBezTo>
                      <a:pt x="180576" y="498721"/>
                      <a:pt x="193297" y="521929"/>
                      <a:pt x="178364" y="526246"/>
                    </a:cubicBezTo>
                    <a:cubicBezTo>
                      <a:pt x="175045" y="527326"/>
                      <a:pt x="171727" y="519770"/>
                      <a:pt x="168961" y="518151"/>
                    </a:cubicBezTo>
                    <a:cubicBezTo>
                      <a:pt x="159559" y="512214"/>
                      <a:pt x="148497" y="514373"/>
                      <a:pt x="138541" y="512753"/>
                    </a:cubicBezTo>
                    <a:cubicBezTo>
                      <a:pt x="130798" y="511134"/>
                      <a:pt x="126926" y="507896"/>
                      <a:pt x="120289" y="505197"/>
                    </a:cubicBezTo>
                    <a:lnTo>
                      <a:pt x="114205" y="465797"/>
                    </a:lnTo>
                    <a:lnTo>
                      <a:pt x="85998" y="447987"/>
                    </a:lnTo>
                    <a:lnTo>
                      <a:pt x="65533" y="440430"/>
                    </a:lnTo>
                    <a:lnTo>
                      <a:pt x="52259" y="430715"/>
                    </a:lnTo>
                    <a:lnTo>
                      <a:pt x="48387" y="419381"/>
                    </a:lnTo>
                    <a:lnTo>
                      <a:pt x="47834" y="403190"/>
                    </a:lnTo>
                    <a:lnTo>
                      <a:pt x="41750" y="402110"/>
                    </a:lnTo>
                    <a:lnTo>
                      <a:pt x="37879" y="397253"/>
                    </a:lnTo>
                    <a:lnTo>
                      <a:pt x="16308" y="388617"/>
                    </a:lnTo>
                    <a:lnTo>
                      <a:pt x="5799" y="381061"/>
                    </a:lnTo>
                    <a:lnTo>
                      <a:pt x="-838" y="365949"/>
                    </a:lnTo>
                    <a:lnTo>
                      <a:pt x="11330" y="356773"/>
                    </a:lnTo>
                    <a:lnTo>
                      <a:pt x="24051" y="356234"/>
                    </a:lnTo>
                    <a:lnTo>
                      <a:pt x="32348" y="342201"/>
                    </a:lnTo>
                    <a:lnTo>
                      <a:pt x="56684" y="337343"/>
                    </a:lnTo>
                    <a:lnTo>
                      <a:pt x="87657" y="255305"/>
                    </a:lnTo>
                    <a:lnTo>
                      <a:pt x="94847" y="214286"/>
                    </a:lnTo>
                    <a:lnTo>
                      <a:pt x="108674" y="193237"/>
                    </a:lnTo>
                    <a:lnTo>
                      <a:pt x="102037" y="175426"/>
                    </a:lnTo>
                    <a:lnTo>
                      <a:pt x="116418" y="152218"/>
                    </a:lnTo>
                    <a:lnTo>
                      <a:pt x="139094" y="133868"/>
                    </a:lnTo>
                    <a:lnTo>
                      <a:pt x="155134" y="129010"/>
                    </a:lnTo>
                    <a:lnTo>
                      <a:pt x="163984" y="105802"/>
                    </a:lnTo>
                    <a:lnTo>
                      <a:pt x="191638" y="93928"/>
                    </a:lnTo>
                    <a:lnTo>
                      <a:pt x="213209" y="97166"/>
                    </a:lnTo>
                    <a:lnTo>
                      <a:pt x="215421" y="9015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7" name="Freeform 1059">
                <a:extLst>
                  <a:ext uri="{FF2B5EF4-FFF2-40B4-BE49-F238E27FC236}">
                    <a16:creationId xmlns:a16="http://schemas.microsoft.com/office/drawing/2014/main" id="{D2F13233-C616-4859-BC20-B8AA335F1A6F}"/>
                  </a:ext>
                </a:extLst>
              </p:cNvPr>
              <p:cNvSpPr/>
              <p:nvPr/>
            </p:nvSpPr>
            <p:spPr>
              <a:xfrm>
                <a:off x="3666633" y="4716705"/>
                <a:ext cx="1269538" cy="899735"/>
              </a:xfrm>
              <a:custGeom>
                <a:avLst/>
                <a:gdLst>
                  <a:gd name="connsiteX0" fmla="*/ 1060049 w 1269538"/>
                  <a:gd name="connsiteY0" fmla="*/ 548936 h 899735"/>
                  <a:gd name="connsiteX1" fmla="*/ 1067239 w 1269538"/>
                  <a:gd name="connsiteY1" fmla="*/ 588336 h 899735"/>
                  <a:gd name="connsiteX2" fmla="*/ 1052306 w 1269538"/>
                  <a:gd name="connsiteY2" fmla="*/ 589955 h 899735"/>
                  <a:gd name="connsiteX3" fmla="*/ 1047881 w 1269538"/>
                  <a:gd name="connsiteY3" fmla="*/ 593194 h 899735"/>
                  <a:gd name="connsiteX4" fmla="*/ 1020226 w 1269538"/>
                  <a:gd name="connsiteY4" fmla="*/ 604528 h 899735"/>
                  <a:gd name="connsiteX5" fmla="*/ 985382 w 1269538"/>
                  <a:gd name="connsiteY5" fmla="*/ 585098 h 899735"/>
                  <a:gd name="connsiteX6" fmla="*/ 971001 w 1269538"/>
                  <a:gd name="connsiteY6" fmla="*/ 584018 h 899735"/>
                  <a:gd name="connsiteX7" fmla="*/ 957727 w 1269538"/>
                  <a:gd name="connsiteY7" fmla="*/ 577002 h 899735"/>
                  <a:gd name="connsiteX8" fmla="*/ 942240 w 1269538"/>
                  <a:gd name="connsiteY8" fmla="*/ 576462 h 899735"/>
                  <a:gd name="connsiteX9" fmla="*/ 914033 w 1269538"/>
                  <a:gd name="connsiteY9" fmla="*/ 581859 h 899735"/>
                  <a:gd name="connsiteX10" fmla="*/ 910714 w 1269538"/>
                  <a:gd name="connsiteY10" fmla="*/ 573764 h 899735"/>
                  <a:gd name="connsiteX11" fmla="*/ 912373 w 1269538"/>
                  <a:gd name="connsiteY11" fmla="*/ 563509 h 899735"/>
                  <a:gd name="connsiteX12" fmla="*/ 934497 w 1269538"/>
                  <a:gd name="connsiteY12" fmla="*/ 542460 h 899735"/>
                  <a:gd name="connsiteX13" fmla="*/ 939475 w 1269538"/>
                  <a:gd name="connsiteY13" fmla="*/ 530586 h 899735"/>
                  <a:gd name="connsiteX14" fmla="*/ 948877 w 1269538"/>
                  <a:gd name="connsiteY14" fmla="*/ 485249 h 899735"/>
                  <a:gd name="connsiteX15" fmla="*/ 943900 w 1269538"/>
                  <a:gd name="connsiteY15" fmla="*/ 471216 h 899735"/>
                  <a:gd name="connsiteX16" fmla="*/ 953855 w 1269538"/>
                  <a:gd name="connsiteY16" fmla="*/ 452326 h 899735"/>
                  <a:gd name="connsiteX17" fmla="*/ 958833 w 1269538"/>
                  <a:gd name="connsiteY17" fmla="*/ 423181 h 899735"/>
                  <a:gd name="connsiteX18" fmla="*/ 980404 w 1269538"/>
                  <a:gd name="connsiteY18" fmla="*/ 423721 h 899735"/>
                  <a:gd name="connsiteX19" fmla="*/ 972107 w 1269538"/>
                  <a:gd name="connsiteY19" fmla="*/ 408608 h 899735"/>
                  <a:gd name="connsiteX20" fmla="*/ 962705 w 1269538"/>
                  <a:gd name="connsiteY20" fmla="*/ 409688 h 899735"/>
                  <a:gd name="connsiteX21" fmla="*/ 951090 w 1269538"/>
                  <a:gd name="connsiteY21" fmla="*/ 405910 h 899735"/>
                  <a:gd name="connsiteX22" fmla="*/ 926201 w 1269538"/>
                  <a:gd name="connsiteY22" fmla="*/ 412926 h 899735"/>
                  <a:gd name="connsiteX23" fmla="*/ 925095 w 1269538"/>
                  <a:gd name="connsiteY23" fmla="*/ 411307 h 899735"/>
                  <a:gd name="connsiteX24" fmla="*/ 923988 w 1269538"/>
                  <a:gd name="connsiteY24" fmla="*/ 393496 h 899735"/>
                  <a:gd name="connsiteX25" fmla="*/ 921223 w 1269538"/>
                  <a:gd name="connsiteY25" fmla="*/ 391337 h 899735"/>
                  <a:gd name="connsiteX26" fmla="*/ 921776 w 1269538"/>
                  <a:gd name="connsiteY26" fmla="*/ 389718 h 899735"/>
                  <a:gd name="connsiteX27" fmla="*/ 943900 w 1269538"/>
                  <a:gd name="connsiteY27" fmla="*/ 385400 h 899735"/>
                  <a:gd name="connsiteX28" fmla="*/ 958280 w 1269538"/>
                  <a:gd name="connsiteY28" fmla="*/ 378384 h 899735"/>
                  <a:gd name="connsiteX29" fmla="*/ 959386 w 1269538"/>
                  <a:gd name="connsiteY29" fmla="*/ 358414 h 899735"/>
                  <a:gd name="connsiteX30" fmla="*/ 982063 w 1269538"/>
                  <a:gd name="connsiteY30" fmla="*/ 345461 h 899735"/>
                  <a:gd name="connsiteX31" fmla="*/ 980404 w 1269538"/>
                  <a:gd name="connsiteY31" fmla="*/ 343841 h 899735"/>
                  <a:gd name="connsiteX32" fmla="*/ 937816 w 1269538"/>
                  <a:gd name="connsiteY32" fmla="*/ 372447 h 899735"/>
                  <a:gd name="connsiteX33" fmla="*/ 926201 w 1269538"/>
                  <a:gd name="connsiteY33" fmla="*/ 376765 h 899735"/>
                  <a:gd name="connsiteX34" fmla="*/ 914586 w 1269538"/>
                  <a:gd name="connsiteY34" fmla="*/ 375145 h 899735"/>
                  <a:gd name="connsiteX35" fmla="*/ 922882 w 1269538"/>
                  <a:gd name="connsiteY35" fmla="*/ 335746 h 899735"/>
                  <a:gd name="connsiteX36" fmla="*/ 928413 w 1269538"/>
                  <a:gd name="connsiteY36" fmla="*/ 313077 h 899735"/>
                  <a:gd name="connsiteX37" fmla="*/ 929519 w 1269538"/>
                  <a:gd name="connsiteY37" fmla="*/ 301203 h 899735"/>
                  <a:gd name="connsiteX38" fmla="*/ 946112 w 1269538"/>
                  <a:gd name="connsiteY38" fmla="*/ 297965 h 899735"/>
                  <a:gd name="connsiteX39" fmla="*/ 949984 w 1269538"/>
                  <a:gd name="connsiteY39" fmla="*/ 294187 h 899735"/>
                  <a:gd name="connsiteX40" fmla="*/ 962705 w 1269538"/>
                  <a:gd name="connsiteY40" fmla="*/ 273138 h 899735"/>
                  <a:gd name="connsiteX41" fmla="*/ 971554 w 1269538"/>
                  <a:gd name="connsiteY41" fmla="*/ 263423 h 899735"/>
                  <a:gd name="connsiteX42" fmla="*/ 989253 w 1269538"/>
                  <a:gd name="connsiteY42" fmla="*/ 232658 h 899735"/>
                  <a:gd name="connsiteX43" fmla="*/ 1003634 w 1269538"/>
                  <a:gd name="connsiteY43" fmla="*/ 227261 h 899735"/>
                  <a:gd name="connsiteX44" fmla="*/ 1004740 w 1269538"/>
                  <a:gd name="connsiteY44" fmla="*/ 221864 h 899735"/>
                  <a:gd name="connsiteX45" fmla="*/ 996443 w 1269538"/>
                  <a:gd name="connsiteY45" fmla="*/ 212689 h 899735"/>
                  <a:gd name="connsiteX46" fmla="*/ 998656 w 1269538"/>
                  <a:gd name="connsiteY46" fmla="*/ 201355 h 899735"/>
                  <a:gd name="connsiteX47" fmla="*/ 1001421 w 1269538"/>
                  <a:gd name="connsiteY47" fmla="*/ 198656 h 899735"/>
                  <a:gd name="connsiteX48" fmla="*/ 1004187 w 1269538"/>
                  <a:gd name="connsiteY48" fmla="*/ 192179 h 899735"/>
                  <a:gd name="connsiteX49" fmla="*/ 1018567 w 1269538"/>
                  <a:gd name="connsiteY49" fmla="*/ 168971 h 899735"/>
                  <a:gd name="connsiteX50" fmla="*/ 1034054 w 1269538"/>
                  <a:gd name="connsiteY50" fmla="*/ 160336 h 899735"/>
                  <a:gd name="connsiteX51" fmla="*/ 1036819 w 1269538"/>
                  <a:gd name="connsiteY51" fmla="*/ 147922 h 899735"/>
                  <a:gd name="connsiteX52" fmla="*/ 1039031 w 1269538"/>
                  <a:gd name="connsiteY52" fmla="*/ 144144 h 899735"/>
                  <a:gd name="connsiteX53" fmla="*/ 1037372 w 1269538"/>
                  <a:gd name="connsiteY53" fmla="*/ 141445 h 899735"/>
                  <a:gd name="connsiteX54" fmla="*/ 1022992 w 1269538"/>
                  <a:gd name="connsiteY54" fmla="*/ 156557 h 899735"/>
                  <a:gd name="connsiteX55" fmla="*/ 1032947 w 1269538"/>
                  <a:gd name="connsiteY55" fmla="*/ 136048 h 899735"/>
                  <a:gd name="connsiteX56" fmla="*/ 1036266 w 1269538"/>
                  <a:gd name="connsiteY56" fmla="*/ 126873 h 899735"/>
                  <a:gd name="connsiteX57" fmla="*/ 1040138 w 1269538"/>
                  <a:gd name="connsiteY57" fmla="*/ 110141 h 899735"/>
                  <a:gd name="connsiteX58" fmla="*/ 1034054 w 1269538"/>
                  <a:gd name="connsiteY58" fmla="*/ 87473 h 899735"/>
                  <a:gd name="connsiteX59" fmla="*/ 1037372 w 1269538"/>
                  <a:gd name="connsiteY59" fmla="*/ 55629 h 899735"/>
                  <a:gd name="connsiteX60" fmla="*/ 1035160 w 1269538"/>
                  <a:gd name="connsiteY60" fmla="*/ 28103 h 899735"/>
                  <a:gd name="connsiteX61" fmla="*/ 1052859 w 1269538"/>
                  <a:gd name="connsiteY61" fmla="*/ 12991 h 899735"/>
                  <a:gd name="connsiteX62" fmla="*/ 1100978 w 1269538"/>
                  <a:gd name="connsiteY62" fmla="*/ -502 h 899735"/>
                  <a:gd name="connsiteX63" fmla="*/ 1107615 w 1269538"/>
                  <a:gd name="connsiteY63" fmla="*/ 13531 h 899735"/>
                  <a:gd name="connsiteX64" fmla="*/ 1096000 w 1269538"/>
                  <a:gd name="connsiteY64" fmla="*/ 29723 h 899735"/>
                  <a:gd name="connsiteX65" fmla="*/ 1103190 w 1269538"/>
                  <a:gd name="connsiteY65" fmla="*/ 39977 h 899735"/>
                  <a:gd name="connsiteX66" fmla="*/ 1111487 w 1269538"/>
                  <a:gd name="connsiteY66" fmla="*/ 41057 h 899735"/>
                  <a:gd name="connsiteX67" fmla="*/ 1125867 w 1269538"/>
                  <a:gd name="connsiteY67" fmla="*/ 30802 h 899735"/>
                  <a:gd name="connsiteX68" fmla="*/ 1126420 w 1269538"/>
                  <a:gd name="connsiteY68" fmla="*/ 39438 h 899735"/>
                  <a:gd name="connsiteX69" fmla="*/ 1140247 w 1269538"/>
                  <a:gd name="connsiteY69" fmla="*/ 36739 h 899735"/>
                  <a:gd name="connsiteX70" fmla="*/ 1159052 w 1269538"/>
                  <a:gd name="connsiteY70" fmla="*/ 45374 h 899735"/>
                  <a:gd name="connsiteX71" fmla="*/ 1165690 w 1269538"/>
                  <a:gd name="connsiteY71" fmla="*/ 52931 h 899735"/>
                  <a:gd name="connsiteX72" fmla="*/ 1187260 w 1269538"/>
                  <a:gd name="connsiteY72" fmla="*/ 45914 h 899735"/>
                  <a:gd name="connsiteX73" fmla="*/ 1192238 w 1269538"/>
                  <a:gd name="connsiteY73" fmla="*/ 40517 h 899735"/>
                  <a:gd name="connsiteX74" fmla="*/ 1204959 w 1269538"/>
                  <a:gd name="connsiteY74" fmla="*/ 43755 h 899735"/>
                  <a:gd name="connsiteX75" fmla="*/ 1212702 w 1269538"/>
                  <a:gd name="connsiteY75" fmla="*/ 45374 h 899735"/>
                  <a:gd name="connsiteX76" fmla="*/ 1225977 w 1269538"/>
                  <a:gd name="connsiteY76" fmla="*/ 43755 h 899735"/>
                  <a:gd name="connsiteX77" fmla="*/ 1231508 w 1269538"/>
                  <a:gd name="connsiteY77" fmla="*/ 51311 h 899735"/>
                  <a:gd name="connsiteX78" fmla="*/ 1248100 w 1269538"/>
                  <a:gd name="connsiteY78" fmla="*/ 55629 h 899735"/>
                  <a:gd name="connsiteX79" fmla="*/ 1244782 w 1269538"/>
                  <a:gd name="connsiteY79" fmla="*/ 85314 h 899735"/>
                  <a:gd name="connsiteX80" fmla="*/ 1265246 w 1269538"/>
                  <a:gd name="connsiteY80" fmla="*/ 90172 h 899735"/>
                  <a:gd name="connsiteX81" fmla="*/ 1269118 w 1269538"/>
                  <a:gd name="connsiteY81" fmla="*/ 115539 h 899735"/>
                  <a:gd name="connsiteX82" fmla="*/ 1244229 w 1269538"/>
                  <a:gd name="connsiteY82" fmla="*/ 136588 h 899735"/>
                  <a:gd name="connsiteX83" fmla="*/ 1219893 w 1269538"/>
                  <a:gd name="connsiteY83" fmla="*/ 142525 h 899735"/>
                  <a:gd name="connsiteX84" fmla="*/ 1200534 w 1269538"/>
                  <a:gd name="connsiteY84" fmla="*/ 160875 h 899735"/>
                  <a:gd name="connsiteX85" fmla="*/ 1192238 w 1269538"/>
                  <a:gd name="connsiteY85" fmla="*/ 160336 h 899735"/>
                  <a:gd name="connsiteX86" fmla="*/ 1202194 w 1269538"/>
                  <a:gd name="connsiteY86" fmla="*/ 177607 h 899735"/>
                  <a:gd name="connsiteX87" fmla="*/ 1192791 w 1269538"/>
                  <a:gd name="connsiteY87" fmla="*/ 206752 h 899735"/>
                  <a:gd name="connsiteX88" fmla="*/ 1196663 w 1269538"/>
                  <a:gd name="connsiteY88" fmla="*/ 214848 h 899735"/>
                  <a:gd name="connsiteX89" fmla="*/ 1189473 w 1269538"/>
                  <a:gd name="connsiteY89" fmla="*/ 221324 h 899735"/>
                  <a:gd name="connsiteX90" fmla="*/ 1191132 w 1269538"/>
                  <a:gd name="connsiteY90" fmla="*/ 233198 h 899735"/>
                  <a:gd name="connsiteX91" fmla="*/ 1180623 w 1269538"/>
                  <a:gd name="connsiteY91" fmla="*/ 239135 h 899735"/>
                  <a:gd name="connsiteX92" fmla="*/ 1167902 w 1269538"/>
                  <a:gd name="connsiteY92" fmla="*/ 247231 h 899735"/>
                  <a:gd name="connsiteX93" fmla="*/ 1166243 w 1269538"/>
                  <a:gd name="connsiteY93" fmla="*/ 256406 h 899735"/>
                  <a:gd name="connsiteX94" fmla="*/ 1172327 w 1269538"/>
                  <a:gd name="connsiteY94" fmla="*/ 260724 h 899735"/>
                  <a:gd name="connsiteX95" fmla="*/ 1175645 w 1269538"/>
                  <a:gd name="connsiteY95" fmla="*/ 272058 h 899735"/>
                  <a:gd name="connsiteX96" fmla="*/ 1161818 w 1269538"/>
                  <a:gd name="connsiteY96" fmla="*/ 293647 h 899735"/>
                  <a:gd name="connsiteX97" fmla="*/ 1154628 w 1269538"/>
                  <a:gd name="connsiteY97" fmla="*/ 313077 h 899735"/>
                  <a:gd name="connsiteX98" fmla="*/ 1145778 w 1269538"/>
                  <a:gd name="connsiteY98" fmla="*/ 315236 h 899735"/>
                  <a:gd name="connsiteX99" fmla="*/ 1113146 w 1269538"/>
                  <a:gd name="connsiteY99" fmla="*/ 298505 h 899735"/>
                  <a:gd name="connsiteX100" fmla="*/ 1111487 w 1269538"/>
                  <a:gd name="connsiteY100" fmla="*/ 310918 h 899735"/>
                  <a:gd name="connsiteX101" fmla="*/ 1123102 w 1269538"/>
                  <a:gd name="connsiteY101" fmla="*/ 326570 h 899735"/>
                  <a:gd name="connsiteX102" fmla="*/ 1120336 w 1269538"/>
                  <a:gd name="connsiteY102" fmla="*/ 338984 h 899735"/>
                  <a:gd name="connsiteX103" fmla="*/ 1128079 w 1269538"/>
                  <a:gd name="connsiteY103" fmla="*/ 368669 h 899735"/>
                  <a:gd name="connsiteX104" fmla="*/ 1143013 w 1269538"/>
                  <a:gd name="connsiteY104" fmla="*/ 377844 h 899735"/>
                  <a:gd name="connsiteX105" fmla="*/ 1127526 w 1269538"/>
                  <a:gd name="connsiteY105" fmla="*/ 410227 h 899735"/>
                  <a:gd name="connsiteX106" fmla="*/ 1112593 w 1269538"/>
                  <a:gd name="connsiteY106" fmla="*/ 417244 h 899735"/>
                  <a:gd name="connsiteX107" fmla="*/ 1105403 w 1269538"/>
                  <a:gd name="connsiteY107" fmla="*/ 442071 h 899735"/>
                  <a:gd name="connsiteX108" fmla="*/ 1100425 w 1269538"/>
                  <a:gd name="connsiteY108" fmla="*/ 448008 h 899735"/>
                  <a:gd name="connsiteX109" fmla="*/ 1117018 w 1269538"/>
                  <a:gd name="connsiteY109" fmla="*/ 480391 h 899735"/>
                  <a:gd name="connsiteX110" fmla="*/ 1126420 w 1269538"/>
                  <a:gd name="connsiteY110" fmla="*/ 478772 h 899735"/>
                  <a:gd name="connsiteX111" fmla="*/ 1130292 w 1269538"/>
                  <a:gd name="connsiteY111" fmla="*/ 482550 h 899735"/>
                  <a:gd name="connsiteX112" fmla="*/ 1123102 w 1269538"/>
                  <a:gd name="connsiteY112" fmla="*/ 499282 h 899735"/>
                  <a:gd name="connsiteX113" fmla="*/ 1110380 w 1269538"/>
                  <a:gd name="connsiteY113" fmla="*/ 496043 h 899735"/>
                  <a:gd name="connsiteX114" fmla="*/ 1099872 w 1269538"/>
                  <a:gd name="connsiteY114" fmla="*/ 501441 h 899735"/>
                  <a:gd name="connsiteX115" fmla="*/ 1095447 w 1269538"/>
                  <a:gd name="connsiteY115" fmla="*/ 511695 h 899735"/>
                  <a:gd name="connsiteX116" fmla="*/ 1060049 w 1269538"/>
                  <a:gd name="connsiteY116" fmla="*/ 548936 h 899735"/>
                  <a:gd name="connsiteX117" fmla="*/ 50103 w 1269538"/>
                  <a:gd name="connsiteY117" fmla="*/ 885184 h 899735"/>
                  <a:gd name="connsiteX118" fmla="*/ 32957 w 1269538"/>
                  <a:gd name="connsiteY118" fmla="*/ 877088 h 899735"/>
                  <a:gd name="connsiteX119" fmla="*/ 20236 w 1269538"/>
                  <a:gd name="connsiteY119" fmla="*/ 873310 h 899735"/>
                  <a:gd name="connsiteX120" fmla="*/ 14152 w 1269538"/>
                  <a:gd name="connsiteY120" fmla="*/ 865754 h 899735"/>
                  <a:gd name="connsiteX121" fmla="*/ 2537 w 1269538"/>
                  <a:gd name="connsiteY121" fmla="*/ 866294 h 899735"/>
                  <a:gd name="connsiteX122" fmla="*/ -228 w 1269538"/>
                  <a:gd name="connsiteY122" fmla="*/ 876548 h 899735"/>
                  <a:gd name="connsiteX123" fmla="*/ 3643 w 1269538"/>
                  <a:gd name="connsiteY123" fmla="*/ 884644 h 899735"/>
                  <a:gd name="connsiteX124" fmla="*/ 34063 w 1269538"/>
                  <a:gd name="connsiteY124" fmla="*/ 899217 h 899735"/>
                  <a:gd name="connsiteX125" fmla="*/ 43466 w 1269538"/>
                  <a:gd name="connsiteY125" fmla="*/ 893280 h 899735"/>
                  <a:gd name="connsiteX126" fmla="*/ 53975 w 1269538"/>
                  <a:gd name="connsiteY126" fmla="*/ 887343 h 899735"/>
                  <a:gd name="connsiteX127" fmla="*/ 50103 w 1269538"/>
                  <a:gd name="connsiteY127" fmla="*/ 885184 h 899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1269538" h="899735">
                    <a:moveTo>
                      <a:pt x="1060049" y="548936"/>
                    </a:moveTo>
                    <a:cubicBezTo>
                      <a:pt x="1065027" y="561890"/>
                      <a:pt x="1066133" y="574843"/>
                      <a:pt x="1067239" y="588336"/>
                    </a:cubicBezTo>
                    <a:cubicBezTo>
                      <a:pt x="1064474" y="588336"/>
                      <a:pt x="1054518" y="589416"/>
                      <a:pt x="1052306" y="589955"/>
                    </a:cubicBezTo>
                    <a:cubicBezTo>
                      <a:pt x="1050646" y="590495"/>
                      <a:pt x="1048987" y="592114"/>
                      <a:pt x="1047881" y="593194"/>
                    </a:cubicBezTo>
                    <a:cubicBezTo>
                      <a:pt x="1044562" y="594813"/>
                      <a:pt x="1022992" y="605068"/>
                      <a:pt x="1020226" y="604528"/>
                    </a:cubicBezTo>
                    <a:cubicBezTo>
                      <a:pt x="1004187" y="603988"/>
                      <a:pt x="998103" y="588336"/>
                      <a:pt x="985382" y="585098"/>
                    </a:cubicBezTo>
                    <a:cubicBezTo>
                      <a:pt x="980957" y="584018"/>
                      <a:pt x="975426" y="585098"/>
                      <a:pt x="971001" y="584018"/>
                    </a:cubicBezTo>
                    <a:cubicBezTo>
                      <a:pt x="966023" y="582399"/>
                      <a:pt x="962705" y="578621"/>
                      <a:pt x="957727" y="577002"/>
                    </a:cubicBezTo>
                    <a:cubicBezTo>
                      <a:pt x="954962" y="576462"/>
                      <a:pt x="945559" y="575923"/>
                      <a:pt x="942240" y="576462"/>
                    </a:cubicBezTo>
                    <a:cubicBezTo>
                      <a:pt x="935050" y="578081"/>
                      <a:pt x="921223" y="587796"/>
                      <a:pt x="914033" y="581859"/>
                    </a:cubicBezTo>
                    <a:cubicBezTo>
                      <a:pt x="912927" y="580240"/>
                      <a:pt x="910714" y="575383"/>
                      <a:pt x="910714" y="573764"/>
                    </a:cubicBezTo>
                    <a:cubicBezTo>
                      <a:pt x="910161" y="571605"/>
                      <a:pt x="911820" y="565668"/>
                      <a:pt x="912373" y="563509"/>
                    </a:cubicBezTo>
                    <a:cubicBezTo>
                      <a:pt x="916245" y="553794"/>
                      <a:pt x="927860" y="550016"/>
                      <a:pt x="934497" y="542460"/>
                    </a:cubicBezTo>
                    <a:cubicBezTo>
                      <a:pt x="936156" y="540301"/>
                      <a:pt x="938922" y="533284"/>
                      <a:pt x="939475" y="530586"/>
                    </a:cubicBezTo>
                    <a:cubicBezTo>
                      <a:pt x="941134" y="524109"/>
                      <a:pt x="949431" y="489567"/>
                      <a:pt x="948877" y="485249"/>
                    </a:cubicBezTo>
                    <a:cubicBezTo>
                      <a:pt x="947771" y="480931"/>
                      <a:pt x="943900" y="476074"/>
                      <a:pt x="943900" y="471216"/>
                    </a:cubicBezTo>
                    <a:cubicBezTo>
                      <a:pt x="943347" y="468518"/>
                      <a:pt x="952196" y="456644"/>
                      <a:pt x="953855" y="452326"/>
                    </a:cubicBezTo>
                    <a:cubicBezTo>
                      <a:pt x="959939" y="436134"/>
                      <a:pt x="957727" y="423721"/>
                      <a:pt x="958833" y="423181"/>
                    </a:cubicBezTo>
                    <a:cubicBezTo>
                      <a:pt x="961046" y="421562"/>
                      <a:pt x="977085" y="427499"/>
                      <a:pt x="980404" y="423721"/>
                    </a:cubicBezTo>
                    <a:cubicBezTo>
                      <a:pt x="979851" y="416704"/>
                      <a:pt x="971001" y="419403"/>
                      <a:pt x="972107" y="408608"/>
                    </a:cubicBezTo>
                    <a:cubicBezTo>
                      <a:pt x="969895" y="399973"/>
                      <a:pt x="964364" y="409688"/>
                      <a:pt x="962705" y="409688"/>
                    </a:cubicBezTo>
                    <a:cubicBezTo>
                      <a:pt x="960492" y="409688"/>
                      <a:pt x="953855" y="405370"/>
                      <a:pt x="951090" y="405910"/>
                    </a:cubicBezTo>
                    <a:cubicBezTo>
                      <a:pt x="941687" y="406989"/>
                      <a:pt x="936709" y="416704"/>
                      <a:pt x="926201" y="412926"/>
                    </a:cubicBezTo>
                    <a:lnTo>
                      <a:pt x="925095" y="411307"/>
                    </a:lnTo>
                    <a:cubicBezTo>
                      <a:pt x="925095" y="405370"/>
                      <a:pt x="927860" y="398354"/>
                      <a:pt x="923988" y="393496"/>
                    </a:cubicBezTo>
                    <a:cubicBezTo>
                      <a:pt x="923435" y="392417"/>
                      <a:pt x="922329" y="392417"/>
                      <a:pt x="921223" y="391337"/>
                    </a:cubicBezTo>
                    <a:lnTo>
                      <a:pt x="921776" y="389718"/>
                    </a:lnTo>
                    <a:cubicBezTo>
                      <a:pt x="928413" y="381622"/>
                      <a:pt x="936156" y="387019"/>
                      <a:pt x="943900" y="385400"/>
                    </a:cubicBezTo>
                    <a:cubicBezTo>
                      <a:pt x="947218" y="384860"/>
                      <a:pt x="956621" y="381082"/>
                      <a:pt x="958280" y="378384"/>
                    </a:cubicBezTo>
                    <a:cubicBezTo>
                      <a:pt x="961046" y="373526"/>
                      <a:pt x="957727" y="363272"/>
                      <a:pt x="959386" y="358414"/>
                    </a:cubicBezTo>
                    <a:cubicBezTo>
                      <a:pt x="962152" y="350858"/>
                      <a:pt x="982616" y="355715"/>
                      <a:pt x="982063" y="345461"/>
                    </a:cubicBezTo>
                    <a:lnTo>
                      <a:pt x="980404" y="343841"/>
                    </a:lnTo>
                    <a:cubicBezTo>
                      <a:pt x="941687" y="340603"/>
                      <a:pt x="948324" y="367050"/>
                      <a:pt x="937816" y="372447"/>
                    </a:cubicBezTo>
                    <a:cubicBezTo>
                      <a:pt x="935603" y="373526"/>
                      <a:pt x="928413" y="376765"/>
                      <a:pt x="926201" y="376765"/>
                    </a:cubicBezTo>
                    <a:cubicBezTo>
                      <a:pt x="923988" y="377304"/>
                      <a:pt x="916798" y="376225"/>
                      <a:pt x="914586" y="375145"/>
                    </a:cubicBezTo>
                    <a:cubicBezTo>
                      <a:pt x="899652" y="370828"/>
                      <a:pt x="920117" y="344381"/>
                      <a:pt x="922882" y="335746"/>
                    </a:cubicBezTo>
                    <a:cubicBezTo>
                      <a:pt x="925648" y="328729"/>
                      <a:pt x="926754" y="320633"/>
                      <a:pt x="928413" y="313077"/>
                    </a:cubicBezTo>
                    <a:cubicBezTo>
                      <a:pt x="928966" y="310918"/>
                      <a:pt x="928966" y="302283"/>
                      <a:pt x="929519" y="301203"/>
                    </a:cubicBezTo>
                    <a:cubicBezTo>
                      <a:pt x="930625" y="298505"/>
                      <a:pt x="942793" y="299584"/>
                      <a:pt x="946112" y="297965"/>
                    </a:cubicBezTo>
                    <a:cubicBezTo>
                      <a:pt x="947218" y="297425"/>
                      <a:pt x="948877" y="295266"/>
                      <a:pt x="949984" y="294187"/>
                    </a:cubicBezTo>
                    <a:cubicBezTo>
                      <a:pt x="951643" y="291488"/>
                      <a:pt x="962152" y="273677"/>
                      <a:pt x="962705" y="273138"/>
                    </a:cubicBezTo>
                    <a:cubicBezTo>
                      <a:pt x="966023" y="270439"/>
                      <a:pt x="968789" y="266661"/>
                      <a:pt x="971554" y="263423"/>
                    </a:cubicBezTo>
                    <a:cubicBezTo>
                      <a:pt x="979298" y="254787"/>
                      <a:pt x="982616" y="242373"/>
                      <a:pt x="989253" y="232658"/>
                    </a:cubicBezTo>
                    <a:cubicBezTo>
                      <a:pt x="994784" y="224563"/>
                      <a:pt x="1000868" y="229420"/>
                      <a:pt x="1003634" y="227261"/>
                    </a:cubicBezTo>
                    <a:cubicBezTo>
                      <a:pt x="1004740" y="226182"/>
                      <a:pt x="1004740" y="222943"/>
                      <a:pt x="1004740" y="221864"/>
                    </a:cubicBezTo>
                    <a:cubicBezTo>
                      <a:pt x="1004740" y="216467"/>
                      <a:pt x="998103" y="217006"/>
                      <a:pt x="996443" y="212689"/>
                    </a:cubicBezTo>
                    <a:cubicBezTo>
                      <a:pt x="996443" y="210530"/>
                      <a:pt x="998103" y="202434"/>
                      <a:pt x="998656" y="201355"/>
                    </a:cubicBezTo>
                    <a:cubicBezTo>
                      <a:pt x="999209" y="199735"/>
                      <a:pt x="1000868" y="199735"/>
                      <a:pt x="1001421" y="198656"/>
                    </a:cubicBezTo>
                    <a:cubicBezTo>
                      <a:pt x="1002527" y="196497"/>
                      <a:pt x="1003081" y="193798"/>
                      <a:pt x="1004187" y="192179"/>
                    </a:cubicBezTo>
                    <a:cubicBezTo>
                      <a:pt x="1006952" y="185703"/>
                      <a:pt x="1013036" y="172749"/>
                      <a:pt x="1018567" y="168971"/>
                    </a:cubicBezTo>
                    <a:cubicBezTo>
                      <a:pt x="1021886" y="166812"/>
                      <a:pt x="1031288" y="162494"/>
                      <a:pt x="1034054" y="160336"/>
                    </a:cubicBezTo>
                    <a:cubicBezTo>
                      <a:pt x="1035713" y="158716"/>
                      <a:pt x="1035713" y="150621"/>
                      <a:pt x="1036819" y="147922"/>
                    </a:cubicBezTo>
                    <a:cubicBezTo>
                      <a:pt x="1036819" y="146842"/>
                      <a:pt x="1038478" y="145223"/>
                      <a:pt x="1039031" y="144144"/>
                    </a:cubicBezTo>
                    <a:cubicBezTo>
                      <a:pt x="1039031" y="143604"/>
                      <a:pt x="1037925" y="141445"/>
                      <a:pt x="1037372" y="141445"/>
                    </a:cubicBezTo>
                    <a:cubicBezTo>
                      <a:pt x="1033501" y="141445"/>
                      <a:pt x="1026863" y="154399"/>
                      <a:pt x="1022992" y="156557"/>
                    </a:cubicBezTo>
                    <a:cubicBezTo>
                      <a:pt x="1015802" y="153859"/>
                      <a:pt x="1031288" y="138747"/>
                      <a:pt x="1032947" y="136048"/>
                    </a:cubicBezTo>
                    <a:cubicBezTo>
                      <a:pt x="1034607" y="133349"/>
                      <a:pt x="1035160" y="129571"/>
                      <a:pt x="1036266" y="126873"/>
                    </a:cubicBezTo>
                    <a:cubicBezTo>
                      <a:pt x="1037372" y="121475"/>
                      <a:pt x="1039031" y="115539"/>
                      <a:pt x="1040138" y="110141"/>
                    </a:cubicBezTo>
                    <a:cubicBezTo>
                      <a:pt x="1037372" y="102585"/>
                      <a:pt x="1033501" y="96108"/>
                      <a:pt x="1034054" y="87473"/>
                    </a:cubicBezTo>
                    <a:cubicBezTo>
                      <a:pt x="1034607" y="77218"/>
                      <a:pt x="1037372" y="66424"/>
                      <a:pt x="1037372" y="55629"/>
                    </a:cubicBezTo>
                    <a:cubicBezTo>
                      <a:pt x="1037925" y="48613"/>
                      <a:pt x="1031288" y="33501"/>
                      <a:pt x="1035160" y="28103"/>
                    </a:cubicBezTo>
                    <a:cubicBezTo>
                      <a:pt x="1038478" y="22706"/>
                      <a:pt x="1047881" y="20007"/>
                      <a:pt x="1052859" y="12991"/>
                    </a:cubicBezTo>
                    <a:cubicBezTo>
                      <a:pt x="1073323" y="-6439"/>
                      <a:pt x="1092681" y="5435"/>
                      <a:pt x="1100978" y="-502"/>
                    </a:cubicBezTo>
                    <a:lnTo>
                      <a:pt x="1107615" y="13531"/>
                    </a:lnTo>
                    <a:lnTo>
                      <a:pt x="1096000" y="29723"/>
                    </a:lnTo>
                    <a:lnTo>
                      <a:pt x="1103190" y="39977"/>
                    </a:lnTo>
                    <a:lnTo>
                      <a:pt x="1111487" y="41057"/>
                    </a:lnTo>
                    <a:lnTo>
                      <a:pt x="1125867" y="30802"/>
                    </a:lnTo>
                    <a:lnTo>
                      <a:pt x="1126420" y="39438"/>
                    </a:lnTo>
                    <a:lnTo>
                      <a:pt x="1140247" y="36739"/>
                    </a:lnTo>
                    <a:lnTo>
                      <a:pt x="1159052" y="45374"/>
                    </a:lnTo>
                    <a:lnTo>
                      <a:pt x="1165690" y="52931"/>
                    </a:lnTo>
                    <a:lnTo>
                      <a:pt x="1187260" y="45914"/>
                    </a:lnTo>
                    <a:lnTo>
                      <a:pt x="1192238" y="40517"/>
                    </a:lnTo>
                    <a:lnTo>
                      <a:pt x="1204959" y="43755"/>
                    </a:lnTo>
                    <a:lnTo>
                      <a:pt x="1212702" y="45374"/>
                    </a:lnTo>
                    <a:lnTo>
                      <a:pt x="1225977" y="43755"/>
                    </a:lnTo>
                    <a:lnTo>
                      <a:pt x="1231508" y="51311"/>
                    </a:lnTo>
                    <a:lnTo>
                      <a:pt x="1248100" y="55629"/>
                    </a:lnTo>
                    <a:lnTo>
                      <a:pt x="1244782" y="85314"/>
                    </a:lnTo>
                    <a:lnTo>
                      <a:pt x="1265246" y="90172"/>
                    </a:lnTo>
                    <a:lnTo>
                      <a:pt x="1269118" y="115539"/>
                    </a:lnTo>
                    <a:cubicBezTo>
                      <a:pt x="1258056" y="119856"/>
                      <a:pt x="1250313" y="133889"/>
                      <a:pt x="1244229" y="136588"/>
                    </a:cubicBezTo>
                    <a:cubicBezTo>
                      <a:pt x="1236485" y="139286"/>
                      <a:pt x="1227636" y="138747"/>
                      <a:pt x="1219893" y="142525"/>
                    </a:cubicBezTo>
                    <a:cubicBezTo>
                      <a:pt x="1212702" y="145763"/>
                      <a:pt x="1205512" y="160336"/>
                      <a:pt x="1200534" y="160875"/>
                    </a:cubicBezTo>
                    <a:cubicBezTo>
                      <a:pt x="1197769" y="161415"/>
                      <a:pt x="1194450" y="160336"/>
                      <a:pt x="1192238" y="160336"/>
                    </a:cubicBezTo>
                    <a:lnTo>
                      <a:pt x="1202194" y="177607"/>
                    </a:lnTo>
                    <a:lnTo>
                      <a:pt x="1192791" y="206752"/>
                    </a:lnTo>
                    <a:lnTo>
                      <a:pt x="1196663" y="214848"/>
                    </a:lnTo>
                    <a:lnTo>
                      <a:pt x="1189473" y="221324"/>
                    </a:lnTo>
                    <a:lnTo>
                      <a:pt x="1191132" y="233198"/>
                    </a:lnTo>
                    <a:lnTo>
                      <a:pt x="1180623" y="239135"/>
                    </a:lnTo>
                    <a:lnTo>
                      <a:pt x="1167902" y="247231"/>
                    </a:lnTo>
                    <a:lnTo>
                      <a:pt x="1166243" y="256406"/>
                    </a:lnTo>
                    <a:lnTo>
                      <a:pt x="1172327" y="260724"/>
                    </a:lnTo>
                    <a:lnTo>
                      <a:pt x="1175645" y="272058"/>
                    </a:lnTo>
                    <a:lnTo>
                      <a:pt x="1161818" y="293647"/>
                    </a:lnTo>
                    <a:lnTo>
                      <a:pt x="1154628" y="313077"/>
                    </a:lnTo>
                    <a:cubicBezTo>
                      <a:pt x="1151862" y="313617"/>
                      <a:pt x="1148544" y="315236"/>
                      <a:pt x="1145778" y="315236"/>
                    </a:cubicBezTo>
                    <a:cubicBezTo>
                      <a:pt x="1128079" y="314696"/>
                      <a:pt x="1128632" y="299044"/>
                      <a:pt x="1113146" y="298505"/>
                    </a:cubicBezTo>
                    <a:lnTo>
                      <a:pt x="1111487" y="310918"/>
                    </a:lnTo>
                    <a:lnTo>
                      <a:pt x="1123102" y="326570"/>
                    </a:lnTo>
                    <a:lnTo>
                      <a:pt x="1120336" y="338984"/>
                    </a:lnTo>
                    <a:lnTo>
                      <a:pt x="1128079" y="368669"/>
                    </a:lnTo>
                    <a:lnTo>
                      <a:pt x="1143013" y="377844"/>
                    </a:lnTo>
                    <a:lnTo>
                      <a:pt x="1127526" y="410227"/>
                    </a:lnTo>
                    <a:cubicBezTo>
                      <a:pt x="1122548" y="412386"/>
                      <a:pt x="1117018" y="414006"/>
                      <a:pt x="1112593" y="417244"/>
                    </a:cubicBezTo>
                    <a:cubicBezTo>
                      <a:pt x="1107062" y="421562"/>
                      <a:pt x="1107062" y="435594"/>
                      <a:pt x="1105403" y="442071"/>
                    </a:cubicBezTo>
                    <a:cubicBezTo>
                      <a:pt x="1104849" y="444770"/>
                      <a:pt x="1102637" y="446389"/>
                      <a:pt x="1100425" y="448008"/>
                    </a:cubicBezTo>
                    <a:lnTo>
                      <a:pt x="1117018" y="480391"/>
                    </a:lnTo>
                    <a:lnTo>
                      <a:pt x="1126420" y="478772"/>
                    </a:lnTo>
                    <a:lnTo>
                      <a:pt x="1130292" y="482550"/>
                    </a:lnTo>
                    <a:lnTo>
                      <a:pt x="1123102" y="499282"/>
                    </a:lnTo>
                    <a:lnTo>
                      <a:pt x="1110380" y="496043"/>
                    </a:lnTo>
                    <a:lnTo>
                      <a:pt x="1099872" y="501441"/>
                    </a:lnTo>
                    <a:lnTo>
                      <a:pt x="1095447" y="511695"/>
                    </a:lnTo>
                    <a:lnTo>
                      <a:pt x="1060049" y="548936"/>
                    </a:lnTo>
                    <a:close/>
                    <a:moveTo>
                      <a:pt x="50103" y="885184"/>
                    </a:moveTo>
                    <a:cubicBezTo>
                      <a:pt x="40700" y="885724"/>
                      <a:pt x="39594" y="879787"/>
                      <a:pt x="32957" y="877088"/>
                    </a:cubicBezTo>
                    <a:cubicBezTo>
                      <a:pt x="29085" y="875469"/>
                      <a:pt x="23555" y="875469"/>
                      <a:pt x="20236" y="873310"/>
                    </a:cubicBezTo>
                    <a:cubicBezTo>
                      <a:pt x="18024" y="872231"/>
                      <a:pt x="16364" y="867373"/>
                      <a:pt x="14152" y="865754"/>
                    </a:cubicBezTo>
                    <a:cubicBezTo>
                      <a:pt x="11386" y="863595"/>
                      <a:pt x="5302" y="864674"/>
                      <a:pt x="2537" y="866294"/>
                    </a:cubicBezTo>
                    <a:cubicBezTo>
                      <a:pt x="-228" y="868453"/>
                      <a:pt x="-782" y="873850"/>
                      <a:pt x="-228" y="876548"/>
                    </a:cubicBezTo>
                    <a:cubicBezTo>
                      <a:pt x="325" y="878168"/>
                      <a:pt x="1984" y="883565"/>
                      <a:pt x="3643" y="884644"/>
                    </a:cubicBezTo>
                    <a:cubicBezTo>
                      <a:pt x="6962" y="886803"/>
                      <a:pt x="30745" y="899756"/>
                      <a:pt x="34063" y="899217"/>
                    </a:cubicBezTo>
                    <a:cubicBezTo>
                      <a:pt x="36276" y="899217"/>
                      <a:pt x="41253" y="894359"/>
                      <a:pt x="43466" y="893280"/>
                    </a:cubicBezTo>
                    <a:cubicBezTo>
                      <a:pt x="46231" y="891661"/>
                      <a:pt x="56187" y="891661"/>
                      <a:pt x="53975" y="887343"/>
                    </a:cubicBezTo>
                    <a:cubicBezTo>
                      <a:pt x="53421" y="886803"/>
                      <a:pt x="52868" y="885184"/>
                      <a:pt x="50103" y="885184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8" name="Freeform 1060">
                <a:extLst>
                  <a:ext uri="{FF2B5EF4-FFF2-40B4-BE49-F238E27FC236}">
                    <a16:creationId xmlns:a16="http://schemas.microsoft.com/office/drawing/2014/main" id="{CB90DFCE-9819-4570-A958-3CA68E39C1CF}"/>
                  </a:ext>
                </a:extLst>
              </p:cNvPr>
              <p:cNvSpPr/>
              <p:nvPr/>
            </p:nvSpPr>
            <p:spPr>
              <a:xfrm>
                <a:off x="6655182" y="3290756"/>
                <a:ext cx="779306" cy="647667"/>
              </a:xfrm>
              <a:custGeom>
                <a:avLst/>
                <a:gdLst>
                  <a:gd name="connsiteX0" fmla="*/ 777437 w 779306"/>
                  <a:gd name="connsiteY0" fmla="*/ 414744 h 647667"/>
                  <a:gd name="connsiteX1" fmla="*/ 757525 w 779306"/>
                  <a:gd name="connsiteY1" fmla="*/ 373185 h 647667"/>
                  <a:gd name="connsiteX2" fmla="*/ 732636 w 779306"/>
                  <a:gd name="connsiteY2" fmla="*/ 347278 h 647667"/>
                  <a:gd name="connsiteX3" fmla="*/ 717150 w 779306"/>
                  <a:gd name="connsiteY3" fmla="*/ 310577 h 647667"/>
                  <a:gd name="connsiteX4" fmla="*/ 716597 w 779306"/>
                  <a:gd name="connsiteY4" fmla="*/ 306260 h 647667"/>
                  <a:gd name="connsiteX5" fmla="*/ 706641 w 779306"/>
                  <a:gd name="connsiteY5" fmla="*/ 290068 h 647667"/>
                  <a:gd name="connsiteX6" fmla="*/ 708853 w 779306"/>
                  <a:gd name="connsiteY6" fmla="*/ 274416 h 647667"/>
                  <a:gd name="connsiteX7" fmla="*/ 706641 w 779306"/>
                  <a:gd name="connsiteY7" fmla="*/ 254986 h 647667"/>
                  <a:gd name="connsiteX8" fmla="*/ 672902 w 779306"/>
                  <a:gd name="connsiteY8" fmla="*/ 236095 h 647667"/>
                  <a:gd name="connsiteX9" fmla="*/ 674562 w 779306"/>
                  <a:gd name="connsiteY9" fmla="*/ 215046 h 647667"/>
                  <a:gd name="connsiteX10" fmla="*/ 707194 w 779306"/>
                  <a:gd name="connsiteY10" fmla="*/ 181583 h 647667"/>
                  <a:gd name="connsiteX11" fmla="*/ 708853 w 779306"/>
                  <a:gd name="connsiteY11" fmla="*/ 173488 h 647667"/>
                  <a:gd name="connsiteX12" fmla="*/ 691154 w 779306"/>
                  <a:gd name="connsiteY12" fmla="*/ 117356 h 647667"/>
                  <a:gd name="connsiteX13" fmla="*/ 678986 w 779306"/>
                  <a:gd name="connsiteY13" fmla="*/ 106022 h 647667"/>
                  <a:gd name="connsiteX14" fmla="*/ 650779 w 779306"/>
                  <a:gd name="connsiteY14" fmla="*/ 65003 h 647667"/>
                  <a:gd name="connsiteX15" fmla="*/ 645248 w 779306"/>
                  <a:gd name="connsiteY15" fmla="*/ 47192 h 647667"/>
                  <a:gd name="connsiteX16" fmla="*/ 640823 w 779306"/>
                  <a:gd name="connsiteY16" fmla="*/ 21825 h 647667"/>
                  <a:gd name="connsiteX17" fmla="*/ 636398 w 779306"/>
                  <a:gd name="connsiteY17" fmla="*/ 14269 h 647667"/>
                  <a:gd name="connsiteX18" fmla="*/ 599341 w 779306"/>
                  <a:gd name="connsiteY18" fmla="*/ -303 h 647667"/>
                  <a:gd name="connsiteX19" fmla="*/ 586620 w 779306"/>
                  <a:gd name="connsiteY19" fmla="*/ 776 h 647667"/>
                  <a:gd name="connsiteX20" fmla="*/ 575005 w 779306"/>
                  <a:gd name="connsiteY20" fmla="*/ 11031 h 647667"/>
                  <a:gd name="connsiteX21" fmla="*/ 561178 w 779306"/>
                  <a:gd name="connsiteY21" fmla="*/ 18047 h 647667"/>
                  <a:gd name="connsiteX22" fmla="*/ 488169 w 779306"/>
                  <a:gd name="connsiteY22" fmla="*/ 34779 h 647667"/>
                  <a:gd name="connsiteX23" fmla="*/ 415714 w 779306"/>
                  <a:gd name="connsiteY23" fmla="*/ 41795 h 647667"/>
                  <a:gd name="connsiteX24" fmla="*/ 382529 w 779306"/>
                  <a:gd name="connsiteY24" fmla="*/ 40716 h 647667"/>
                  <a:gd name="connsiteX25" fmla="*/ 357087 w 779306"/>
                  <a:gd name="connsiteY25" fmla="*/ 65003 h 647667"/>
                  <a:gd name="connsiteX26" fmla="*/ 353768 w 779306"/>
                  <a:gd name="connsiteY26" fmla="*/ 62844 h 647667"/>
                  <a:gd name="connsiteX27" fmla="*/ 355427 w 779306"/>
                  <a:gd name="connsiteY27" fmla="*/ 52050 h 647667"/>
                  <a:gd name="connsiteX28" fmla="*/ 374233 w 779306"/>
                  <a:gd name="connsiteY28" fmla="*/ 27223 h 647667"/>
                  <a:gd name="connsiteX29" fmla="*/ 376998 w 779306"/>
                  <a:gd name="connsiteY29" fmla="*/ 21286 h 647667"/>
                  <a:gd name="connsiteX30" fmla="*/ 333857 w 779306"/>
                  <a:gd name="connsiteY30" fmla="*/ 55288 h 647667"/>
                  <a:gd name="connsiteX31" fmla="*/ 315605 w 779306"/>
                  <a:gd name="connsiteY31" fmla="*/ 53669 h 647667"/>
                  <a:gd name="connsiteX32" fmla="*/ 310627 w 779306"/>
                  <a:gd name="connsiteY32" fmla="*/ 54748 h 647667"/>
                  <a:gd name="connsiteX33" fmla="*/ 300671 w 779306"/>
                  <a:gd name="connsiteY33" fmla="*/ 51510 h 647667"/>
                  <a:gd name="connsiteX34" fmla="*/ 285738 w 779306"/>
                  <a:gd name="connsiteY34" fmla="*/ 23444 h 647667"/>
                  <a:gd name="connsiteX35" fmla="*/ 319476 w 779306"/>
                  <a:gd name="connsiteY35" fmla="*/ 33160 h 647667"/>
                  <a:gd name="connsiteX36" fmla="*/ 320583 w 779306"/>
                  <a:gd name="connsiteY36" fmla="*/ 31540 h 647667"/>
                  <a:gd name="connsiteX37" fmla="*/ 300118 w 779306"/>
                  <a:gd name="connsiteY37" fmla="*/ 18047 h 647667"/>
                  <a:gd name="connsiteX38" fmla="*/ 296800 w 779306"/>
                  <a:gd name="connsiteY38" fmla="*/ 15349 h 647667"/>
                  <a:gd name="connsiteX39" fmla="*/ 282972 w 779306"/>
                  <a:gd name="connsiteY39" fmla="*/ 8332 h 647667"/>
                  <a:gd name="connsiteX40" fmla="*/ 249787 w 779306"/>
                  <a:gd name="connsiteY40" fmla="*/ 7793 h 647667"/>
                  <a:gd name="connsiteX41" fmla="*/ 191712 w 779306"/>
                  <a:gd name="connsiteY41" fmla="*/ 32080 h 647667"/>
                  <a:gd name="connsiteX42" fmla="*/ 170142 w 779306"/>
                  <a:gd name="connsiteY42" fmla="*/ 50970 h 647667"/>
                  <a:gd name="connsiteX43" fmla="*/ 164611 w 779306"/>
                  <a:gd name="connsiteY43" fmla="*/ 57987 h 647667"/>
                  <a:gd name="connsiteX44" fmla="*/ 141934 w 779306"/>
                  <a:gd name="connsiteY44" fmla="*/ 70940 h 647667"/>
                  <a:gd name="connsiteX45" fmla="*/ 120363 w 779306"/>
                  <a:gd name="connsiteY45" fmla="*/ 89830 h 647667"/>
                  <a:gd name="connsiteX46" fmla="*/ 98793 w 779306"/>
                  <a:gd name="connsiteY46" fmla="*/ 102784 h 647667"/>
                  <a:gd name="connsiteX47" fmla="*/ 80541 w 779306"/>
                  <a:gd name="connsiteY47" fmla="*/ 109800 h 647667"/>
                  <a:gd name="connsiteX48" fmla="*/ 42377 w 779306"/>
                  <a:gd name="connsiteY48" fmla="*/ 131389 h 647667"/>
                  <a:gd name="connsiteX49" fmla="*/ 31869 w 779306"/>
                  <a:gd name="connsiteY49" fmla="*/ 156216 h 647667"/>
                  <a:gd name="connsiteX50" fmla="*/ 27444 w 779306"/>
                  <a:gd name="connsiteY50" fmla="*/ 157296 h 647667"/>
                  <a:gd name="connsiteX51" fmla="*/ 25231 w 779306"/>
                  <a:gd name="connsiteY51" fmla="*/ 160534 h 647667"/>
                  <a:gd name="connsiteX52" fmla="*/ 23572 w 779306"/>
                  <a:gd name="connsiteY52" fmla="*/ 168630 h 647667"/>
                  <a:gd name="connsiteX53" fmla="*/ 26338 w 779306"/>
                  <a:gd name="connsiteY53" fmla="*/ 186441 h 647667"/>
                  <a:gd name="connsiteX54" fmla="*/ -764 w 779306"/>
                  <a:gd name="connsiteY54" fmla="*/ 171868 h 647667"/>
                  <a:gd name="connsiteX55" fmla="*/ -764 w 779306"/>
                  <a:gd name="connsiteY55" fmla="*/ 178885 h 647667"/>
                  <a:gd name="connsiteX56" fmla="*/ 11404 w 779306"/>
                  <a:gd name="connsiteY56" fmla="*/ 218285 h 647667"/>
                  <a:gd name="connsiteX57" fmla="*/ 14723 w 779306"/>
                  <a:gd name="connsiteY57" fmla="*/ 229079 h 647667"/>
                  <a:gd name="connsiteX58" fmla="*/ 11404 w 779306"/>
                  <a:gd name="connsiteY58" fmla="*/ 251747 h 647667"/>
                  <a:gd name="connsiteX59" fmla="*/ -764 w 779306"/>
                  <a:gd name="connsiteY59" fmla="*/ 266860 h 647667"/>
                  <a:gd name="connsiteX60" fmla="*/ 895 w 779306"/>
                  <a:gd name="connsiteY60" fmla="*/ 271177 h 647667"/>
                  <a:gd name="connsiteX61" fmla="*/ 1448 w 779306"/>
                  <a:gd name="connsiteY61" fmla="*/ 277654 h 647667"/>
                  <a:gd name="connsiteX62" fmla="*/ 39612 w 779306"/>
                  <a:gd name="connsiteY62" fmla="*/ 303021 h 647667"/>
                  <a:gd name="connsiteX63" fmla="*/ 39612 w 779306"/>
                  <a:gd name="connsiteY63" fmla="*/ 335944 h 647667"/>
                  <a:gd name="connsiteX64" fmla="*/ 52333 w 779306"/>
                  <a:gd name="connsiteY64" fmla="*/ 346739 h 647667"/>
                  <a:gd name="connsiteX65" fmla="*/ 55098 w 779306"/>
                  <a:gd name="connsiteY65" fmla="*/ 360232 h 647667"/>
                  <a:gd name="connsiteX66" fmla="*/ 48461 w 779306"/>
                  <a:gd name="connsiteY66" fmla="*/ 396933 h 647667"/>
                  <a:gd name="connsiteX67" fmla="*/ 60076 w 779306"/>
                  <a:gd name="connsiteY67" fmla="*/ 414204 h 647667"/>
                  <a:gd name="connsiteX68" fmla="*/ 58970 w 779306"/>
                  <a:gd name="connsiteY68" fmla="*/ 423919 h 647667"/>
                  <a:gd name="connsiteX69" fmla="*/ 78328 w 779306"/>
                  <a:gd name="connsiteY69" fmla="*/ 437412 h 647667"/>
                  <a:gd name="connsiteX70" fmla="*/ 84965 w 779306"/>
                  <a:gd name="connsiteY70" fmla="*/ 470335 h 647667"/>
                  <a:gd name="connsiteX71" fmla="*/ 75563 w 779306"/>
                  <a:gd name="connsiteY71" fmla="*/ 502719 h 647667"/>
                  <a:gd name="connsiteX72" fmla="*/ 86625 w 779306"/>
                  <a:gd name="connsiteY72" fmla="*/ 501639 h 647667"/>
                  <a:gd name="connsiteX73" fmla="*/ 88284 w 779306"/>
                  <a:gd name="connsiteY73" fmla="*/ 488146 h 647667"/>
                  <a:gd name="connsiteX74" fmla="*/ 103217 w 779306"/>
                  <a:gd name="connsiteY74" fmla="*/ 483828 h 647667"/>
                  <a:gd name="connsiteX75" fmla="*/ 109855 w 779306"/>
                  <a:gd name="connsiteY75" fmla="*/ 501639 h 647667"/>
                  <a:gd name="connsiteX76" fmla="*/ 119810 w 779306"/>
                  <a:gd name="connsiteY76" fmla="*/ 511354 h 647667"/>
                  <a:gd name="connsiteX77" fmla="*/ 181203 w 779306"/>
                  <a:gd name="connsiteY77" fmla="*/ 519450 h 647667"/>
                  <a:gd name="connsiteX78" fmla="*/ 193925 w 779306"/>
                  <a:gd name="connsiteY78" fmla="*/ 513513 h 647667"/>
                  <a:gd name="connsiteX79" fmla="*/ 201115 w 779306"/>
                  <a:gd name="connsiteY79" fmla="*/ 523228 h 647667"/>
                  <a:gd name="connsiteX80" fmla="*/ 188947 w 779306"/>
                  <a:gd name="connsiteY80" fmla="*/ 539420 h 647667"/>
                  <a:gd name="connsiteX81" fmla="*/ 187841 w 779306"/>
                  <a:gd name="connsiteY81" fmla="*/ 547516 h 647667"/>
                  <a:gd name="connsiteX82" fmla="*/ 200009 w 779306"/>
                  <a:gd name="connsiteY82" fmla="*/ 549675 h 647667"/>
                  <a:gd name="connsiteX83" fmla="*/ 223791 w 779306"/>
                  <a:gd name="connsiteY83" fmla="*/ 572343 h 647667"/>
                  <a:gd name="connsiteX84" fmla="*/ 232641 w 779306"/>
                  <a:gd name="connsiteY84" fmla="*/ 574502 h 647667"/>
                  <a:gd name="connsiteX85" fmla="*/ 238172 w 779306"/>
                  <a:gd name="connsiteY85" fmla="*/ 564247 h 647667"/>
                  <a:gd name="connsiteX86" fmla="*/ 247574 w 779306"/>
                  <a:gd name="connsiteY86" fmla="*/ 557231 h 647667"/>
                  <a:gd name="connsiteX87" fmla="*/ 247574 w 779306"/>
                  <a:gd name="connsiteY87" fmla="*/ 552373 h 647667"/>
                  <a:gd name="connsiteX88" fmla="*/ 234853 w 779306"/>
                  <a:gd name="connsiteY88" fmla="*/ 546436 h 647667"/>
                  <a:gd name="connsiteX89" fmla="*/ 238172 w 779306"/>
                  <a:gd name="connsiteY89" fmla="*/ 538341 h 647667"/>
                  <a:gd name="connsiteX90" fmla="*/ 259742 w 779306"/>
                  <a:gd name="connsiteY90" fmla="*/ 541039 h 647667"/>
                  <a:gd name="connsiteX91" fmla="*/ 274123 w 779306"/>
                  <a:gd name="connsiteY91" fmla="*/ 549675 h 647667"/>
                  <a:gd name="connsiteX92" fmla="*/ 290716 w 779306"/>
                  <a:gd name="connsiteY92" fmla="*/ 553453 h 647667"/>
                  <a:gd name="connsiteX93" fmla="*/ 303990 w 779306"/>
                  <a:gd name="connsiteY93" fmla="*/ 545357 h 647667"/>
                  <a:gd name="connsiteX94" fmla="*/ 307308 w 779306"/>
                  <a:gd name="connsiteY94" fmla="*/ 556151 h 647667"/>
                  <a:gd name="connsiteX95" fmla="*/ 301224 w 779306"/>
                  <a:gd name="connsiteY95" fmla="*/ 564247 h 647667"/>
                  <a:gd name="connsiteX96" fmla="*/ 316711 w 779306"/>
                  <a:gd name="connsiteY96" fmla="*/ 576661 h 647667"/>
                  <a:gd name="connsiteX97" fmla="*/ 326667 w 779306"/>
                  <a:gd name="connsiteY97" fmla="*/ 578820 h 647667"/>
                  <a:gd name="connsiteX98" fmla="*/ 336622 w 779306"/>
                  <a:gd name="connsiteY98" fmla="*/ 572343 h 647667"/>
                  <a:gd name="connsiteX99" fmla="*/ 351556 w 779306"/>
                  <a:gd name="connsiteY99" fmla="*/ 581518 h 647667"/>
                  <a:gd name="connsiteX100" fmla="*/ 375339 w 779306"/>
                  <a:gd name="connsiteY100" fmla="*/ 579899 h 647667"/>
                  <a:gd name="connsiteX101" fmla="*/ 376998 w 779306"/>
                  <a:gd name="connsiteY101" fmla="*/ 587455 h 647667"/>
                  <a:gd name="connsiteX102" fmla="*/ 383635 w 779306"/>
                  <a:gd name="connsiteY102" fmla="*/ 600409 h 647667"/>
                  <a:gd name="connsiteX103" fmla="*/ 400781 w 779306"/>
                  <a:gd name="connsiteY103" fmla="*/ 611203 h 647667"/>
                  <a:gd name="connsiteX104" fmla="*/ 406865 w 779306"/>
                  <a:gd name="connsiteY104" fmla="*/ 621998 h 647667"/>
                  <a:gd name="connsiteX105" fmla="*/ 414055 w 779306"/>
                  <a:gd name="connsiteY105" fmla="*/ 627395 h 647667"/>
                  <a:gd name="connsiteX106" fmla="*/ 415714 w 779306"/>
                  <a:gd name="connsiteY106" fmla="*/ 637110 h 647667"/>
                  <a:gd name="connsiteX107" fmla="*/ 430648 w 779306"/>
                  <a:gd name="connsiteY107" fmla="*/ 631173 h 647667"/>
                  <a:gd name="connsiteX108" fmla="*/ 432860 w 779306"/>
                  <a:gd name="connsiteY108" fmla="*/ 616600 h 647667"/>
                  <a:gd name="connsiteX109" fmla="*/ 448347 w 779306"/>
                  <a:gd name="connsiteY109" fmla="*/ 604187 h 647667"/>
                  <a:gd name="connsiteX110" fmla="*/ 465493 w 779306"/>
                  <a:gd name="connsiteY110" fmla="*/ 623077 h 647667"/>
                  <a:gd name="connsiteX111" fmla="*/ 478767 w 779306"/>
                  <a:gd name="connsiteY111" fmla="*/ 626315 h 647667"/>
                  <a:gd name="connsiteX112" fmla="*/ 483192 w 779306"/>
                  <a:gd name="connsiteY112" fmla="*/ 633872 h 647667"/>
                  <a:gd name="connsiteX113" fmla="*/ 484851 w 779306"/>
                  <a:gd name="connsiteY113" fmla="*/ 647365 h 647667"/>
                  <a:gd name="connsiteX114" fmla="*/ 502550 w 779306"/>
                  <a:gd name="connsiteY114" fmla="*/ 645745 h 647667"/>
                  <a:gd name="connsiteX115" fmla="*/ 512506 w 779306"/>
                  <a:gd name="connsiteY115" fmla="*/ 627395 h 647667"/>
                  <a:gd name="connsiteX116" fmla="*/ 523567 w 779306"/>
                  <a:gd name="connsiteY116" fmla="*/ 619299 h 647667"/>
                  <a:gd name="connsiteX117" fmla="*/ 537395 w 779306"/>
                  <a:gd name="connsiteY117" fmla="*/ 619839 h 647667"/>
                  <a:gd name="connsiteX118" fmla="*/ 552328 w 779306"/>
                  <a:gd name="connsiteY118" fmla="*/ 612283 h 647667"/>
                  <a:gd name="connsiteX119" fmla="*/ 570027 w 779306"/>
                  <a:gd name="connsiteY119" fmla="*/ 619839 h 647667"/>
                  <a:gd name="connsiteX120" fmla="*/ 579430 w 779306"/>
                  <a:gd name="connsiteY120" fmla="*/ 607425 h 647667"/>
                  <a:gd name="connsiteX121" fmla="*/ 615934 w 779306"/>
                  <a:gd name="connsiteY121" fmla="*/ 597710 h 647667"/>
                  <a:gd name="connsiteX122" fmla="*/ 645801 w 779306"/>
                  <a:gd name="connsiteY122" fmla="*/ 601488 h 647667"/>
                  <a:gd name="connsiteX123" fmla="*/ 657969 w 779306"/>
                  <a:gd name="connsiteY123" fmla="*/ 617680 h 647667"/>
                  <a:gd name="connsiteX124" fmla="*/ 698898 w 779306"/>
                  <a:gd name="connsiteY124" fmla="*/ 625776 h 647667"/>
                  <a:gd name="connsiteX125" fmla="*/ 721574 w 779306"/>
                  <a:gd name="connsiteY125" fmla="*/ 626855 h 647667"/>
                  <a:gd name="connsiteX126" fmla="*/ 724340 w 779306"/>
                  <a:gd name="connsiteY126" fmla="*/ 620918 h 647667"/>
                  <a:gd name="connsiteX127" fmla="*/ 709959 w 779306"/>
                  <a:gd name="connsiteY127" fmla="*/ 611203 h 647667"/>
                  <a:gd name="connsiteX128" fmla="*/ 709406 w 779306"/>
                  <a:gd name="connsiteY128" fmla="*/ 598790 h 647667"/>
                  <a:gd name="connsiteX129" fmla="*/ 698344 w 779306"/>
                  <a:gd name="connsiteY129" fmla="*/ 566406 h 647667"/>
                  <a:gd name="connsiteX130" fmla="*/ 699451 w 779306"/>
                  <a:gd name="connsiteY130" fmla="*/ 555072 h 647667"/>
                  <a:gd name="connsiteX131" fmla="*/ 755866 w 779306"/>
                  <a:gd name="connsiteY131" fmla="*/ 449286 h 647667"/>
                  <a:gd name="connsiteX132" fmla="*/ 770800 w 779306"/>
                  <a:gd name="connsiteY132" fmla="*/ 441730 h 647667"/>
                  <a:gd name="connsiteX133" fmla="*/ 776884 w 779306"/>
                  <a:gd name="connsiteY133" fmla="*/ 434714 h 647667"/>
                  <a:gd name="connsiteX134" fmla="*/ 778543 w 779306"/>
                  <a:gd name="connsiteY134" fmla="*/ 424999 h 647667"/>
                  <a:gd name="connsiteX135" fmla="*/ 777437 w 779306"/>
                  <a:gd name="connsiteY135" fmla="*/ 414744 h 647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779306" h="647667">
                    <a:moveTo>
                      <a:pt x="777437" y="414744"/>
                    </a:moveTo>
                    <a:cubicBezTo>
                      <a:pt x="761397" y="406648"/>
                      <a:pt x="766375" y="386139"/>
                      <a:pt x="757525" y="373185"/>
                    </a:cubicBezTo>
                    <a:cubicBezTo>
                      <a:pt x="751441" y="364010"/>
                      <a:pt x="739826" y="356454"/>
                      <a:pt x="732636" y="347278"/>
                    </a:cubicBezTo>
                    <a:cubicBezTo>
                      <a:pt x="727658" y="340802"/>
                      <a:pt x="719915" y="318673"/>
                      <a:pt x="717150" y="310577"/>
                    </a:cubicBezTo>
                    <a:cubicBezTo>
                      <a:pt x="717150" y="308958"/>
                      <a:pt x="717150" y="307339"/>
                      <a:pt x="716597" y="306260"/>
                    </a:cubicBezTo>
                    <a:cubicBezTo>
                      <a:pt x="714384" y="301942"/>
                      <a:pt x="707194" y="294925"/>
                      <a:pt x="706641" y="290068"/>
                    </a:cubicBezTo>
                    <a:cubicBezTo>
                      <a:pt x="706641" y="284671"/>
                      <a:pt x="708300" y="279273"/>
                      <a:pt x="708853" y="274416"/>
                    </a:cubicBezTo>
                    <a:cubicBezTo>
                      <a:pt x="708853" y="268479"/>
                      <a:pt x="707747" y="260923"/>
                      <a:pt x="706641" y="254986"/>
                    </a:cubicBezTo>
                    <a:cubicBezTo>
                      <a:pt x="702769" y="236095"/>
                      <a:pt x="688942" y="238794"/>
                      <a:pt x="672902" y="236095"/>
                    </a:cubicBezTo>
                    <a:lnTo>
                      <a:pt x="674562" y="215046"/>
                    </a:lnTo>
                    <a:lnTo>
                      <a:pt x="707194" y="181583"/>
                    </a:lnTo>
                    <a:lnTo>
                      <a:pt x="708853" y="173488"/>
                    </a:lnTo>
                    <a:lnTo>
                      <a:pt x="691154" y="117356"/>
                    </a:lnTo>
                    <a:lnTo>
                      <a:pt x="678986" y="106022"/>
                    </a:lnTo>
                    <a:lnTo>
                      <a:pt x="650779" y="65003"/>
                    </a:lnTo>
                    <a:lnTo>
                      <a:pt x="645248" y="47192"/>
                    </a:lnTo>
                    <a:lnTo>
                      <a:pt x="640823" y="21825"/>
                    </a:lnTo>
                    <a:lnTo>
                      <a:pt x="636398" y="14269"/>
                    </a:lnTo>
                    <a:lnTo>
                      <a:pt x="599341" y="-303"/>
                    </a:lnTo>
                    <a:lnTo>
                      <a:pt x="586620" y="776"/>
                    </a:lnTo>
                    <a:lnTo>
                      <a:pt x="575005" y="11031"/>
                    </a:lnTo>
                    <a:lnTo>
                      <a:pt x="561178" y="18047"/>
                    </a:lnTo>
                    <a:lnTo>
                      <a:pt x="488169" y="34779"/>
                    </a:lnTo>
                    <a:lnTo>
                      <a:pt x="415714" y="41795"/>
                    </a:lnTo>
                    <a:lnTo>
                      <a:pt x="382529" y="40716"/>
                    </a:lnTo>
                    <a:cubicBezTo>
                      <a:pt x="377551" y="49891"/>
                      <a:pt x="367595" y="61765"/>
                      <a:pt x="357087" y="65003"/>
                    </a:cubicBezTo>
                    <a:lnTo>
                      <a:pt x="353768" y="62844"/>
                    </a:lnTo>
                    <a:cubicBezTo>
                      <a:pt x="353768" y="60146"/>
                      <a:pt x="354321" y="54209"/>
                      <a:pt x="355427" y="52050"/>
                    </a:cubicBezTo>
                    <a:cubicBezTo>
                      <a:pt x="359852" y="42875"/>
                      <a:pt x="368702" y="35318"/>
                      <a:pt x="374233" y="27223"/>
                    </a:cubicBezTo>
                    <a:cubicBezTo>
                      <a:pt x="375339" y="25603"/>
                      <a:pt x="376445" y="23984"/>
                      <a:pt x="376998" y="21286"/>
                    </a:cubicBezTo>
                    <a:cubicBezTo>
                      <a:pt x="368702" y="21286"/>
                      <a:pt x="351556" y="53669"/>
                      <a:pt x="333857" y="55288"/>
                    </a:cubicBezTo>
                    <a:cubicBezTo>
                      <a:pt x="327773" y="55288"/>
                      <a:pt x="321689" y="53669"/>
                      <a:pt x="315605" y="53669"/>
                    </a:cubicBezTo>
                    <a:cubicBezTo>
                      <a:pt x="313946" y="53669"/>
                      <a:pt x="312286" y="54748"/>
                      <a:pt x="310627" y="54748"/>
                    </a:cubicBezTo>
                    <a:cubicBezTo>
                      <a:pt x="308415" y="54209"/>
                      <a:pt x="302331" y="52590"/>
                      <a:pt x="300671" y="51510"/>
                    </a:cubicBezTo>
                    <a:cubicBezTo>
                      <a:pt x="293481" y="48272"/>
                      <a:pt x="276335" y="30461"/>
                      <a:pt x="285738" y="23444"/>
                    </a:cubicBezTo>
                    <a:cubicBezTo>
                      <a:pt x="295693" y="15349"/>
                      <a:pt x="312839" y="35318"/>
                      <a:pt x="319476" y="33160"/>
                    </a:cubicBezTo>
                    <a:lnTo>
                      <a:pt x="320583" y="31540"/>
                    </a:lnTo>
                    <a:cubicBezTo>
                      <a:pt x="318923" y="25603"/>
                      <a:pt x="305649" y="21286"/>
                      <a:pt x="300118" y="18047"/>
                    </a:cubicBezTo>
                    <a:cubicBezTo>
                      <a:pt x="299012" y="16968"/>
                      <a:pt x="297906" y="15888"/>
                      <a:pt x="296800" y="15349"/>
                    </a:cubicBezTo>
                    <a:cubicBezTo>
                      <a:pt x="295693" y="14269"/>
                      <a:pt x="284079" y="8872"/>
                      <a:pt x="282972" y="8332"/>
                    </a:cubicBezTo>
                    <a:cubicBezTo>
                      <a:pt x="275782" y="6173"/>
                      <a:pt x="256424" y="5094"/>
                      <a:pt x="249787" y="7793"/>
                    </a:cubicBezTo>
                    <a:cubicBezTo>
                      <a:pt x="231535" y="14269"/>
                      <a:pt x="208858" y="22905"/>
                      <a:pt x="191712" y="32080"/>
                    </a:cubicBezTo>
                    <a:cubicBezTo>
                      <a:pt x="186734" y="35318"/>
                      <a:pt x="174566" y="46653"/>
                      <a:pt x="170142" y="50970"/>
                    </a:cubicBezTo>
                    <a:cubicBezTo>
                      <a:pt x="167929" y="53129"/>
                      <a:pt x="166823" y="56368"/>
                      <a:pt x="164611" y="57987"/>
                    </a:cubicBezTo>
                    <a:cubicBezTo>
                      <a:pt x="157974" y="62844"/>
                      <a:pt x="148571" y="65543"/>
                      <a:pt x="141934" y="70940"/>
                    </a:cubicBezTo>
                    <a:cubicBezTo>
                      <a:pt x="134191" y="76337"/>
                      <a:pt x="128107" y="83894"/>
                      <a:pt x="120363" y="89830"/>
                    </a:cubicBezTo>
                    <a:cubicBezTo>
                      <a:pt x="113726" y="94688"/>
                      <a:pt x="105983" y="99006"/>
                      <a:pt x="98793" y="102784"/>
                    </a:cubicBezTo>
                    <a:cubicBezTo>
                      <a:pt x="92709" y="105482"/>
                      <a:pt x="86072" y="106562"/>
                      <a:pt x="80541" y="109800"/>
                    </a:cubicBezTo>
                    <a:cubicBezTo>
                      <a:pt x="72244" y="114118"/>
                      <a:pt x="48461" y="126532"/>
                      <a:pt x="42377" y="131389"/>
                    </a:cubicBezTo>
                    <a:cubicBezTo>
                      <a:pt x="37953" y="135167"/>
                      <a:pt x="35740" y="151359"/>
                      <a:pt x="31869" y="156216"/>
                    </a:cubicBezTo>
                    <a:cubicBezTo>
                      <a:pt x="30762" y="157296"/>
                      <a:pt x="27997" y="156756"/>
                      <a:pt x="27444" y="157296"/>
                    </a:cubicBezTo>
                    <a:cubicBezTo>
                      <a:pt x="26338" y="157836"/>
                      <a:pt x="25785" y="159994"/>
                      <a:pt x="25231" y="160534"/>
                    </a:cubicBezTo>
                    <a:cubicBezTo>
                      <a:pt x="24678" y="162693"/>
                      <a:pt x="23572" y="167011"/>
                      <a:pt x="23572" y="168630"/>
                    </a:cubicBezTo>
                    <a:cubicBezTo>
                      <a:pt x="24125" y="175646"/>
                      <a:pt x="29656" y="177805"/>
                      <a:pt x="26338" y="186441"/>
                    </a:cubicBezTo>
                    <a:cubicBezTo>
                      <a:pt x="13617" y="182663"/>
                      <a:pt x="18594" y="171329"/>
                      <a:pt x="-764" y="171868"/>
                    </a:cubicBezTo>
                    <a:lnTo>
                      <a:pt x="-764" y="178885"/>
                    </a:lnTo>
                    <a:lnTo>
                      <a:pt x="11404" y="218285"/>
                    </a:lnTo>
                    <a:lnTo>
                      <a:pt x="14723" y="229079"/>
                    </a:lnTo>
                    <a:lnTo>
                      <a:pt x="11404" y="251747"/>
                    </a:lnTo>
                    <a:cubicBezTo>
                      <a:pt x="7533" y="257145"/>
                      <a:pt x="-211" y="259843"/>
                      <a:pt x="-764" y="266860"/>
                    </a:cubicBezTo>
                    <a:cubicBezTo>
                      <a:pt x="-764" y="268479"/>
                      <a:pt x="342" y="269558"/>
                      <a:pt x="895" y="271177"/>
                    </a:cubicBezTo>
                    <a:cubicBezTo>
                      <a:pt x="1448" y="273336"/>
                      <a:pt x="895" y="275495"/>
                      <a:pt x="1448" y="277654"/>
                    </a:cubicBezTo>
                    <a:cubicBezTo>
                      <a:pt x="4214" y="284131"/>
                      <a:pt x="36846" y="293846"/>
                      <a:pt x="39612" y="303021"/>
                    </a:cubicBezTo>
                    <a:cubicBezTo>
                      <a:pt x="43483" y="313276"/>
                      <a:pt x="36293" y="325690"/>
                      <a:pt x="39612" y="335944"/>
                    </a:cubicBezTo>
                    <a:cubicBezTo>
                      <a:pt x="41271" y="340802"/>
                      <a:pt x="50121" y="342961"/>
                      <a:pt x="52333" y="346739"/>
                    </a:cubicBezTo>
                    <a:cubicBezTo>
                      <a:pt x="54545" y="351057"/>
                      <a:pt x="47908" y="357533"/>
                      <a:pt x="55098" y="360232"/>
                    </a:cubicBezTo>
                    <a:lnTo>
                      <a:pt x="48461" y="396933"/>
                    </a:lnTo>
                    <a:lnTo>
                      <a:pt x="60076" y="414204"/>
                    </a:lnTo>
                    <a:lnTo>
                      <a:pt x="58970" y="423919"/>
                    </a:lnTo>
                    <a:lnTo>
                      <a:pt x="78328" y="437412"/>
                    </a:lnTo>
                    <a:lnTo>
                      <a:pt x="84965" y="470335"/>
                    </a:lnTo>
                    <a:lnTo>
                      <a:pt x="75563" y="502719"/>
                    </a:lnTo>
                    <a:lnTo>
                      <a:pt x="86625" y="501639"/>
                    </a:lnTo>
                    <a:lnTo>
                      <a:pt x="88284" y="488146"/>
                    </a:lnTo>
                    <a:lnTo>
                      <a:pt x="103217" y="483828"/>
                    </a:lnTo>
                    <a:lnTo>
                      <a:pt x="109855" y="501639"/>
                    </a:lnTo>
                    <a:lnTo>
                      <a:pt x="119810" y="511354"/>
                    </a:lnTo>
                    <a:lnTo>
                      <a:pt x="181203" y="519450"/>
                    </a:lnTo>
                    <a:lnTo>
                      <a:pt x="193925" y="513513"/>
                    </a:lnTo>
                    <a:lnTo>
                      <a:pt x="201115" y="523228"/>
                    </a:lnTo>
                    <a:lnTo>
                      <a:pt x="188947" y="539420"/>
                    </a:lnTo>
                    <a:lnTo>
                      <a:pt x="187841" y="547516"/>
                    </a:lnTo>
                    <a:lnTo>
                      <a:pt x="200009" y="549675"/>
                    </a:lnTo>
                    <a:lnTo>
                      <a:pt x="223791" y="572343"/>
                    </a:lnTo>
                    <a:lnTo>
                      <a:pt x="232641" y="574502"/>
                    </a:lnTo>
                    <a:lnTo>
                      <a:pt x="238172" y="564247"/>
                    </a:lnTo>
                    <a:lnTo>
                      <a:pt x="247574" y="557231"/>
                    </a:lnTo>
                    <a:lnTo>
                      <a:pt x="247574" y="552373"/>
                    </a:lnTo>
                    <a:lnTo>
                      <a:pt x="234853" y="546436"/>
                    </a:lnTo>
                    <a:lnTo>
                      <a:pt x="238172" y="538341"/>
                    </a:lnTo>
                    <a:lnTo>
                      <a:pt x="259742" y="541039"/>
                    </a:lnTo>
                    <a:lnTo>
                      <a:pt x="274123" y="549675"/>
                    </a:lnTo>
                    <a:lnTo>
                      <a:pt x="290716" y="553453"/>
                    </a:lnTo>
                    <a:lnTo>
                      <a:pt x="303990" y="545357"/>
                    </a:lnTo>
                    <a:lnTo>
                      <a:pt x="307308" y="556151"/>
                    </a:lnTo>
                    <a:lnTo>
                      <a:pt x="301224" y="564247"/>
                    </a:lnTo>
                    <a:lnTo>
                      <a:pt x="316711" y="576661"/>
                    </a:lnTo>
                    <a:lnTo>
                      <a:pt x="326667" y="578820"/>
                    </a:lnTo>
                    <a:lnTo>
                      <a:pt x="336622" y="572343"/>
                    </a:lnTo>
                    <a:lnTo>
                      <a:pt x="351556" y="581518"/>
                    </a:lnTo>
                    <a:lnTo>
                      <a:pt x="375339" y="579899"/>
                    </a:lnTo>
                    <a:lnTo>
                      <a:pt x="376998" y="587455"/>
                    </a:lnTo>
                    <a:lnTo>
                      <a:pt x="383635" y="600409"/>
                    </a:lnTo>
                    <a:lnTo>
                      <a:pt x="400781" y="611203"/>
                    </a:lnTo>
                    <a:lnTo>
                      <a:pt x="406865" y="621998"/>
                    </a:lnTo>
                    <a:lnTo>
                      <a:pt x="414055" y="627395"/>
                    </a:lnTo>
                    <a:lnTo>
                      <a:pt x="415714" y="637110"/>
                    </a:lnTo>
                    <a:lnTo>
                      <a:pt x="430648" y="631173"/>
                    </a:lnTo>
                    <a:lnTo>
                      <a:pt x="432860" y="616600"/>
                    </a:lnTo>
                    <a:lnTo>
                      <a:pt x="448347" y="604187"/>
                    </a:lnTo>
                    <a:lnTo>
                      <a:pt x="465493" y="623077"/>
                    </a:lnTo>
                    <a:lnTo>
                      <a:pt x="478767" y="626315"/>
                    </a:lnTo>
                    <a:lnTo>
                      <a:pt x="483192" y="633872"/>
                    </a:lnTo>
                    <a:lnTo>
                      <a:pt x="484851" y="647365"/>
                    </a:lnTo>
                    <a:lnTo>
                      <a:pt x="502550" y="645745"/>
                    </a:lnTo>
                    <a:lnTo>
                      <a:pt x="512506" y="627395"/>
                    </a:lnTo>
                    <a:lnTo>
                      <a:pt x="523567" y="619299"/>
                    </a:lnTo>
                    <a:lnTo>
                      <a:pt x="537395" y="619839"/>
                    </a:lnTo>
                    <a:lnTo>
                      <a:pt x="552328" y="612283"/>
                    </a:lnTo>
                    <a:lnTo>
                      <a:pt x="570027" y="619839"/>
                    </a:lnTo>
                    <a:lnTo>
                      <a:pt x="579430" y="607425"/>
                    </a:lnTo>
                    <a:lnTo>
                      <a:pt x="615934" y="597710"/>
                    </a:lnTo>
                    <a:lnTo>
                      <a:pt x="645801" y="601488"/>
                    </a:lnTo>
                    <a:lnTo>
                      <a:pt x="657969" y="617680"/>
                    </a:lnTo>
                    <a:lnTo>
                      <a:pt x="698898" y="625776"/>
                    </a:lnTo>
                    <a:lnTo>
                      <a:pt x="721574" y="626855"/>
                    </a:lnTo>
                    <a:lnTo>
                      <a:pt x="724340" y="620918"/>
                    </a:lnTo>
                    <a:lnTo>
                      <a:pt x="709959" y="611203"/>
                    </a:lnTo>
                    <a:lnTo>
                      <a:pt x="709406" y="598790"/>
                    </a:lnTo>
                    <a:lnTo>
                      <a:pt x="698344" y="566406"/>
                    </a:lnTo>
                    <a:lnTo>
                      <a:pt x="699451" y="555072"/>
                    </a:lnTo>
                    <a:lnTo>
                      <a:pt x="755866" y="449286"/>
                    </a:lnTo>
                    <a:lnTo>
                      <a:pt x="770800" y="441730"/>
                    </a:lnTo>
                    <a:lnTo>
                      <a:pt x="776884" y="434714"/>
                    </a:lnTo>
                    <a:lnTo>
                      <a:pt x="778543" y="424999"/>
                    </a:lnTo>
                    <a:lnTo>
                      <a:pt x="777437" y="414744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9" name="Freeform 1061">
                <a:extLst>
                  <a:ext uri="{FF2B5EF4-FFF2-40B4-BE49-F238E27FC236}">
                    <a16:creationId xmlns:a16="http://schemas.microsoft.com/office/drawing/2014/main" id="{8B6E29F6-3375-4578-9C74-9F263C3F1443}"/>
                  </a:ext>
                </a:extLst>
              </p:cNvPr>
              <p:cNvSpPr/>
              <p:nvPr/>
            </p:nvSpPr>
            <p:spPr>
              <a:xfrm>
                <a:off x="6019126" y="1335878"/>
                <a:ext cx="1128860" cy="1642641"/>
              </a:xfrm>
              <a:custGeom>
                <a:avLst/>
                <a:gdLst>
                  <a:gd name="connsiteX0" fmla="*/ 13121 w 1128860"/>
                  <a:gd name="connsiteY0" fmla="*/ 1439325 h 1642641"/>
                  <a:gd name="connsiteX1" fmla="*/ 10909 w 1128860"/>
                  <a:gd name="connsiteY1" fmla="*/ 1444723 h 1642641"/>
                  <a:gd name="connsiteX2" fmla="*/ 7590 w 1128860"/>
                  <a:gd name="connsiteY2" fmla="*/ 1449580 h 1642641"/>
                  <a:gd name="connsiteX3" fmla="*/ 4272 w 1128860"/>
                  <a:gd name="connsiteY3" fmla="*/ 1449040 h 1642641"/>
                  <a:gd name="connsiteX4" fmla="*/ 4272 w 1128860"/>
                  <a:gd name="connsiteY4" fmla="*/ 1439325 h 1642641"/>
                  <a:gd name="connsiteX5" fmla="*/ -706 w 1128860"/>
                  <a:gd name="connsiteY5" fmla="*/ 1431769 h 1642641"/>
                  <a:gd name="connsiteX6" fmla="*/ 1506 w 1128860"/>
                  <a:gd name="connsiteY6" fmla="*/ 1425293 h 1642641"/>
                  <a:gd name="connsiteX7" fmla="*/ 5378 w 1128860"/>
                  <a:gd name="connsiteY7" fmla="*/ 1424753 h 1642641"/>
                  <a:gd name="connsiteX8" fmla="*/ 9249 w 1128860"/>
                  <a:gd name="connsiteY8" fmla="*/ 1431769 h 1642641"/>
                  <a:gd name="connsiteX9" fmla="*/ 14780 w 1128860"/>
                  <a:gd name="connsiteY9" fmla="*/ 1435547 h 1642641"/>
                  <a:gd name="connsiteX10" fmla="*/ 16993 w 1128860"/>
                  <a:gd name="connsiteY10" fmla="*/ 1436087 h 1642641"/>
                  <a:gd name="connsiteX11" fmla="*/ 15333 w 1128860"/>
                  <a:gd name="connsiteY11" fmla="*/ 1437706 h 1642641"/>
                  <a:gd name="connsiteX12" fmla="*/ 13121 w 1128860"/>
                  <a:gd name="connsiteY12" fmla="*/ 1439325 h 1642641"/>
                  <a:gd name="connsiteX13" fmla="*/ 1110456 w 1128860"/>
                  <a:gd name="connsiteY13" fmla="*/ 130496 h 1642641"/>
                  <a:gd name="connsiteX14" fmla="*/ 1097735 w 1128860"/>
                  <a:gd name="connsiteY14" fmla="*/ 155324 h 1642641"/>
                  <a:gd name="connsiteX15" fmla="*/ 1081695 w 1128860"/>
                  <a:gd name="connsiteY15" fmla="*/ 166658 h 1642641"/>
                  <a:gd name="connsiteX16" fmla="*/ 1080036 w 1128860"/>
                  <a:gd name="connsiteY16" fmla="*/ 176912 h 1642641"/>
                  <a:gd name="connsiteX17" fmla="*/ 1082801 w 1128860"/>
                  <a:gd name="connsiteY17" fmla="*/ 182849 h 1642641"/>
                  <a:gd name="connsiteX18" fmla="*/ 1075611 w 1128860"/>
                  <a:gd name="connsiteY18" fmla="*/ 214693 h 1642641"/>
                  <a:gd name="connsiteX19" fmla="*/ 1060124 w 1128860"/>
                  <a:gd name="connsiteY19" fmla="*/ 186627 h 1642641"/>
                  <a:gd name="connsiteX20" fmla="*/ 1067315 w 1128860"/>
                  <a:gd name="connsiteY20" fmla="*/ 157482 h 1642641"/>
                  <a:gd name="connsiteX21" fmla="*/ 1056806 w 1128860"/>
                  <a:gd name="connsiteY21" fmla="*/ 141830 h 1642641"/>
                  <a:gd name="connsiteX22" fmla="*/ 1051828 w 1128860"/>
                  <a:gd name="connsiteY22" fmla="*/ 137513 h 1642641"/>
                  <a:gd name="connsiteX23" fmla="*/ 1013111 w 1128860"/>
                  <a:gd name="connsiteY23" fmla="*/ 127258 h 1642641"/>
                  <a:gd name="connsiteX24" fmla="*/ 994859 w 1128860"/>
                  <a:gd name="connsiteY24" fmla="*/ 113225 h 1642641"/>
                  <a:gd name="connsiteX25" fmla="*/ 981032 w 1128860"/>
                  <a:gd name="connsiteY25" fmla="*/ 134274 h 1642641"/>
                  <a:gd name="connsiteX26" fmla="*/ 955037 w 1128860"/>
                  <a:gd name="connsiteY26" fmla="*/ 150466 h 1642641"/>
                  <a:gd name="connsiteX27" fmla="*/ 942869 w 1128860"/>
                  <a:gd name="connsiteY27" fmla="*/ 174754 h 1642641"/>
                  <a:gd name="connsiteX28" fmla="*/ 939550 w 1128860"/>
                  <a:gd name="connsiteY28" fmla="*/ 183389 h 1642641"/>
                  <a:gd name="connsiteX29" fmla="*/ 938444 w 1128860"/>
                  <a:gd name="connsiteY29" fmla="*/ 195803 h 1642641"/>
                  <a:gd name="connsiteX30" fmla="*/ 941209 w 1128860"/>
                  <a:gd name="connsiteY30" fmla="*/ 228186 h 1642641"/>
                  <a:gd name="connsiteX31" fmla="*/ 948953 w 1128860"/>
                  <a:gd name="connsiteY31" fmla="*/ 237361 h 1642641"/>
                  <a:gd name="connsiteX32" fmla="*/ 945081 w 1128860"/>
                  <a:gd name="connsiteY32" fmla="*/ 257871 h 1642641"/>
                  <a:gd name="connsiteX33" fmla="*/ 939550 w 1128860"/>
                  <a:gd name="connsiteY33" fmla="*/ 267586 h 1642641"/>
                  <a:gd name="connsiteX34" fmla="*/ 936232 w 1128860"/>
                  <a:gd name="connsiteY34" fmla="*/ 280539 h 1642641"/>
                  <a:gd name="connsiteX35" fmla="*/ 932360 w 1128860"/>
                  <a:gd name="connsiteY35" fmla="*/ 313462 h 1642641"/>
                  <a:gd name="connsiteX36" fmla="*/ 914661 w 1128860"/>
                  <a:gd name="connsiteY36" fmla="*/ 309684 h 1642641"/>
                  <a:gd name="connsiteX37" fmla="*/ 909130 w 1128860"/>
                  <a:gd name="connsiteY37" fmla="*/ 305367 h 1642641"/>
                  <a:gd name="connsiteX38" fmla="*/ 884794 w 1128860"/>
                  <a:gd name="connsiteY38" fmla="*/ 299969 h 1642641"/>
                  <a:gd name="connsiteX39" fmla="*/ 870967 w 1128860"/>
                  <a:gd name="connsiteY39" fmla="*/ 289175 h 1642641"/>
                  <a:gd name="connsiteX40" fmla="*/ 864883 w 1128860"/>
                  <a:gd name="connsiteY40" fmla="*/ 295112 h 1642641"/>
                  <a:gd name="connsiteX41" fmla="*/ 863777 w 1128860"/>
                  <a:gd name="connsiteY41" fmla="*/ 305906 h 1642641"/>
                  <a:gd name="connsiteX42" fmla="*/ 847184 w 1128860"/>
                  <a:gd name="connsiteY42" fmla="*/ 319939 h 1642641"/>
                  <a:gd name="connsiteX43" fmla="*/ 836122 w 1128860"/>
                  <a:gd name="connsiteY43" fmla="*/ 316701 h 1642641"/>
                  <a:gd name="connsiteX44" fmla="*/ 804043 w 1128860"/>
                  <a:gd name="connsiteY44" fmla="*/ 317241 h 1642641"/>
                  <a:gd name="connsiteX45" fmla="*/ 799618 w 1128860"/>
                  <a:gd name="connsiteY45" fmla="*/ 304287 h 1642641"/>
                  <a:gd name="connsiteX46" fmla="*/ 769751 w 1128860"/>
                  <a:gd name="connsiteY46" fmla="*/ 263268 h 1642641"/>
                  <a:gd name="connsiteX47" fmla="*/ 744862 w 1128860"/>
                  <a:gd name="connsiteY47" fmla="*/ 260570 h 1642641"/>
                  <a:gd name="connsiteX48" fmla="*/ 734906 w 1128860"/>
                  <a:gd name="connsiteY48" fmla="*/ 275682 h 1642641"/>
                  <a:gd name="connsiteX49" fmla="*/ 739884 w 1128860"/>
                  <a:gd name="connsiteY49" fmla="*/ 292953 h 1642641"/>
                  <a:gd name="connsiteX50" fmla="*/ 737119 w 1128860"/>
                  <a:gd name="connsiteY50" fmla="*/ 296731 h 1642641"/>
                  <a:gd name="connsiteX51" fmla="*/ 720526 w 1128860"/>
                  <a:gd name="connsiteY51" fmla="*/ 295112 h 1642641"/>
                  <a:gd name="connsiteX52" fmla="*/ 704486 w 1128860"/>
                  <a:gd name="connsiteY52" fmla="*/ 302668 h 1642641"/>
                  <a:gd name="connsiteX53" fmla="*/ 717207 w 1128860"/>
                  <a:gd name="connsiteY53" fmla="*/ 337750 h 1642641"/>
                  <a:gd name="connsiteX54" fmla="*/ 709464 w 1128860"/>
                  <a:gd name="connsiteY54" fmla="*/ 365816 h 1642641"/>
                  <a:gd name="connsiteX55" fmla="*/ 714442 w 1128860"/>
                  <a:gd name="connsiteY55" fmla="*/ 368514 h 1642641"/>
                  <a:gd name="connsiteX56" fmla="*/ 711123 w 1128860"/>
                  <a:gd name="connsiteY56" fmla="*/ 379309 h 1642641"/>
                  <a:gd name="connsiteX57" fmla="*/ 658579 w 1128860"/>
                  <a:gd name="connsiteY57" fmla="*/ 369594 h 1642641"/>
                  <a:gd name="connsiteX58" fmla="*/ 624841 w 1128860"/>
                  <a:gd name="connsiteY58" fmla="*/ 377150 h 1642641"/>
                  <a:gd name="connsiteX59" fmla="*/ 621522 w 1128860"/>
                  <a:gd name="connsiteY59" fmla="*/ 388484 h 1642641"/>
                  <a:gd name="connsiteX60" fmla="*/ 629266 w 1128860"/>
                  <a:gd name="connsiteY60" fmla="*/ 415470 h 1642641"/>
                  <a:gd name="connsiteX61" fmla="*/ 633137 w 1128860"/>
                  <a:gd name="connsiteY61" fmla="*/ 420867 h 1642641"/>
                  <a:gd name="connsiteX62" fmla="*/ 625947 w 1128860"/>
                  <a:gd name="connsiteY62" fmla="*/ 440297 h 1642641"/>
                  <a:gd name="connsiteX63" fmla="*/ 617651 w 1128860"/>
                  <a:gd name="connsiteY63" fmla="*/ 440837 h 1642641"/>
                  <a:gd name="connsiteX64" fmla="*/ 593868 w 1128860"/>
                  <a:gd name="connsiteY64" fmla="*/ 435440 h 1642641"/>
                  <a:gd name="connsiteX65" fmla="*/ 572850 w 1128860"/>
                  <a:gd name="connsiteY65" fmla="*/ 458108 h 1642641"/>
                  <a:gd name="connsiteX66" fmla="*/ 562895 w 1128860"/>
                  <a:gd name="connsiteY66" fmla="*/ 500746 h 1642641"/>
                  <a:gd name="connsiteX67" fmla="*/ 552386 w 1128860"/>
                  <a:gd name="connsiteY67" fmla="*/ 516398 h 1642641"/>
                  <a:gd name="connsiteX68" fmla="*/ 567319 w 1128860"/>
                  <a:gd name="connsiteY68" fmla="*/ 536908 h 1642641"/>
                  <a:gd name="connsiteX69" fmla="*/ 570638 w 1128860"/>
                  <a:gd name="connsiteY69" fmla="*/ 567672 h 1642641"/>
                  <a:gd name="connsiteX70" fmla="*/ 529156 w 1128860"/>
                  <a:gd name="connsiteY70" fmla="*/ 630280 h 1642641"/>
                  <a:gd name="connsiteX71" fmla="*/ 541324 w 1128860"/>
                  <a:gd name="connsiteY71" fmla="*/ 649710 h 1642641"/>
                  <a:gd name="connsiteX72" fmla="*/ 518094 w 1128860"/>
                  <a:gd name="connsiteY72" fmla="*/ 668600 h 1642641"/>
                  <a:gd name="connsiteX73" fmla="*/ 498183 w 1128860"/>
                  <a:gd name="connsiteY73" fmla="*/ 678315 h 1642641"/>
                  <a:gd name="connsiteX74" fmla="*/ 507032 w 1128860"/>
                  <a:gd name="connsiteY74" fmla="*/ 711778 h 1642641"/>
                  <a:gd name="connsiteX75" fmla="*/ 505926 w 1128860"/>
                  <a:gd name="connsiteY75" fmla="*/ 756036 h 1642641"/>
                  <a:gd name="connsiteX76" fmla="*/ 498736 w 1128860"/>
                  <a:gd name="connsiteY76" fmla="*/ 790578 h 1642641"/>
                  <a:gd name="connsiteX77" fmla="*/ 472741 w 1128860"/>
                  <a:gd name="connsiteY77" fmla="*/ 854265 h 1642641"/>
                  <a:gd name="connsiteX78" fmla="*/ 497630 w 1128860"/>
                  <a:gd name="connsiteY78" fmla="*/ 872076 h 1642641"/>
                  <a:gd name="connsiteX79" fmla="*/ 500395 w 1128860"/>
                  <a:gd name="connsiteY79" fmla="*/ 902840 h 1642641"/>
                  <a:gd name="connsiteX80" fmla="*/ 495417 w 1128860"/>
                  <a:gd name="connsiteY80" fmla="*/ 920651 h 1642641"/>
                  <a:gd name="connsiteX81" fmla="*/ 452276 w 1128860"/>
                  <a:gd name="connsiteY81" fmla="*/ 917953 h 1642641"/>
                  <a:gd name="connsiteX82" fmla="*/ 426834 w 1128860"/>
                  <a:gd name="connsiteY82" fmla="*/ 933065 h 1642641"/>
                  <a:gd name="connsiteX83" fmla="*/ 406369 w 1128860"/>
                  <a:gd name="connsiteY83" fmla="*/ 964909 h 1642641"/>
                  <a:gd name="connsiteX84" fmla="*/ 401392 w 1128860"/>
                  <a:gd name="connsiteY84" fmla="*/ 978941 h 1642641"/>
                  <a:gd name="connsiteX85" fmla="*/ 405263 w 1128860"/>
                  <a:gd name="connsiteY85" fmla="*/ 990276 h 1642641"/>
                  <a:gd name="connsiteX86" fmla="*/ 395861 w 1128860"/>
                  <a:gd name="connsiteY86" fmla="*/ 1015642 h 1642641"/>
                  <a:gd name="connsiteX87" fmla="*/ 408029 w 1128860"/>
                  <a:gd name="connsiteY87" fmla="*/ 1047486 h 1642641"/>
                  <a:gd name="connsiteX88" fmla="*/ 401392 w 1128860"/>
                  <a:gd name="connsiteY88" fmla="*/ 1059360 h 1642641"/>
                  <a:gd name="connsiteX89" fmla="*/ 401945 w 1128860"/>
                  <a:gd name="connsiteY89" fmla="*/ 1091204 h 1642641"/>
                  <a:gd name="connsiteX90" fmla="*/ 420197 w 1128860"/>
                  <a:gd name="connsiteY90" fmla="*/ 1128984 h 1642641"/>
                  <a:gd name="connsiteX91" fmla="*/ 422962 w 1128860"/>
                  <a:gd name="connsiteY91" fmla="*/ 1136001 h 1642641"/>
                  <a:gd name="connsiteX92" fmla="*/ 417984 w 1128860"/>
                  <a:gd name="connsiteY92" fmla="*/ 1198069 h 1642641"/>
                  <a:gd name="connsiteX93" fmla="*/ 457254 w 1128860"/>
                  <a:gd name="connsiteY93" fmla="*/ 1230992 h 1642641"/>
                  <a:gd name="connsiteX94" fmla="*/ 460019 w 1128860"/>
                  <a:gd name="connsiteY94" fmla="*/ 1244485 h 1642641"/>
                  <a:gd name="connsiteX95" fmla="*/ 448958 w 1128860"/>
                  <a:gd name="connsiteY95" fmla="*/ 1276329 h 1642641"/>
                  <a:gd name="connsiteX96" fmla="*/ 438449 w 1128860"/>
                  <a:gd name="connsiteY96" fmla="*/ 1276329 h 1642641"/>
                  <a:gd name="connsiteX97" fmla="*/ 429046 w 1128860"/>
                  <a:gd name="connsiteY97" fmla="*/ 1284964 h 1642641"/>
                  <a:gd name="connsiteX98" fmla="*/ 457254 w 1128860"/>
                  <a:gd name="connsiteY98" fmla="*/ 1344334 h 1642641"/>
                  <a:gd name="connsiteX99" fmla="*/ 450617 w 1128860"/>
                  <a:gd name="connsiteY99" fmla="*/ 1367542 h 1642641"/>
                  <a:gd name="connsiteX100" fmla="*/ 449511 w 1128860"/>
                  <a:gd name="connsiteY100" fmla="*/ 1392909 h 1642641"/>
                  <a:gd name="connsiteX101" fmla="*/ 436790 w 1128860"/>
                  <a:gd name="connsiteY101" fmla="*/ 1412339 h 1642641"/>
                  <a:gd name="connsiteX102" fmla="*/ 417431 w 1128860"/>
                  <a:gd name="connsiteY102" fmla="*/ 1417197 h 1642641"/>
                  <a:gd name="connsiteX103" fmla="*/ 420197 w 1128860"/>
                  <a:gd name="connsiteY103" fmla="*/ 1437706 h 1642641"/>
                  <a:gd name="connsiteX104" fmla="*/ 409688 w 1128860"/>
                  <a:gd name="connsiteY104" fmla="*/ 1447421 h 1642641"/>
                  <a:gd name="connsiteX105" fmla="*/ 418538 w 1128860"/>
                  <a:gd name="connsiteY105" fmla="*/ 1486821 h 1642641"/>
                  <a:gd name="connsiteX106" fmla="*/ 406369 w 1128860"/>
                  <a:gd name="connsiteY106" fmla="*/ 1531618 h 1642641"/>
                  <a:gd name="connsiteX107" fmla="*/ 400285 w 1128860"/>
                  <a:gd name="connsiteY107" fmla="*/ 1533237 h 1642641"/>
                  <a:gd name="connsiteX108" fmla="*/ 393648 w 1128860"/>
                  <a:gd name="connsiteY108" fmla="*/ 1531618 h 1642641"/>
                  <a:gd name="connsiteX109" fmla="*/ 392542 w 1128860"/>
                  <a:gd name="connsiteY109" fmla="*/ 1509489 h 1642641"/>
                  <a:gd name="connsiteX110" fmla="*/ 384799 w 1128860"/>
                  <a:gd name="connsiteY110" fmla="*/ 1506791 h 1642641"/>
                  <a:gd name="connsiteX111" fmla="*/ 363781 w 1128860"/>
                  <a:gd name="connsiteY111" fmla="*/ 1499774 h 1642641"/>
                  <a:gd name="connsiteX112" fmla="*/ 349954 w 1128860"/>
                  <a:gd name="connsiteY112" fmla="*/ 1480344 h 1642641"/>
                  <a:gd name="connsiteX113" fmla="*/ 347742 w 1128860"/>
                  <a:gd name="connsiteY113" fmla="*/ 1448501 h 1642641"/>
                  <a:gd name="connsiteX114" fmla="*/ 342764 w 1128860"/>
                  <a:gd name="connsiteY114" fmla="*/ 1437166 h 1642641"/>
                  <a:gd name="connsiteX115" fmla="*/ 343317 w 1128860"/>
                  <a:gd name="connsiteY115" fmla="*/ 1435008 h 1642641"/>
                  <a:gd name="connsiteX116" fmla="*/ 346082 w 1128860"/>
                  <a:gd name="connsiteY116" fmla="*/ 1434468 h 1642641"/>
                  <a:gd name="connsiteX117" fmla="*/ 347189 w 1128860"/>
                  <a:gd name="connsiteY117" fmla="*/ 1436087 h 1642641"/>
                  <a:gd name="connsiteX118" fmla="*/ 348848 w 1128860"/>
                  <a:gd name="connsiteY118" fmla="*/ 1435008 h 1642641"/>
                  <a:gd name="connsiteX119" fmla="*/ 347189 w 1128860"/>
                  <a:gd name="connsiteY119" fmla="*/ 1417736 h 1642641"/>
                  <a:gd name="connsiteX120" fmla="*/ 339998 w 1128860"/>
                  <a:gd name="connsiteY120" fmla="*/ 1418816 h 1642641"/>
                  <a:gd name="connsiteX121" fmla="*/ 332808 w 1128860"/>
                  <a:gd name="connsiteY121" fmla="*/ 1430690 h 1642641"/>
                  <a:gd name="connsiteX122" fmla="*/ 336680 w 1128860"/>
                  <a:gd name="connsiteY122" fmla="*/ 1435547 h 1642641"/>
                  <a:gd name="connsiteX123" fmla="*/ 338339 w 1128860"/>
                  <a:gd name="connsiteY123" fmla="*/ 1450660 h 1642641"/>
                  <a:gd name="connsiteX124" fmla="*/ 336680 w 1128860"/>
                  <a:gd name="connsiteY124" fmla="*/ 1457136 h 1642641"/>
                  <a:gd name="connsiteX125" fmla="*/ 324512 w 1128860"/>
                  <a:gd name="connsiteY125" fmla="*/ 1456057 h 1642641"/>
                  <a:gd name="connsiteX126" fmla="*/ 323959 w 1128860"/>
                  <a:gd name="connsiteY126" fmla="*/ 1460914 h 1642641"/>
                  <a:gd name="connsiteX127" fmla="*/ 334468 w 1128860"/>
                  <a:gd name="connsiteY127" fmla="*/ 1472788 h 1642641"/>
                  <a:gd name="connsiteX128" fmla="*/ 337233 w 1128860"/>
                  <a:gd name="connsiteY128" fmla="*/ 1486821 h 1642641"/>
                  <a:gd name="connsiteX129" fmla="*/ 335574 w 1128860"/>
                  <a:gd name="connsiteY129" fmla="*/ 1492218 h 1642641"/>
                  <a:gd name="connsiteX130" fmla="*/ 328384 w 1128860"/>
                  <a:gd name="connsiteY130" fmla="*/ 1497076 h 1642641"/>
                  <a:gd name="connsiteX131" fmla="*/ 322853 w 1128860"/>
                  <a:gd name="connsiteY131" fmla="*/ 1514347 h 1642641"/>
                  <a:gd name="connsiteX132" fmla="*/ 310131 w 1128860"/>
                  <a:gd name="connsiteY132" fmla="*/ 1522443 h 1642641"/>
                  <a:gd name="connsiteX133" fmla="*/ 304601 w 1128860"/>
                  <a:gd name="connsiteY133" fmla="*/ 1527300 h 1642641"/>
                  <a:gd name="connsiteX134" fmla="*/ 297410 w 1128860"/>
                  <a:gd name="connsiteY134" fmla="*/ 1521363 h 1642641"/>
                  <a:gd name="connsiteX135" fmla="*/ 293539 w 1128860"/>
                  <a:gd name="connsiteY135" fmla="*/ 1521363 h 1642641"/>
                  <a:gd name="connsiteX136" fmla="*/ 289114 w 1128860"/>
                  <a:gd name="connsiteY136" fmla="*/ 1529999 h 1642641"/>
                  <a:gd name="connsiteX137" fmla="*/ 264778 w 1128860"/>
                  <a:gd name="connsiteY137" fmla="*/ 1540793 h 1642641"/>
                  <a:gd name="connsiteX138" fmla="*/ 264225 w 1128860"/>
                  <a:gd name="connsiteY138" fmla="*/ 1543492 h 1642641"/>
                  <a:gd name="connsiteX139" fmla="*/ 270309 w 1128860"/>
                  <a:gd name="connsiteY139" fmla="*/ 1544571 h 1642641"/>
                  <a:gd name="connsiteX140" fmla="*/ 265331 w 1128860"/>
                  <a:gd name="connsiteY140" fmla="*/ 1555906 h 1642641"/>
                  <a:gd name="connsiteX141" fmla="*/ 253716 w 1128860"/>
                  <a:gd name="connsiteY141" fmla="*/ 1562922 h 1642641"/>
                  <a:gd name="connsiteX142" fmla="*/ 249291 w 1128860"/>
                  <a:gd name="connsiteY142" fmla="*/ 1572097 h 1642641"/>
                  <a:gd name="connsiteX143" fmla="*/ 239336 w 1128860"/>
                  <a:gd name="connsiteY143" fmla="*/ 1579114 h 1642641"/>
                  <a:gd name="connsiteX144" fmla="*/ 212234 w 1128860"/>
                  <a:gd name="connsiteY144" fmla="*/ 1616894 h 1642641"/>
                  <a:gd name="connsiteX145" fmla="*/ 199513 w 1128860"/>
                  <a:gd name="connsiteY145" fmla="*/ 1623911 h 1642641"/>
                  <a:gd name="connsiteX146" fmla="*/ 194535 w 1128860"/>
                  <a:gd name="connsiteY146" fmla="*/ 1629848 h 1642641"/>
                  <a:gd name="connsiteX147" fmla="*/ 174071 w 1128860"/>
                  <a:gd name="connsiteY147" fmla="*/ 1634705 h 1642641"/>
                  <a:gd name="connsiteX148" fmla="*/ 163009 w 1128860"/>
                  <a:gd name="connsiteY148" fmla="*/ 1641722 h 1642641"/>
                  <a:gd name="connsiteX149" fmla="*/ 125399 w 1128860"/>
                  <a:gd name="connsiteY149" fmla="*/ 1639563 h 1642641"/>
                  <a:gd name="connsiteX150" fmla="*/ 109912 w 1128860"/>
                  <a:gd name="connsiteY150" fmla="*/ 1625530 h 1642641"/>
                  <a:gd name="connsiteX151" fmla="*/ 104381 w 1128860"/>
                  <a:gd name="connsiteY151" fmla="*/ 1626609 h 1642641"/>
                  <a:gd name="connsiteX152" fmla="*/ 103828 w 1128860"/>
                  <a:gd name="connsiteY152" fmla="*/ 1637404 h 1642641"/>
                  <a:gd name="connsiteX153" fmla="*/ 101616 w 1128860"/>
                  <a:gd name="connsiteY153" fmla="*/ 1638483 h 1642641"/>
                  <a:gd name="connsiteX154" fmla="*/ 91107 w 1128860"/>
                  <a:gd name="connsiteY154" fmla="*/ 1628768 h 1642641"/>
                  <a:gd name="connsiteX155" fmla="*/ 96085 w 1128860"/>
                  <a:gd name="connsiteY155" fmla="*/ 1620133 h 1642641"/>
                  <a:gd name="connsiteX156" fmla="*/ 95532 w 1128860"/>
                  <a:gd name="connsiteY156" fmla="*/ 1617434 h 1642641"/>
                  <a:gd name="connsiteX157" fmla="*/ 57922 w 1128860"/>
                  <a:gd name="connsiteY157" fmla="*/ 1596925 h 1642641"/>
                  <a:gd name="connsiteX158" fmla="*/ 52944 w 1128860"/>
                  <a:gd name="connsiteY158" fmla="*/ 1588829 h 1642641"/>
                  <a:gd name="connsiteX159" fmla="*/ 36351 w 1128860"/>
                  <a:gd name="connsiteY159" fmla="*/ 1574796 h 1642641"/>
                  <a:gd name="connsiteX160" fmla="*/ 28608 w 1128860"/>
                  <a:gd name="connsiteY160" fmla="*/ 1560763 h 1642641"/>
                  <a:gd name="connsiteX161" fmla="*/ 30820 w 1128860"/>
                  <a:gd name="connsiteY161" fmla="*/ 1526221 h 1642641"/>
                  <a:gd name="connsiteX162" fmla="*/ 33585 w 1128860"/>
                  <a:gd name="connsiteY162" fmla="*/ 1525681 h 1642641"/>
                  <a:gd name="connsiteX163" fmla="*/ 40776 w 1128860"/>
                  <a:gd name="connsiteY163" fmla="*/ 1537555 h 1642641"/>
                  <a:gd name="connsiteX164" fmla="*/ 43541 w 1128860"/>
                  <a:gd name="connsiteY164" fmla="*/ 1538095 h 1642641"/>
                  <a:gd name="connsiteX165" fmla="*/ 57922 w 1128860"/>
                  <a:gd name="connsiteY165" fmla="*/ 1538634 h 1642641"/>
                  <a:gd name="connsiteX166" fmla="*/ 55709 w 1128860"/>
                  <a:gd name="connsiteY166" fmla="*/ 1517585 h 1642641"/>
                  <a:gd name="connsiteX167" fmla="*/ 61793 w 1128860"/>
                  <a:gd name="connsiteY167" fmla="*/ 1513267 h 1642641"/>
                  <a:gd name="connsiteX168" fmla="*/ 70643 w 1128860"/>
                  <a:gd name="connsiteY168" fmla="*/ 1494917 h 1642641"/>
                  <a:gd name="connsiteX169" fmla="*/ 64006 w 1128860"/>
                  <a:gd name="connsiteY169" fmla="*/ 1486821 h 1642641"/>
                  <a:gd name="connsiteX170" fmla="*/ 65112 w 1128860"/>
                  <a:gd name="connsiteY170" fmla="*/ 1481963 h 1642641"/>
                  <a:gd name="connsiteX171" fmla="*/ 66771 w 1128860"/>
                  <a:gd name="connsiteY171" fmla="*/ 1473868 h 1642641"/>
                  <a:gd name="connsiteX172" fmla="*/ 60134 w 1128860"/>
                  <a:gd name="connsiteY172" fmla="*/ 1479805 h 1642641"/>
                  <a:gd name="connsiteX173" fmla="*/ 57368 w 1128860"/>
                  <a:gd name="connsiteY173" fmla="*/ 1479265 h 1642641"/>
                  <a:gd name="connsiteX174" fmla="*/ 56815 w 1128860"/>
                  <a:gd name="connsiteY174" fmla="*/ 1478185 h 1642641"/>
                  <a:gd name="connsiteX175" fmla="*/ 55709 w 1128860"/>
                  <a:gd name="connsiteY175" fmla="*/ 1466851 h 1642641"/>
                  <a:gd name="connsiteX176" fmla="*/ 49072 w 1128860"/>
                  <a:gd name="connsiteY176" fmla="*/ 1466851 h 1642641"/>
                  <a:gd name="connsiteX177" fmla="*/ 42435 w 1128860"/>
                  <a:gd name="connsiteY177" fmla="*/ 1488980 h 1642641"/>
                  <a:gd name="connsiteX178" fmla="*/ 36904 w 1128860"/>
                  <a:gd name="connsiteY178" fmla="*/ 1482503 h 1642641"/>
                  <a:gd name="connsiteX179" fmla="*/ 34692 w 1128860"/>
                  <a:gd name="connsiteY179" fmla="*/ 1482503 h 1642641"/>
                  <a:gd name="connsiteX180" fmla="*/ 30267 w 1128860"/>
                  <a:gd name="connsiteY180" fmla="*/ 1488440 h 1642641"/>
                  <a:gd name="connsiteX181" fmla="*/ 28055 w 1128860"/>
                  <a:gd name="connsiteY181" fmla="*/ 1487361 h 1642641"/>
                  <a:gd name="connsiteX182" fmla="*/ 26948 w 1128860"/>
                  <a:gd name="connsiteY182" fmla="*/ 1484122 h 1642641"/>
                  <a:gd name="connsiteX183" fmla="*/ 24736 w 1128860"/>
                  <a:gd name="connsiteY183" fmla="*/ 1480344 h 1642641"/>
                  <a:gd name="connsiteX184" fmla="*/ 18099 w 1128860"/>
                  <a:gd name="connsiteY184" fmla="*/ 1482503 h 1642641"/>
                  <a:gd name="connsiteX185" fmla="*/ 14227 w 1128860"/>
                  <a:gd name="connsiteY185" fmla="*/ 1505711 h 1642641"/>
                  <a:gd name="connsiteX186" fmla="*/ 13121 w 1128860"/>
                  <a:gd name="connsiteY186" fmla="*/ 1506791 h 1642641"/>
                  <a:gd name="connsiteX187" fmla="*/ 11462 w 1128860"/>
                  <a:gd name="connsiteY187" fmla="*/ 1475487 h 1642641"/>
                  <a:gd name="connsiteX188" fmla="*/ 12015 w 1128860"/>
                  <a:gd name="connsiteY188" fmla="*/ 1459835 h 1642641"/>
                  <a:gd name="connsiteX189" fmla="*/ 25842 w 1128860"/>
                  <a:gd name="connsiteY189" fmla="*/ 1446342 h 1642641"/>
                  <a:gd name="connsiteX190" fmla="*/ 28055 w 1128860"/>
                  <a:gd name="connsiteY190" fmla="*/ 1446881 h 1642641"/>
                  <a:gd name="connsiteX191" fmla="*/ 29161 w 1128860"/>
                  <a:gd name="connsiteY191" fmla="*/ 1449580 h 1642641"/>
                  <a:gd name="connsiteX192" fmla="*/ 24183 w 1128860"/>
                  <a:gd name="connsiteY192" fmla="*/ 1463073 h 1642641"/>
                  <a:gd name="connsiteX193" fmla="*/ 33032 w 1128860"/>
                  <a:gd name="connsiteY193" fmla="*/ 1454977 h 1642641"/>
                  <a:gd name="connsiteX194" fmla="*/ 37457 w 1128860"/>
                  <a:gd name="connsiteY194" fmla="*/ 1446881 h 1642641"/>
                  <a:gd name="connsiteX195" fmla="*/ 47966 w 1128860"/>
                  <a:gd name="connsiteY195" fmla="*/ 1451199 h 1642641"/>
                  <a:gd name="connsiteX196" fmla="*/ 55156 w 1128860"/>
                  <a:gd name="connsiteY196" fmla="*/ 1440944 h 1642641"/>
                  <a:gd name="connsiteX197" fmla="*/ 68983 w 1128860"/>
                  <a:gd name="connsiteY197" fmla="*/ 1432849 h 1642641"/>
                  <a:gd name="connsiteX198" fmla="*/ 62346 w 1128860"/>
                  <a:gd name="connsiteY198" fmla="*/ 1433388 h 1642641"/>
                  <a:gd name="connsiteX199" fmla="*/ 52944 w 1128860"/>
                  <a:gd name="connsiteY199" fmla="*/ 1431229 h 1642641"/>
                  <a:gd name="connsiteX200" fmla="*/ 45753 w 1128860"/>
                  <a:gd name="connsiteY200" fmla="*/ 1436087 h 1642641"/>
                  <a:gd name="connsiteX201" fmla="*/ 43541 w 1128860"/>
                  <a:gd name="connsiteY201" fmla="*/ 1435547 h 1642641"/>
                  <a:gd name="connsiteX202" fmla="*/ 60687 w 1128860"/>
                  <a:gd name="connsiteY202" fmla="*/ 1411799 h 1642641"/>
                  <a:gd name="connsiteX203" fmla="*/ 67877 w 1128860"/>
                  <a:gd name="connsiteY203" fmla="*/ 1398846 h 1642641"/>
                  <a:gd name="connsiteX204" fmla="*/ 70643 w 1128860"/>
                  <a:gd name="connsiteY204" fmla="*/ 1396147 h 1642641"/>
                  <a:gd name="connsiteX205" fmla="*/ 68430 w 1128860"/>
                  <a:gd name="connsiteY205" fmla="*/ 1383734 h 1642641"/>
                  <a:gd name="connsiteX206" fmla="*/ 53497 w 1128860"/>
                  <a:gd name="connsiteY206" fmla="*/ 1386972 h 1642641"/>
                  <a:gd name="connsiteX207" fmla="*/ 49625 w 1128860"/>
                  <a:gd name="connsiteY207" fmla="*/ 1403164 h 1642641"/>
                  <a:gd name="connsiteX208" fmla="*/ 45200 w 1128860"/>
                  <a:gd name="connsiteY208" fmla="*/ 1393989 h 1642641"/>
                  <a:gd name="connsiteX209" fmla="*/ 43541 w 1128860"/>
                  <a:gd name="connsiteY209" fmla="*/ 1388591 h 1642641"/>
                  <a:gd name="connsiteX210" fmla="*/ 36904 w 1128860"/>
                  <a:gd name="connsiteY210" fmla="*/ 1386432 h 1642641"/>
                  <a:gd name="connsiteX211" fmla="*/ 43541 w 1128860"/>
                  <a:gd name="connsiteY211" fmla="*/ 1365383 h 1642641"/>
                  <a:gd name="connsiteX212" fmla="*/ 41329 w 1128860"/>
                  <a:gd name="connsiteY212" fmla="*/ 1363764 h 1642641"/>
                  <a:gd name="connsiteX213" fmla="*/ 25289 w 1128860"/>
                  <a:gd name="connsiteY213" fmla="*/ 1386432 h 1642641"/>
                  <a:gd name="connsiteX214" fmla="*/ 18652 w 1128860"/>
                  <a:gd name="connsiteY214" fmla="*/ 1385353 h 1642641"/>
                  <a:gd name="connsiteX215" fmla="*/ 14780 w 1128860"/>
                  <a:gd name="connsiteY215" fmla="*/ 1356748 h 1642641"/>
                  <a:gd name="connsiteX216" fmla="*/ 20311 w 1128860"/>
                  <a:gd name="connsiteY216" fmla="*/ 1350271 h 1642641"/>
                  <a:gd name="connsiteX217" fmla="*/ 23077 w 1128860"/>
                  <a:gd name="connsiteY217" fmla="*/ 1350271 h 1642641"/>
                  <a:gd name="connsiteX218" fmla="*/ 26395 w 1128860"/>
                  <a:gd name="connsiteY218" fmla="*/ 1356208 h 1642641"/>
                  <a:gd name="connsiteX219" fmla="*/ 38563 w 1128860"/>
                  <a:gd name="connsiteY219" fmla="*/ 1356748 h 1642641"/>
                  <a:gd name="connsiteX220" fmla="*/ 46860 w 1128860"/>
                  <a:gd name="connsiteY220" fmla="*/ 1343794 h 1642641"/>
                  <a:gd name="connsiteX221" fmla="*/ 47966 w 1128860"/>
                  <a:gd name="connsiteY221" fmla="*/ 1327063 h 1642641"/>
                  <a:gd name="connsiteX222" fmla="*/ 46860 w 1128860"/>
                  <a:gd name="connsiteY222" fmla="*/ 1323825 h 1642641"/>
                  <a:gd name="connsiteX223" fmla="*/ 21971 w 1128860"/>
                  <a:gd name="connsiteY223" fmla="*/ 1337318 h 1642641"/>
                  <a:gd name="connsiteX224" fmla="*/ 14780 w 1128860"/>
                  <a:gd name="connsiteY224" fmla="*/ 1336778 h 1642641"/>
                  <a:gd name="connsiteX225" fmla="*/ 10356 w 1128860"/>
                  <a:gd name="connsiteY225" fmla="*/ 1335698 h 1642641"/>
                  <a:gd name="connsiteX226" fmla="*/ 7590 w 1128860"/>
                  <a:gd name="connsiteY226" fmla="*/ 1327603 h 1642641"/>
                  <a:gd name="connsiteX227" fmla="*/ 400 w 1128860"/>
                  <a:gd name="connsiteY227" fmla="*/ 1317348 h 1642641"/>
                  <a:gd name="connsiteX228" fmla="*/ 1506 w 1128860"/>
                  <a:gd name="connsiteY228" fmla="*/ 1315729 h 1642641"/>
                  <a:gd name="connsiteX229" fmla="*/ 7037 w 1128860"/>
                  <a:gd name="connsiteY229" fmla="*/ 1318427 h 1642641"/>
                  <a:gd name="connsiteX230" fmla="*/ 14227 w 1128860"/>
                  <a:gd name="connsiteY230" fmla="*/ 1320046 h 1642641"/>
                  <a:gd name="connsiteX231" fmla="*/ 20864 w 1128860"/>
                  <a:gd name="connsiteY231" fmla="*/ 1326523 h 1642641"/>
                  <a:gd name="connsiteX232" fmla="*/ 19205 w 1128860"/>
                  <a:gd name="connsiteY232" fmla="*/ 1317888 h 1642641"/>
                  <a:gd name="connsiteX233" fmla="*/ 20864 w 1128860"/>
                  <a:gd name="connsiteY233" fmla="*/ 1311411 h 1642641"/>
                  <a:gd name="connsiteX234" fmla="*/ 16993 w 1128860"/>
                  <a:gd name="connsiteY234" fmla="*/ 1310871 h 1642641"/>
                  <a:gd name="connsiteX235" fmla="*/ 6484 w 1128860"/>
                  <a:gd name="connsiteY235" fmla="*/ 1306553 h 1642641"/>
                  <a:gd name="connsiteX236" fmla="*/ 5931 w 1128860"/>
                  <a:gd name="connsiteY236" fmla="*/ 1296299 h 1642641"/>
                  <a:gd name="connsiteX237" fmla="*/ 4272 w 1128860"/>
                  <a:gd name="connsiteY237" fmla="*/ 1284964 h 1642641"/>
                  <a:gd name="connsiteX238" fmla="*/ 8696 w 1128860"/>
                  <a:gd name="connsiteY238" fmla="*/ 1281726 h 1642641"/>
                  <a:gd name="connsiteX239" fmla="*/ 35245 w 1128860"/>
                  <a:gd name="connsiteY239" fmla="*/ 1289822 h 1642641"/>
                  <a:gd name="connsiteX240" fmla="*/ 48519 w 1128860"/>
                  <a:gd name="connsiteY240" fmla="*/ 1284964 h 1642641"/>
                  <a:gd name="connsiteX241" fmla="*/ 68983 w 1128860"/>
                  <a:gd name="connsiteY241" fmla="*/ 1281726 h 1642641"/>
                  <a:gd name="connsiteX242" fmla="*/ 86129 w 1128860"/>
                  <a:gd name="connsiteY242" fmla="*/ 1283885 h 1642641"/>
                  <a:gd name="connsiteX243" fmla="*/ 101616 w 1128860"/>
                  <a:gd name="connsiteY243" fmla="*/ 1274710 h 1642641"/>
                  <a:gd name="connsiteX244" fmla="*/ 107700 w 1128860"/>
                  <a:gd name="connsiteY244" fmla="*/ 1276869 h 1642641"/>
                  <a:gd name="connsiteX245" fmla="*/ 114890 w 1128860"/>
                  <a:gd name="connsiteY245" fmla="*/ 1282806 h 1642641"/>
                  <a:gd name="connsiteX246" fmla="*/ 117655 w 1128860"/>
                  <a:gd name="connsiteY246" fmla="*/ 1295219 h 1642641"/>
                  <a:gd name="connsiteX247" fmla="*/ 119868 w 1128860"/>
                  <a:gd name="connsiteY247" fmla="*/ 1296838 h 1642641"/>
                  <a:gd name="connsiteX248" fmla="*/ 129270 w 1128860"/>
                  <a:gd name="connsiteY248" fmla="*/ 1304394 h 1642641"/>
                  <a:gd name="connsiteX249" fmla="*/ 130377 w 1128860"/>
                  <a:gd name="connsiteY249" fmla="*/ 1299537 h 1642641"/>
                  <a:gd name="connsiteX250" fmla="*/ 128164 w 1128860"/>
                  <a:gd name="connsiteY250" fmla="*/ 1297918 h 1642641"/>
                  <a:gd name="connsiteX251" fmla="*/ 125952 w 1128860"/>
                  <a:gd name="connsiteY251" fmla="*/ 1283885 h 1642641"/>
                  <a:gd name="connsiteX252" fmla="*/ 148629 w 1128860"/>
                  <a:gd name="connsiteY252" fmla="*/ 1273630 h 1642641"/>
                  <a:gd name="connsiteX253" fmla="*/ 148629 w 1128860"/>
                  <a:gd name="connsiteY253" fmla="*/ 1270392 h 1642641"/>
                  <a:gd name="connsiteX254" fmla="*/ 132036 w 1128860"/>
                  <a:gd name="connsiteY254" fmla="*/ 1272551 h 1642641"/>
                  <a:gd name="connsiteX255" fmla="*/ 122633 w 1128860"/>
                  <a:gd name="connsiteY255" fmla="*/ 1267693 h 1642641"/>
                  <a:gd name="connsiteX256" fmla="*/ 97744 w 1128860"/>
                  <a:gd name="connsiteY256" fmla="*/ 1262296 h 1642641"/>
                  <a:gd name="connsiteX257" fmla="*/ 90001 w 1128860"/>
                  <a:gd name="connsiteY257" fmla="*/ 1265534 h 1642641"/>
                  <a:gd name="connsiteX258" fmla="*/ 85023 w 1128860"/>
                  <a:gd name="connsiteY258" fmla="*/ 1273630 h 1642641"/>
                  <a:gd name="connsiteX259" fmla="*/ 65112 w 1128860"/>
                  <a:gd name="connsiteY259" fmla="*/ 1269312 h 1642641"/>
                  <a:gd name="connsiteX260" fmla="*/ 59028 w 1128860"/>
                  <a:gd name="connsiteY260" fmla="*/ 1272011 h 1642641"/>
                  <a:gd name="connsiteX261" fmla="*/ 49625 w 1128860"/>
                  <a:gd name="connsiteY261" fmla="*/ 1272551 h 1642641"/>
                  <a:gd name="connsiteX262" fmla="*/ 18652 w 1128860"/>
                  <a:gd name="connsiteY262" fmla="*/ 1275789 h 1642641"/>
                  <a:gd name="connsiteX263" fmla="*/ 16440 w 1128860"/>
                  <a:gd name="connsiteY263" fmla="*/ 1271471 h 1642641"/>
                  <a:gd name="connsiteX264" fmla="*/ 9249 w 1128860"/>
                  <a:gd name="connsiteY264" fmla="*/ 1262836 h 1642641"/>
                  <a:gd name="connsiteX265" fmla="*/ 12015 w 1128860"/>
                  <a:gd name="connsiteY265" fmla="*/ 1254740 h 1642641"/>
                  <a:gd name="connsiteX266" fmla="*/ 8143 w 1128860"/>
                  <a:gd name="connsiteY266" fmla="*/ 1245565 h 1642641"/>
                  <a:gd name="connsiteX267" fmla="*/ 26395 w 1128860"/>
                  <a:gd name="connsiteY267" fmla="*/ 1238548 h 1642641"/>
                  <a:gd name="connsiteX268" fmla="*/ 27501 w 1128860"/>
                  <a:gd name="connsiteY268" fmla="*/ 1235310 h 1642641"/>
                  <a:gd name="connsiteX269" fmla="*/ 18099 w 1128860"/>
                  <a:gd name="connsiteY269" fmla="*/ 1232072 h 1642641"/>
                  <a:gd name="connsiteX270" fmla="*/ 21417 w 1128860"/>
                  <a:gd name="connsiteY270" fmla="*/ 1224515 h 1642641"/>
                  <a:gd name="connsiteX271" fmla="*/ 18652 w 1128860"/>
                  <a:gd name="connsiteY271" fmla="*/ 1216959 h 1642641"/>
                  <a:gd name="connsiteX272" fmla="*/ 7590 w 1128860"/>
                  <a:gd name="connsiteY272" fmla="*/ 1213721 h 1642641"/>
                  <a:gd name="connsiteX273" fmla="*/ 7037 w 1128860"/>
                  <a:gd name="connsiteY273" fmla="*/ 1209403 h 1642641"/>
                  <a:gd name="connsiteX274" fmla="*/ 16440 w 1128860"/>
                  <a:gd name="connsiteY274" fmla="*/ 1204546 h 1642641"/>
                  <a:gd name="connsiteX275" fmla="*/ 21971 w 1128860"/>
                  <a:gd name="connsiteY275" fmla="*/ 1190513 h 1642641"/>
                  <a:gd name="connsiteX276" fmla="*/ 30267 w 1128860"/>
                  <a:gd name="connsiteY276" fmla="*/ 1184036 h 1642641"/>
                  <a:gd name="connsiteX277" fmla="*/ 36351 w 1128860"/>
                  <a:gd name="connsiteY277" fmla="*/ 1184036 h 1642641"/>
                  <a:gd name="connsiteX278" fmla="*/ 49625 w 1128860"/>
                  <a:gd name="connsiteY278" fmla="*/ 1193751 h 1642641"/>
                  <a:gd name="connsiteX279" fmla="*/ 73408 w 1128860"/>
                  <a:gd name="connsiteY279" fmla="*/ 1194831 h 1642641"/>
                  <a:gd name="connsiteX280" fmla="*/ 73961 w 1128860"/>
                  <a:gd name="connsiteY280" fmla="*/ 1193211 h 1642641"/>
                  <a:gd name="connsiteX281" fmla="*/ 61240 w 1128860"/>
                  <a:gd name="connsiteY281" fmla="*/ 1186195 h 1642641"/>
                  <a:gd name="connsiteX282" fmla="*/ 54050 w 1128860"/>
                  <a:gd name="connsiteY282" fmla="*/ 1178099 h 1642641"/>
                  <a:gd name="connsiteX283" fmla="*/ 41882 w 1128860"/>
                  <a:gd name="connsiteY283" fmla="*/ 1175940 h 1642641"/>
                  <a:gd name="connsiteX284" fmla="*/ 20311 w 1128860"/>
                  <a:gd name="connsiteY284" fmla="*/ 1178639 h 1642641"/>
                  <a:gd name="connsiteX285" fmla="*/ 25289 w 1128860"/>
                  <a:gd name="connsiteY285" fmla="*/ 1168384 h 1642641"/>
                  <a:gd name="connsiteX286" fmla="*/ 17546 w 1128860"/>
                  <a:gd name="connsiteY286" fmla="*/ 1162447 h 1642641"/>
                  <a:gd name="connsiteX287" fmla="*/ 16993 w 1128860"/>
                  <a:gd name="connsiteY287" fmla="*/ 1157050 h 1642641"/>
                  <a:gd name="connsiteX288" fmla="*/ 16440 w 1128860"/>
                  <a:gd name="connsiteY288" fmla="*/ 1153272 h 1642641"/>
                  <a:gd name="connsiteX289" fmla="*/ 35245 w 1128860"/>
                  <a:gd name="connsiteY289" fmla="*/ 1168384 h 1642641"/>
                  <a:gd name="connsiteX290" fmla="*/ 33032 w 1128860"/>
                  <a:gd name="connsiteY290" fmla="*/ 1152732 h 1642641"/>
                  <a:gd name="connsiteX291" fmla="*/ 34692 w 1128860"/>
                  <a:gd name="connsiteY291" fmla="*/ 1152732 h 1642641"/>
                  <a:gd name="connsiteX292" fmla="*/ 46307 w 1128860"/>
                  <a:gd name="connsiteY292" fmla="*/ 1160288 h 1642641"/>
                  <a:gd name="connsiteX293" fmla="*/ 52944 w 1128860"/>
                  <a:gd name="connsiteY293" fmla="*/ 1153272 h 1642641"/>
                  <a:gd name="connsiteX294" fmla="*/ 66218 w 1128860"/>
                  <a:gd name="connsiteY294" fmla="*/ 1162447 h 1642641"/>
                  <a:gd name="connsiteX295" fmla="*/ 75067 w 1128860"/>
                  <a:gd name="connsiteY295" fmla="*/ 1164066 h 1642641"/>
                  <a:gd name="connsiteX296" fmla="*/ 76174 w 1128860"/>
                  <a:gd name="connsiteY296" fmla="*/ 1161368 h 1642641"/>
                  <a:gd name="connsiteX297" fmla="*/ 65112 w 1128860"/>
                  <a:gd name="connsiteY297" fmla="*/ 1146795 h 1642641"/>
                  <a:gd name="connsiteX298" fmla="*/ 82811 w 1128860"/>
                  <a:gd name="connsiteY298" fmla="*/ 1136541 h 1642641"/>
                  <a:gd name="connsiteX299" fmla="*/ 86129 w 1128860"/>
                  <a:gd name="connsiteY299" fmla="*/ 1140858 h 1642641"/>
                  <a:gd name="connsiteX300" fmla="*/ 92213 w 1128860"/>
                  <a:gd name="connsiteY300" fmla="*/ 1155431 h 1642641"/>
                  <a:gd name="connsiteX301" fmla="*/ 94979 w 1128860"/>
                  <a:gd name="connsiteY301" fmla="*/ 1148954 h 1642641"/>
                  <a:gd name="connsiteX302" fmla="*/ 92766 w 1128860"/>
                  <a:gd name="connsiteY302" fmla="*/ 1144636 h 1642641"/>
                  <a:gd name="connsiteX303" fmla="*/ 92766 w 1128860"/>
                  <a:gd name="connsiteY303" fmla="*/ 1130604 h 1642641"/>
                  <a:gd name="connsiteX304" fmla="*/ 95532 w 1128860"/>
                  <a:gd name="connsiteY304" fmla="*/ 1127365 h 1642641"/>
                  <a:gd name="connsiteX305" fmla="*/ 107147 w 1128860"/>
                  <a:gd name="connsiteY305" fmla="*/ 1124667 h 1642641"/>
                  <a:gd name="connsiteX306" fmla="*/ 120974 w 1128860"/>
                  <a:gd name="connsiteY306" fmla="*/ 1132762 h 1642641"/>
                  <a:gd name="connsiteX307" fmla="*/ 117102 w 1128860"/>
                  <a:gd name="connsiteY307" fmla="*/ 1122508 h 1642641"/>
                  <a:gd name="connsiteX308" fmla="*/ 112678 w 1128860"/>
                  <a:gd name="connsiteY308" fmla="*/ 1119809 h 1642641"/>
                  <a:gd name="connsiteX309" fmla="*/ 108806 w 1128860"/>
                  <a:gd name="connsiteY309" fmla="*/ 1118190 h 1642641"/>
                  <a:gd name="connsiteX310" fmla="*/ 86682 w 1128860"/>
                  <a:gd name="connsiteY310" fmla="*/ 1121428 h 1642641"/>
                  <a:gd name="connsiteX311" fmla="*/ 84470 w 1128860"/>
                  <a:gd name="connsiteY311" fmla="*/ 1118730 h 1642641"/>
                  <a:gd name="connsiteX312" fmla="*/ 85576 w 1128860"/>
                  <a:gd name="connsiteY312" fmla="*/ 1113872 h 1642641"/>
                  <a:gd name="connsiteX313" fmla="*/ 83364 w 1128860"/>
                  <a:gd name="connsiteY313" fmla="*/ 1107395 h 1642641"/>
                  <a:gd name="connsiteX314" fmla="*/ 86682 w 1128860"/>
                  <a:gd name="connsiteY314" fmla="*/ 1104157 h 1642641"/>
                  <a:gd name="connsiteX315" fmla="*/ 101063 w 1128860"/>
                  <a:gd name="connsiteY315" fmla="*/ 1105237 h 1642641"/>
                  <a:gd name="connsiteX316" fmla="*/ 122633 w 1128860"/>
                  <a:gd name="connsiteY316" fmla="*/ 1101459 h 1642641"/>
                  <a:gd name="connsiteX317" fmla="*/ 132589 w 1128860"/>
                  <a:gd name="connsiteY317" fmla="*/ 1104157 h 1642641"/>
                  <a:gd name="connsiteX318" fmla="*/ 134248 w 1128860"/>
                  <a:gd name="connsiteY318" fmla="*/ 1106856 h 1642641"/>
                  <a:gd name="connsiteX319" fmla="*/ 141438 w 1128860"/>
                  <a:gd name="connsiteY319" fmla="*/ 1108475 h 1642641"/>
                  <a:gd name="connsiteX320" fmla="*/ 149735 w 1128860"/>
                  <a:gd name="connsiteY320" fmla="*/ 1112253 h 1642641"/>
                  <a:gd name="connsiteX321" fmla="*/ 153053 w 1128860"/>
                  <a:gd name="connsiteY321" fmla="*/ 1112253 h 1642641"/>
                  <a:gd name="connsiteX322" fmla="*/ 150841 w 1128860"/>
                  <a:gd name="connsiteY322" fmla="*/ 1100379 h 1642641"/>
                  <a:gd name="connsiteX323" fmla="*/ 172412 w 1128860"/>
                  <a:gd name="connsiteY323" fmla="*/ 1088505 h 1642641"/>
                  <a:gd name="connsiteX324" fmla="*/ 145310 w 1128860"/>
                  <a:gd name="connsiteY324" fmla="*/ 1090664 h 1642641"/>
                  <a:gd name="connsiteX325" fmla="*/ 145863 w 1128860"/>
                  <a:gd name="connsiteY325" fmla="*/ 1089045 h 1642641"/>
                  <a:gd name="connsiteX326" fmla="*/ 154160 w 1128860"/>
                  <a:gd name="connsiteY326" fmla="*/ 1083108 h 1642641"/>
                  <a:gd name="connsiteX327" fmla="*/ 152500 w 1128860"/>
                  <a:gd name="connsiteY327" fmla="*/ 1082028 h 1642641"/>
                  <a:gd name="connsiteX328" fmla="*/ 146969 w 1128860"/>
                  <a:gd name="connsiteY328" fmla="*/ 1082568 h 1642641"/>
                  <a:gd name="connsiteX329" fmla="*/ 140332 w 1128860"/>
                  <a:gd name="connsiteY329" fmla="*/ 1085807 h 1642641"/>
                  <a:gd name="connsiteX330" fmla="*/ 122080 w 1128860"/>
                  <a:gd name="connsiteY330" fmla="*/ 1086886 h 1642641"/>
                  <a:gd name="connsiteX331" fmla="*/ 125952 w 1128860"/>
                  <a:gd name="connsiteY331" fmla="*/ 1074472 h 1642641"/>
                  <a:gd name="connsiteX332" fmla="*/ 120974 w 1128860"/>
                  <a:gd name="connsiteY332" fmla="*/ 1069615 h 1642641"/>
                  <a:gd name="connsiteX333" fmla="*/ 120974 w 1128860"/>
                  <a:gd name="connsiteY333" fmla="*/ 1067456 h 1642641"/>
                  <a:gd name="connsiteX334" fmla="*/ 123739 w 1128860"/>
                  <a:gd name="connsiteY334" fmla="*/ 1064218 h 1642641"/>
                  <a:gd name="connsiteX335" fmla="*/ 130930 w 1128860"/>
                  <a:gd name="connsiteY335" fmla="*/ 1062598 h 1642641"/>
                  <a:gd name="connsiteX336" fmla="*/ 148076 w 1128860"/>
                  <a:gd name="connsiteY336" fmla="*/ 1067456 h 1642641"/>
                  <a:gd name="connsiteX337" fmla="*/ 156372 w 1128860"/>
                  <a:gd name="connsiteY337" fmla="*/ 1064757 h 1642641"/>
                  <a:gd name="connsiteX338" fmla="*/ 163562 w 1128860"/>
                  <a:gd name="connsiteY338" fmla="*/ 1065297 h 1642641"/>
                  <a:gd name="connsiteX339" fmla="*/ 175730 w 1128860"/>
                  <a:gd name="connsiteY339" fmla="*/ 1063138 h 1642641"/>
                  <a:gd name="connsiteX340" fmla="*/ 180155 w 1128860"/>
                  <a:gd name="connsiteY340" fmla="*/ 1063678 h 1642641"/>
                  <a:gd name="connsiteX341" fmla="*/ 187345 w 1128860"/>
                  <a:gd name="connsiteY341" fmla="*/ 1080409 h 1642641"/>
                  <a:gd name="connsiteX342" fmla="*/ 200066 w 1128860"/>
                  <a:gd name="connsiteY342" fmla="*/ 1087965 h 1642641"/>
                  <a:gd name="connsiteX343" fmla="*/ 206150 w 1128860"/>
                  <a:gd name="connsiteY343" fmla="*/ 1093902 h 1642641"/>
                  <a:gd name="connsiteX344" fmla="*/ 208916 w 1128860"/>
                  <a:gd name="connsiteY344" fmla="*/ 1094982 h 1642641"/>
                  <a:gd name="connsiteX345" fmla="*/ 205044 w 1128860"/>
                  <a:gd name="connsiteY345" fmla="*/ 1085267 h 1642641"/>
                  <a:gd name="connsiteX346" fmla="*/ 192876 w 1128860"/>
                  <a:gd name="connsiteY346" fmla="*/ 1072313 h 1642641"/>
                  <a:gd name="connsiteX347" fmla="*/ 187345 w 1128860"/>
                  <a:gd name="connsiteY347" fmla="*/ 1060979 h 1642641"/>
                  <a:gd name="connsiteX348" fmla="*/ 184026 w 1128860"/>
                  <a:gd name="connsiteY348" fmla="*/ 1056661 h 1642641"/>
                  <a:gd name="connsiteX349" fmla="*/ 179602 w 1128860"/>
                  <a:gd name="connsiteY349" fmla="*/ 1053423 h 1642641"/>
                  <a:gd name="connsiteX350" fmla="*/ 180708 w 1128860"/>
                  <a:gd name="connsiteY350" fmla="*/ 1049105 h 1642641"/>
                  <a:gd name="connsiteX351" fmla="*/ 201725 w 1128860"/>
                  <a:gd name="connsiteY351" fmla="*/ 1071234 h 1642641"/>
                  <a:gd name="connsiteX352" fmla="*/ 207256 w 1128860"/>
                  <a:gd name="connsiteY352" fmla="*/ 1071774 h 1642641"/>
                  <a:gd name="connsiteX353" fmla="*/ 210022 w 1128860"/>
                  <a:gd name="connsiteY353" fmla="*/ 1062059 h 1642641"/>
                  <a:gd name="connsiteX354" fmla="*/ 213340 w 1128860"/>
                  <a:gd name="connsiteY354" fmla="*/ 1058820 h 1642641"/>
                  <a:gd name="connsiteX355" fmla="*/ 214447 w 1128860"/>
                  <a:gd name="connsiteY355" fmla="*/ 1056122 h 1642641"/>
                  <a:gd name="connsiteX356" fmla="*/ 212787 w 1128860"/>
                  <a:gd name="connsiteY356" fmla="*/ 1053963 h 1642641"/>
                  <a:gd name="connsiteX357" fmla="*/ 204491 w 1128860"/>
                  <a:gd name="connsiteY357" fmla="*/ 1054503 h 1642641"/>
                  <a:gd name="connsiteX358" fmla="*/ 192323 w 1128860"/>
                  <a:gd name="connsiteY358" fmla="*/ 1046407 h 1642641"/>
                  <a:gd name="connsiteX359" fmla="*/ 192323 w 1128860"/>
                  <a:gd name="connsiteY359" fmla="*/ 1043708 h 1642641"/>
                  <a:gd name="connsiteX360" fmla="*/ 213340 w 1128860"/>
                  <a:gd name="connsiteY360" fmla="*/ 1042629 h 1642641"/>
                  <a:gd name="connsiteX361" fmla="*/ 209469 w 1128860"/>
                  <a:gd name="connsiteY361" fmla="*/ 1028056 h 1642641"/>
                  <a:gd name="connsiteX362" fmla="*/ 219977 w 1128860"/>
                  <a:gd name="connsiteY362" fmla="*/ 1015642 h 1642641"/>
                  <a:gd name="connsiteX363" fmla="*/ 223296 w 1128860"/>
                  <a:gd name="connsiteY363" fmla="*/ 1010245 h 1642641"/>
                  <a:gd name="connsiteX364" fmla="*/ 236017 w 1128860"/>
                  <a:gd name="connsiteY364" fmla="*/ 1006467 h 1642641"/>
                  <a:gd name="connsiteX365" fmla="*/ 237676 w 1128860"/>
                  <a:gd name="connsiteY365" fmla="*/ 1022119 h 1642641"/>
                  <a:gd name="connsiteX366" fmla="*/ 242101 w 1128860"/>
                  <a:gd name="connsiteY366" fmla="*/ 1023199 h 1642641"/>
                  <a:gd name="connsiteX367" fmla="*/ 255928 w 1128860"/>
                  <a:gd name="connsiteY367" fmla="*/ 1011325 h 1642641"/>
                  <a:gd name="connsiteX368" fmla="*/ 247079 w 1128860"/>
                  <a:gd name="connsiteY368" fmla="*/ 1008626 h 1642641"/>
                  <a:gd name="connsiteX369" fmla="*/ 250951 w 1128860"/>
                  <a:gd name="connsiteY369" fmla="*/ 999991 h 1642641"/>
                  <a:gd name="connsiteX370" fmla="*/ 248738 w 1128860"/>
                  <a:gd name="connsiteY370" fmla="*/ 994593 h 1642641"/>
                  <a:gd name="connsiteX371" fmla="*/ 253163 w 1128860"/>
                  <a:gd name="connsiteY371" fmla="*/ 993514 h 1642641"/>
                  <a:gd name="connsiteX372" fmla="*/ 272521 w 1128860"/>
                  <a:gd name="connsiteY372" fmla="*/ 984878 h 1642641"/>
                  <a:gd name="connsiteX373" fmla="*/ 272521 w 1128860"/>
                  <a:gd name="connsiteY373" fmla="*/ 987577 h 1642641"/>
                  <a:gd name="connsiteX374" fmla="*/ 274180 w 1128860"/>
                  <a:gd name="connsiteY374" fmla="*/ 989196 h 1642641"/>
                  <a:gd name="connsiteX375" fmla="*/ 279711 w 1128860"/>
                  <a:gd name="connsiteY375" fmla="*/ 1000530 h 1642641"/>
                  <a:gd name="connsiteX376" fmla="*/ 278605 w 1128860"/>
                  <a:gd name="connsiteY376" fmla="*/ 1010785 h 1642641"/>
                  <a:gd name="connsiteX377" fmla="*/ 292986 w 1128860"/>
                  <a:gd name="connsiteY377" fmla="*/ 1009166 h 1642641"/>
                  <a:gd name="connsiteX378" fmla="*/ 296304 w 1128860"/>
                  <a:gd name="connsiteY378" fmla="*/ 1002149 h 1642641"/>
                  <a:gd name="connsiteX379" fmla="*/ 330043 w 1128860"/>
                  <a:gd name="connsiteY379" fmla="*/ 999991 h 1642641"/>
                  <a:gd name="connsiteX380" fmla="*/ 332255 w 1128860"/>
                  <a:gd name="connsiteY380" fmla="*/ 998911 h 1642641"/>
                  <a:gd name="connsiteX381" fmla="*/ 328937 w 1128860"/>
                  <a:gd name="connsiteY381" fmla="*/ 989736 h 1642641"/>
                  <a:gd name="connsiteX382" fmla="*/ 329490 w 1128860"/>
                  <a:gd name="connsiteY382" fmla="*/ 984339 h 1642641"/>
                  <a:gd name="connsiteX383" fmla="*/ 363228 w 1128860"/>
                  <a:gd name="connsiteY383" fmla="*/ 953035 h 1642641"/>
                  <a:gd name="connsiteX384" fmla="*/ 351060 w 1128860"/>
                  <a:gd name="connsiteY384" fmla="*/ 952495 h 1642641"/>
                  <a:gd name="connsiteX385" fmla="*/ 349401 w 1128860"/>
                  <a:gd name="connsiteY385" fmla="*/ 950336 h 1642641"/>
                  <a:gd name="connsiteX386" fmla="*/ 359910 w 1128860"/>
                  <a:gd name="connsiteY386" fmla="*/ 939002 h 1642641"/>
                  <a:gd name="connsiteX387" fmla="*/ 347189 w 1128860"/>
                  <a:gd name="connsiteY387" fmla="*/ 923890 h 1642641"/>
                  <a:gd name="connsiteX388" fmla="*/ 337233 w 1128860"/>
                  <a:gd name="connsiteY388" fmla="*/ 938462 h 1642641"/>
                  <a:gd name="connsiteX389" fmla="*/ 321746 w 1128860"/>
                  <a:gd name="connsiteY389" fmla="*/ 949257 h 1642641"/>
                  <a:gd name="connsiteX390" fmla="*/ 315662 w 1128860"/>
                  <a:gd name="connsiteY390" fmla="*/ 955733 h 1642641"/>
                  <a:gd name="connsiteX391" fmla="*/ 333914 w 1128860"/>
                  <a:gd name="connsiteY391" fmla="*/ 951415 h 1642641"/>
                  <a:gd name="connsiteX392" fmla="*/ 335021 w 1128860"/>
                  <a:gd name="connsiteY392" fmla="*/ 951955 h 1642641"/>
                  <a:gd name="connsiteX393" fmla="*/ 328384 w 1128860"/>
                  <a:gd name="connsiteY393" fmla="*/ 967607 h 1642641"/>
                  <a:gd name="connsiteX394" fmla="*/ 322853 w 1128860"/>
                  <a:gd name="connsiteY394" fmla="*/ 969766 h 1642641"/>
                  <a:gd name="connsiteX395" fmla="*/ 289667 w 1128860"/>
                  <a:gd name="connsiteY395" fmla="*/ 990815 h 1642641"/>
                  <a:gd name="connsiteX396" fmla="*/ 284136 w 1128860"/>
                  <a:gd name="connsiteY396" fmla="*/ 990276 h 1642641"/>
                  <a:gd name="connsiteX397" fmla="*/ 280818 w 1128860"/>
                  <a:gd name="connsiteY397" fmla="*/ 976243 h 1642641"/>
                  <a:gd name="connsiteX398" fmla="*/ 285795 w 1128860"/>
                  <a:gd name="connsiteY398" fmla="*/ 971385 h 1642641"/>
                  <a:gd name="connsiteX399" fmla="*/ 283583 w 1128860"/>
                  <a:gd name="connsiteY399" fmla="*/ 963829 h 1642641"/>
                  <a:gd name="connsiteX400" fmla="*/ 278052 w 1128860"/>
                  <a:gd name="connsiteY400" fmla="*/ 963289 h 1642641"/>
                  <a:gd name="connsiteX401" fmla="*/ 266437 w 1128860"/>
                  <a:gd name="connsiteY401" fmla="*/ 973004 h 1642641"/>
                  <a:gd name="connsiteX402" fmla="*/ 272521 w 1128860"/>
                  <a:gd name="connsiteY402" fmla="*/ 954654 h 1642641"/>
                  <a:gd name="connsiteX403" fmla="*/ 289667 w 1128860"/>
                  <a:gd name="connsiteY403" fmla="*/ 947098 h 1642641"/>
                  <a:gd name="connsiteX404" fmla="*/ 284136 w 1128860"/>
                  <a:gd name="connsiteY404" fmla="*/ 941161 h 1642641"/>
                  <a:gd name="connsiteX405" fmla="*/ 288561 w 1128860"/>
                  <a:gd name="connsiteY405" fmla="*/ 926588 h 1642641"/>
                  <a:gd name="connsiteX406" fmla="*/ 297410 w 1128860"/>
                  <a:gd name="connsiteY406" fmla="*/ 919032 h 1642641"/>
                  <a:gd name="connsiteX407" fmla="*/ 300729 w 1128860"/>
                  <a:gd name="connsiteY407" fmla="*/ 901761 h 1642641"/>
                  <a:gd name="connsiteX408" fmla="*/ 312344 w 1128860"/>
                  <a:gd name="connsiteY408" fmla="*/ 893665 h 1642641"/>
                  <a:gd name="connsiteX409" fmla="*/ 317875 w 1128860"/>
                  <a:gd name="connsiteY409" fmla="*/ 885029 h 1642641"/>
                  <a:gd name="connsiteX410" fmla="*/ 330043 w 1128860"/>
                  <a:gd name="connsiteY410" fmla="*/ 876394 h 1642641"/>
                  <a:gd name="connsiteX411" fmla="*/ 332255 w 1128860"/>
                  <a:gd name="connsiteY411" fmla="*/ 868838 h 1642641"/>
                  <a:gd name="connsiteX412" fmla="*/ 335021 w 1128860"/>
                  <a:gd name="connsiteY412" fmla="*/ 867219 h 1642641"/>
                  <a:gd name="connsiteX413" fmla="*/ 343317 w 1128860"/>
                  <a:gd name="connsiteY413" fmla="*/ 882331 h 1642641"/>
                  <a:gd name="connsiteX414" fmla="*/ 348848 w 1128860"/>
                  <a:gd name="connsiteY414" fmla="*/ 885569 h 1642641"/>
                  <a:gd name="connsiteX415" fmla="*/ 346636 w 1128860"/>
                  <a:gd name="connsiteY415" fmla="*/ 890966 h 1642641"/>
                  <a:gd name="connsiteX416" fmla="*/ 351613 w 1128860"/>
                  <a:gd name="connsiteY416" fmla="*/ 889887 h 1642641"/>
                  <a:gd name="connsiteX417" fmla="*/ 362675 w 1128860"/>
                  <a:gd name="connsiteY417" fmla="*/ 874775 h 1642641"/>
                  <a:gd name="connsiteX418" fmla="*/ 358250 w 1128860"/>
                  <a:gd name="connsiteY418" fmla="*/ 854805 h 1642641"/>
                  <a:gd name="connsiteX419" fmla="*/ 362675 w 1128860"/>
                  <a:gd name="connsiteY419" fmla="*/ 854265 h 1642641"/>
                  <a:gd name="connsiteX420" fmla="*/ 367100 w 1128860"/>
                  <a:gd name="connsiteY420" fmla="*/ 842391 h 1642641"/>
                  <a:gd name="connsiteX421" fmla="*/ 365994 w 1128860"/>
                  <a:gd name="connsiteY421" fmla="*/ 831597 h 1642641"/>
                  <a:gd name="connsiteX422" fmla="*/ 358804 w 1128860"/>
                  <a:gd name="connsiteY422" fmla="*/ 834295 h 1642641"/>
                  <a:gd name="connsiteX423" fmla="*/ 352720 w 1128860"/>
                  <a:gd name="connsiteY423" fmla="*/ 839693 h 1642641"/>
                  <a:gd name="connsiteX424" fmla="*/ 350507 w 1128860"/>
                  <a:gd name="connsiteY424" fmla="*/ 838613 h 1642641"/>
                  <a:gd name="connsiteX425" fmla="*/ 351060 w 1128860"/>
                  <a:gd name="connsiteY425" fmla="*/ 831597 h 1642641"/>
                  <a:gd name="connsiteX426" fmla="*/ 356038 w 1128860"/>
                  <a:gd name="connsiteY426" fmla="*/ 829438 h 1642641"/>
                  <a:gd name="connsiteX427" fmla="*/ 363781 w 1128860"/>
                  <a:gd name="connsiteY427" fmla="*/ 819183 h 1642641"/>
                  <a:gd name="connsiteX428" fmla="*/ 372078 w 1128860"/>
                  <a:gd name="connsiteY428" fmla="*/ 814865 h 1642641"/>
                  <a:gd name="connsiteX429" fmla="*/ 377056 w 1128860"/>
                  <a:gd name="connsiteY429" fmla="*/ 810008 h 1642641"/>
                  <a:gd name="connsiteX430" fmla="*/ 389777 w 1128860"/>
                  <a:gd name="connsiteY430" fmla="*/ 811087 h 1642641"/>
                  <a:gd name="connsiteX431" fmla="*/ 412454 w 1128860"/>
                  <a:gd name="connsiteY431" fmla="*/ 800833 h 1642641"/>
                  <a:gd name="connsiteX432" fmla="*/ 428493 w 1128860"/>
                  <a:gd name="connsiteY432" fmla="*/ 782482 h 1642641"/>
                  <a:gd name="connsiteX433" fmla="*/ 425728 w 1128860"/>
                  <a:gd name="connsiteY433" fmla="*/ 778164 h 1642641"/>
                  <a:gd name="connsiteX434" fmla="*/ 417431 w 1128860"/>
                  <a:gd name="connsiteY434" fmla="*/ 788419 h 1642641"/>
                  <a:gd name="connsiteX435" fmla="*/ 414666 w 1128860"/>
                  <a:gd name="connsiteY435" fmla="*/ 790038 h 1642641"/>
                  <a:gd name="connsiteX436" fmla="*/ 409135 w 1128860"/>
                  <a:gd name="connsiteY436" fmla="*/ 797594 h 1642641"/>
                  <a:gd name="connsiteX437" fmla="*/ 405816 w 1128860"/>
                  <a:gd name="connsiteY437" fmla="*/ 797055 h 1642641"/>
                  <a:gd name="connsiteX438" fmla="*/ 409688 w 1128860"/>
                  <a:gd name="connsiteY438" fmla="*/ 788419 h 1642641"/>
                  <a:gd name="connsiteX439" fmla="*/ 404157 w 1128860"/>
                  <a:gd name="connsiteY439" fmla="*/ 772227 h 1642641"/>
                  <a:gd name="connsiteX440" fmla="*/ 413560 w 1128860"/>
                  <a:gd name="connsiteY440" fmla="*/ 760893 h 1642641"/>
                  <a:gd name="connsiteX441" fmla="*/ 411900 w 1128860"/>
                  <a:gd name="connsiteY441" fmla="*/ 755496 h 1642641"/>
                  <a:gd name="connsiteX442" fmla="*/ 398626 w 1128860"/>
                  <a:gd name="connsiteY442" fmla="*/ 742543 h 1642641"/>
                  <a:gd name="connsiteX443" fmla="*/ 399732 w 1128860"/>
                  <a:gd name="connsiteY443" fmla="*/ 735526 h 1642641"/>
                  <a:gd name="connsiteX444" fmla="*/ 407476 w 1128860"/>
                  <a:gd name="connsiteY444" fmla="*/ 726891 h 1642641"/>
                  <a:gd name="connsiteX445" fmla="*/ 416325 w 1128860"/>
                  <a:gd name="connsiteY445" fmla="*/ 706921 h 1642641"/>
                  <a:gd name="connsiteX446" fmla="*/ 425175 w 1128860"/>
                  <a:gd name="connsiteY446" fmla="*/ 704222 h 1642641"/>
                  <a:gd name="connsiteX447" fmla="*/ 421856 w 1128860"/>
                  <a:gd name="connsiteY447" fmla="*/ 696126 h 1642641"/>
                  <a:gd name="connsiteX448" fmla="*/ 423515 w 1128860"/>
                  <a:gd name="connsiteY448" fmla="*/ 686951 h 1642641"/>
                  <a:gd name="connsiteX449" fmla="*/ 414666 w 1128860"/>
                  <a:gd name="connsiteY449" fmla="*/ 688570 h 1642641"/>
                  <a:gd name="connsiteX450" fmla="*/ 409135 w 1128860"/>
                  <a:gd name="connsiteY450" fmla="*/ 683713 h 1642641"/>
                  <a:gd name="connsiteX451" fmla="*/ 411900 w 1128860"/>
                  <a:gd name="connsiteY451" fmla="*/ 678855 h 1642641"/>
                  <a:gd name="connsiteX452" fmla="*/ 427940 w 1128860"/>
                  <a:gd name="connsiteY452" fmla="*/ 678855 h 1642641"/>
                  <a:gd name="connsiteX453" fmla="*/ 438449 w 1128860"/>
                  <a:gd name="connsiteY453" fmla="*/ 669680 h 1642641"/>
                  <a:gd name="connsiteX454" fmla="*/ 446745 w 1128860"/>
                  <a:gd name="connsiteY454" fmla="*/ 662663 h 1642641"/>
                  <a:gd name="connsiteX455" fmla="*/ 445639 w 1128860"/>
                  <a:gd name="connsiteY455" fmla="*/ 660505 h 1642641"/>
                  <a:gd name="connsiteX456" fmla="*/ 438449 w 1128860"/>
                  <a:gd name="connsiteY456" fmla="*/ 663203 h 1642641"/>
                  <a:gd name="connsiteX457" fmla="*/ 437343 w 1128860"/>
                  <a:gd name="connsiteY457" fmla="*/ 661584 h 1642641"/>
                  <a:gd name="connsiteX458" fmla="*/ 443427 w 1128860"/>
                  <a:gd name="connsiteY458" fmla="*/ 656727 h 1642641"/>
                  <a:gd name="connsiteX459" fmla="*/ 440661 w 1128860"/>
                  <a:gd name="connsiteY459" fmla="*/ 652409 h 1642641"/>
                  <a:gd name="connsiteX460" fmla="*/ 425728 w 1128860"/>
                  <a:gd name="connsiteY460" fmla="*/ 651869 h 1642641"/>
                  <a:gd name="connsiteX461" fmla="*/ 429599 w 1128860"/>
                  <a:gd name="connsiteY461" fmla="*/ 641614 h 1642641"/>
                  <a:gd name="connsiteX462" fmla="*/ 429046 w 1128860"/>
                  <a:gd name="connsiteY462" fmla="*/ 637836 h 1642641"/>
                  <a:gd name="connsiteX463" fmla="*/ 432365 w 1128860"/>
                  <a:gd name="connsiteY463" fmla="*/ 638376 h 1642641"/>
                  <a:gd name="connsiteX464" fmla="*/ 440661 w 1128860"/>
                  <a:gd name="connsiteY464" fmla="*/ 629740 h 1642641"/>
                  <a:gd name="connsiteX465" fmla="*/ 435130 w 1128860"/>
                  <a:gd name="connsiteY465" fmla="*/ 627042 h 1642641"/>
                  <a:gd name="connsiteX466" fmla="*/ 438449 w 1128860"/>
                  <a:gd name="connsiteY466" fmla="*/ 611390 h 1642641"/>
                  <a:gd name="connsiteX467" fmla="*/ 448958 w 1128860"/>
                  <a:gd name="connsiteY467" fmla="*/ 609231 h 1642641"/>
                  <a:gd name="connsiteX468" fmla="*/ 447851 w 1128860"/>
                  <a:gd name="connsiteY468" fmla="*/ 602754 h 1642641"/>
                  <a:gd name="connsiteX469" fmla="*/ 456148 w 1128860"/>
                  <a:gd name="connsiteY469" fmla="*/ 597357 h 1642641"/>
                  <a:gd name="connsiteX470" fmla="*/ 448958 w 1128860"/>
                  <a:gd name="connsiteY470" fmla="*/ 592499 h 1642641"/>
                  <a:gd name="connsiteX471" fmla="*/ 448958 w 1128860"/>
                  <a:gd name="connsiteY471" fmla="*/ 587642 h 1642641"/>
                  <a:gd name="connsiteX472" fmla="*/ 472741 w 1128860"/>
                  <a:gd name="connsiteY472" fmla="*/ 574149 h 1642641"/>
                  <a:gd name="connsiteX473" fmla="*/ 480484 w 1128860"/>
                  <a:gd name="connsiteY473" fmla="*/ 558497 h 1642641"/>
                  <a:gd name="connsiteX474" fmla="*/ 499289 w 1128860"/>
                  <a:gd name="connsiteY474" fmla="*/ 548242 h 1642641"/>
                  <a:gd name="connsiteX475" fmla="*/ 519200 w 1128860"/>
                  <a:gd name="connsiteY475" fmla="*/ 550401 h 1642641"/>
                  <a:gd name="connsiteX476" fmla="*/ 528050 w 1128860"/>
                  <a:gd name="connsiteY476" fmla="*/ 556338 h 1642641"/>
                  <a:gd name="connsiteX477" fmla="*/ 526390 w 1128860"/>
                  <a:gd name="connsiteY477" fmla="*/ 543385 h 1642641"/>
                  <a:gd name="connsiteX478" fmla="*/ 523625 w 1128860"/>
                  <a:gd name="connsiteY478" fmla="*/ 540686 h 1642641"/>
                  <a:gd name="connsiteX479" fmla="*/ 482143 w 1128860"/>
                  <a:gd name="connsiteY479" fmla="*/ 540146 h 1642641"/>
                  <a:gd name="connsiteX480" fmla="*/ 486015 w 1128860"/>
                  <a:gd name="connsiteY480" fmla="*/ 525034 h 1642641"/>
                  <a:gd name="connsiteX481" fmla="*/ 495970 w 1128860"/>
                  <a:gd name="connsiteY481" fmla="*/ 524494 h 1642641"/>
                  <a:gd name="connsiteX482" fmla="*/ 508138 w 1128860"/>
                  <a:gd name="connsiteY482" fmla="*/ 517478 h 1642641"/>
                  <a:gd name="connsiteX483" fmla="*/ 519753 w 1128860"/>
                  <a:gd name="connsiteY483" fmla="*/ 518018 h 1642641"/>
                  <a:gd name="connsiteX484" fmla="*/ 526944 w 1128860"/>
                  <a:gd name="connsiteY484" fmla="*/ 530431 h 1642641"/>
                  <a:gd name="connsiteX485" fmla="*/ 528603 w 1128860"/>
                  <a:gd name="connsiteY485" fmla="*/ 533670 h 1642641"/>
                  <a:gd name="connsiteX486" fmla="*/ 531368 w 1128860"/>
                  <a:gd name="connsiteY486" fmla="*/ 534209 h 1642641"/>
                  <a:gd name="connsiteX487" fmla="*/ 532474 w 1128860"/>
                  <a:gd name="connsiteY487" fmla="*/ 531511 h 1642641"/>
                  <a:gd name="connsiteX488" fmla="*/ 530815 w 1128860"/>
                  <a:gd name="connsiteY488" fmla="*/ 526113 h 1642641"/>
                  <a:gd name="connsiteX489" fmla="*/ 529156 w 1128860"/>
                  <a:gd name="connsiteY489" fmla="*/ 517478 h 1642641"/>
                  <a:gd name="connsiteX490" fmla="*/ 539112 w 1128860"/>
                  <a:gd name="connsiteY490" fmla="*/ 501286 h 1642641"/>
                  <a:gd name="connsiteX491" fmla="*/ 538558 w 1128860"/>
                  <a:gd name="connsiteY491" fmla="*/ 499667 h 1642641"/>
                  <a:gd name="connsiteX492" fmla="*/ 517541 w 1128860"/>
                  <a:gd name="connsiteY492" fmla="*/ 505604 h 1642641"/>
                  <a:gd name="connsiteX493" fmla="*/ 515882 w 1128860"/>
                  <a:gd name="connsiteY493" fmla="*/ 503445 h 1642641"/>
                  <a:gd name="connsiteX494" fmla="*/ 516435 w 1128860"/>
                  <a:gd name="connsiteY494" fmla="*/ 489952 h 1642641"/>
                  <a:gd name="connsiteX495" fmla="*/ 529156 w 1128860"/>
                  <a:gd name="connsiteY495" fmla="*/ 475919 h 1642641"/>
                  <a:gd name="connsiteX496" fmla="*/ 524178 w 1128860"/>
                  <a:gd name="connsiteY496" fmla="*/ 472681 h 1642641"/>
                  <a:gd name="connsiteX497" fmla="*/ 500948 w 1128860"/>
                  <a:gd name="connsiteY497" fmla="*/ 488873 h 1642641"/>
                  <a:gd name="connsiteX498" fmla="*/ 495970 w 1128860"/>
                  <a:gd name="connsiteY498" fmla="*/ 491571 h 1642641"/>
                  <a:gd name="connsiteX499" fmla="*/ 493205 w 1128860"/>
                  <a:gd name="connsiteY499" fmla="*/ 490492 h 1642641"/>
                  <a:gd name="connsiteX500" fmla="*/ 494864 w 1128860"/>
                  <a:gd name="connsiteY500" fmla="*/ 470522 h 1642641"/>
                  <a:gd name="connsiteX501" fmla="*/ 509245 w 1128860"/>
                  <a:gd name="connsiteY501" fmla="*/ 467823 h 1642641"/>
                  <a:gd name="connsiteX502" fmla="*/ 519753 w 1128860"/>
                  <a:gd name="connsiteY502" fmla="*/ 461886 h 1642641"/>
                  <a:gd name="connsiteX503" fmla="*/ 529156 w 1128860"/>
                  <a:gd name="connsiteY503" fmla="*/ 461886 h 1642641"/>
                  <a:gd name="connsiteX504" fmla="*/ 540771 w 1128860"/>
                  <a:gd name="connsiteY504" fmla="*/ 452171 h 1642641"/>
                  <a:gd name="connsiteX505" fmla="*/ 554045 w 1128860"/>
                  <a:gd name="connsiteY505" fmla="*/ 457569 h 1642641"/>
                  <a:gd name="connsiteX506" fmla="*/ 555151 w 1128860"/>
                  <a:gd name="connsiteY506" fmla="*/ 448933 h 1642641"/>
                  <a:gd name="connsiteX507" fmla="*/ 561235 w 1128860"/>
                  <a:gd name="connsiteY507" fmla="*/ 437059 h 1642641"/>
                  <a:gd name="connsiteX508" fmla="*/ 554045 w 1128860"/>
                  <a:gd name="connsiteY508" fmla="*/ 435440 h 1642641"/>
                  <a:gd name="connsiteX509" fmla="*/ 552386 w 1128860"/>
                  <a:gd name="connsiteY509" fmla="*/ 424645 h 1642641"/>
                  <a:gd name="connsiteX510" fmla="*/ 545749 w 1128860"/>
                  <a:gd name="connsiteY510" fmla="*/ 415470 h 1642641"/>
                  <a:gd name="connsiteX511" fmla="*/ 547961 w 1128860"/>
                  <a:gd name="connsiteY511" fmla="*/ 406835 h 1642641"/>
                  <a:gd name="connsiteX512" fmla="*/ 549067 w 1128860"/>
                  <a:gd name="connsiteY512" fmla="*/ 405755 h 1642641"/>
                  <a:gd name="connsiteX513" fmla="*/ 559023 w 1128860"/>
                  <a:gd name="connsiteY513" fmla="*/ 402517 h 1642641"/>
                  <a:gd name="connsiteX514" fmla="*/ 573956 w 1128860"/>
                  <a:gd name="connsiteY514" fmla="*/ 405215 h 1642641"/>
                  <a:gd name="connsiteX515" fmla="*/ 586678 w 1128860"/>
                  <a:gd name="connsiteY515" fmla="*/ 404676 h 1642641"/>
                  <a:gd name="connsiteX516" fmla="*/ 587231 w 1128860"/>
                  <a:gd name="connsiteY516" fmla="*/ 405755 h 1642641"/>
                  <a:gd name="connsiteX517" fmla="*/ 589443 w 1128860"/>
                  <a:gd name="connsiteY517" fmla="*/ 411152 h 1642641"/>
                  <a:gd name="connsiteX518" fmla="*/ 593315 w 1128860"/>
                  <a:gd name="connsiteY518" fmla="*/ 408454 h 1642641"/>
                  <a:gd name="connsiteX519" fmla="*/ 591655 w 1128860"/>
                  <a:gd name="connsiteY519" fmla="*/ 398199 h 1642641"/>
                  <a:gd name="connsiteX520" fmla="*/ 597739 w 1128860"/>
                  <a:gd name="connsiteY520" fmla="*/ 398199 h 1642641"/>
                  <a:gd name="connsiteX521" fmla="*/ 600505 w 1128860"/>
                  <a:gd name="connsiteY521" fmla="*/ 393342 h 1642641"/>
                  <a:gd name="connsiteX522" fmla="*/ 603823 w 1128860"/>
                  <a:gd name="connsiteY522" fmla="*/ 392262 h 1642641"/>
                  <a:gd name="connsiteX523" fmla="*/ 604376 w 1128860"/>
                  <a:gd name="connsiteY523" fmla="*/ 390643 h 1642641"/>
                  <a:gd name="connsiteX524" fmla="*/ 601058 w 1128860"/>
                  <a:gd name="connsiteY524" fmla="*/ 387405 h 1642641"/>
                  <a:gd name="connsiteX525" fmla="*/ 600505 w 1128860"/>
                  <a:gd name="connsiteY525" fmla="*/ 378229 h 1642641"/>
                  <a:gd name="connsiteX526" fmla="*/ 598292 w 1128860"/>
                  <a:gd name="connsiteY526" fmla="*/ 377150 h 1642641"/>
                  <a:gd name="connsiteX527" fmla="*/ 584465 w 1128860"/>
                  <a:gd name="connsiteY527" fmla="*/ 389024 h 1642641"/>
                  <a:gd name="connsiteX528" fmla="*/ 577828 w 1128860"/>
                  <a:gd name="connsiteY528" fmla="*/ 385785 h 1642641"/>
                  <a:gd name="connsiteX529" fmla="*/ 562895 w 1128860"/>
                  <a:gd name="connsiteY529" fmla="*/ 392802 h 1642641"/>
                  <a:gd name="connsiteX530" fmla="*/ 556257 w 1128860"/>
                  <a:gd name="connsiteY530" fmla="*/ 390643 h 1642641"/>
                  <a:gd name="connsiteX531" fmla="*/ 553492 w 1128860"/>
                  <a:gd name="connsiteY531" fmla="*/ 389563 h 1642641"/>
                  <a:gd name="connsiteX532" fmla="*/ 554045 w 1128860"/>
                  <a:gd name="connsiteY532" fmla="*/ 386325 h 1642641"/>
                  <a:gd name="connsiteX533" fmla="*/ 556811 w 1128860"/>
                  <a:gd name="connsiteY533" fmla="*/ 374451 h 1642641"/>
                  <a:gd name="connsiteX534" fmla="*/ 568425 w 1128860"/>
                  <a:gd name="connsiteY534" fmla="*/ 365816 h 1642641"/>
                  <a:gd name="connsiteX535" fmla="*/ 578381 w 1128860"/>
                  <a:gd name="connsiteY535" fmla="*/ 368514 h 1642641"/>
                  <a:gd name="connsiteX536" fmla="*/ 583912 w 1128860"/>
                  <a:gd name="connsiteY536" fmla="*/ 364196 h 1642641"/>
                  <a:gd name="connsiteX537" fmla="*/ 591655 w 1128860"/>
                  <a:gd name="connsiteY537" fmla="*/ 361498 h 1642641"/>
                  <a:gd name="connsiteX538" fmla="*/ 596080 w 1128860"/>
                  <a:gd name="connsiteY538" fmla="*/ 361498 h 1642641"/>
                  <a:gd name="connsiteX539" fmla="*/ 585571 w 1128860"/>
                  <a:gd name="connsiteY539" fmla="*/ 355021 h 1642641"/>
                  <a:gd name="connsiteX540" fmla="*/ 586124 w 1128860"/>
                  <a:gd name="connsiteY540" fmla="*/ 352862 h 1642641"/>
                  <a:gd name="connsiteX541" fmla="*/ 603823 w 1128860"/>
                  <a:gd name="connsiteY541" fmla="*/ 349084 h 1642641"/>
                  <a:gd name="connsiteX542" fmla="*/ 594421 w 1128860"/>
                  <a:gd name="connsiteY542" fmla="*/ 345846 h 1642641"/>
                  <a:gd name="connsiteX543" fmla="*/ 602717 w 1128860"/>
                  <a:gd name="connsiteY543" fmla="*/ 333972 h 1642641"/>
                  <a:gd name="connsiteX544" fmla="*/ 594974 w 1128860"/>
                  <a:gd name="connsiteY544" fmla="*/ 331813 h 1642641"/>
                  <a:gd name="connsiteX545" fmla="*/ 589443 w 1128860"/>
                  <a:gd name="connsiteY545" fmla="*/ 336671 h 1642641"/>
                  <a:gd name="connsiteX546" fmla="*/ 586678 w 1128860"/>
                  <a:gd name="connsiteY546" fmla="*/ 335051 h 1642641"/>
                  <a:gd name="connsiteX547" fmla="*/ 587231 w 1128860"/>
                  <a:gd name="connsiteY547" fmla="*/ 332353 h 1642641"/>
                  <a:gd name="connsiteX548" fmla="*/ 594421 w 1128860"/>
                  <a:gd name="connsiteY548" fmla="*/ 312923 h 1642641"/>
                  <a:gd name="connsiteX549" fmla="*/ 610460 w 1128860"/>
                  <a:gd name="connsiteY549" fmla="*/ 305367 h 1642641"/>
                  <a:gd name="connsiteX550" fmla="*/ 608801 w 1128860"/>
                  <a:gd name="connsiteY550" fmla="*/ 274063 h 1642641"/>
                  <a:gd name="connsiteX551" fmla="*/ 612120 w 1128860"/>
                  <a:gd name="connsiteY551" fmla="*/ 273523 h 1642641"/>
                  <a:gd name="connsiteX552" fmla="*/ 613779 w 1128860"/>
                  <a:gd name="connsiteY552" fmla="*/ 275682 h 1642641"/>
                  <a:gd name="connsiteX553" fmla="*/ 623182 w 1128860"/>
                  <a:gd name="connsiteY553" fmla="*/ 276761 h 1642641"/>
                  <a:gd name="connsiteX554" fmla="*/ 634797 w 1128860"/>
                  <a:gd name="connsiteY554" fmla="*/ 285397 h 1642641"/>
                  <a:gd name="connsiteX555" fmla="*/ 639221 w 1128860"/>
                  <a:gd name="connsiteY555" fmla="*/ 280539 h 1642641"/>
                  <a:gd name="connsiteX556" fmla="*/ 623182 w 1128860"/>
                  <a:gd name="connsiteY556" fmla="*/ 265427 h 1642641"/>
                  <a:gd name="connsiteX557" fmla="*/ 625947 w 1128860"/>
                  <a:gd name="connsiteY557" fmla="*/ 256792 h 1642641"/>
                  <a:gd name="connsiteX558" fmla="*/ 643093 w 1128860"/>
                  <a:gd name="connsiteY558" fmla="*/ 271364 h 1642641"/>
                  <a:gd name="connsiteX559" fmla="*/ 655814 w 1128860"/>
                  <a:gd name="connsiteY559" fmla="*/ 274602 h 1642641"/>
                  <a:gd name="connsiteX560" fmla="*/ 658579 w 1128860"/>
                  <a:gd name="connsiteY560" fmla="*/ 286476 h 1642641"/>
                  <a:gd name="connsiteX561" fmla="*/ 664110 w 1128860"/>
                  <a:gd name="connsiteY561" fmla="*/ 274602 h 1642641"/>
                  <a:gd name="connsiteX562" fmla="*/ 646411 w 1128860"/>
                  <a:gd name="connsiteY562" fmla="*/ 261649 h 1642641"/>
                  <a:gd name="connsiteX563" fmla="*/ 644752 w 1128860"/>
                  <a:gd name="connsiteY563" fmla="*/ 254093 h 1642641"/>
                  <a:gd name="connsiteX564" fmla="*/ 647518 w 1128860"/>
                  <a:gd name="connsiteY564" fmla="*/ 253013 h 1642641"/>
                  <a:gd name="connsiteX565" fmla="*/ 648071 w 1128860"/>
                  <a:gd name="connsiteY565" fmla="*/ 250855 h 1642641"/>
                  <a:gd name="connsiteX566" fmla="*/ 639774 w 1128860"/>
                  <a:gd name="connsiteY566" fmla="*/ 244378 h 1642641"/>
                  <a:gd name="connsiteX567" fmla="*/ 639221 w 1128860"/>
                  <a:gd name="connsiteY567" fmla="*/ 236282 h 1642641"/>
                  <a:gd name="connsiteX568" fmla="*/ 666323 w 1128860"/>
                  <a:gd name="connsiteY568" fmla="*/ 223329 h 1642641"/>
                  <a:gd name="connsiteX569" fmla="*/ 665770 w 1128860"/>
                  <a:gd name="connsiteY569" fmla="*/ 263268 h 1642641"/>
                  <a:gd name="connsiteX570" fmla="*/ 671301 w 1128860"/>
                  <a:gd name="connsiteY570" fmla="*/ 264887 h 1642641"/>
                  <a:gd name="connsiteX571" fmla="*/ 676278 w 1128860"/>
                  <a:gd name="connsiteY571" fmla="*/ 259490 h 1642641"/>
                  <a:gd name="connsiteX572" fmla="*/ 676278 w 1128860"/>
                  <a:gd name="connsiteY572" fmla="*/ 232504 h 1642641"/>
                  <a:gd name="connsiteX573" fmla="*/ 683469 w 1128860"/>
                  <a:gd name="connsiteY573" fmla="*/ 202819 h 1642641"/>
                  <a:gd name="connsiteX574" fmla="*/ 690659 w 1128860"/>
                  <a:gd name="connsiteY574" fmla="*/ 202279 h 1642641"/>
                  <a:gd name="connsiteX575" fmla="*/ 691212 w 1128860"/>
                  <a:gd name="connsiteY575" fmla="*/ 260570 h 1642641"/>
                  <a:gd name="connsiteX576" fmla="*/ 686787 w 1128860"/>
                  <a:gd name="connsiteY576" fmla="*/ 271364 h 1642641"/>
                  <a:gd name="connsiteX577" fmla="*/ 687340 w 1128860"/>
                  <a:gd name="connsiteY577" fmla="*/ 276222 h 1642641"/>
                  <a:gd name="connsiteX578" fmla="*/ 704486 w 1128860"/>
                  <a:gd name="connsiteY578" fmla="*/ 235203 h 1642641"/>
                  <a:gd name="connsiteX579" fmla="*/ 703380 w 1128860"/>
                  <a:gd name="connsiteY579" fmla="*/ 217392 h 1642641"/>
                  <a:gd name="connsiteX580" fmla="*/ 712229 w 1128860"/>
                  <a:gd name="connsiteY580" fmla="*/ 203899 h 1642641"/>
                  <a:gd name="connsiteX581" fmla="*/ 719973 w 1128860"/>
                  <a:gd name="connsiteY581" fmla="*/ 205518 h 1642641"/>
                  <a:gd name="connsiteX582" fmla="*/ 726610 w 1128860"/>
                  <a:gd name="connsiteY582" fmla="*/ 193104 h 1642641"/>
                  <a:gd name="connsiteX583" fmla="*/ 724951 w 1128860"/>
                  <a:gd name="connsiteY583" fmla="*/ 185548 h 1642641"/>
                  <a:gd name="connsiteX584" fmla="*/ 726610 w 1128860"/>
                  <a:gd name="connsiteY584" fmla="*/ 185008 h 1642641"/>
                  <a:gd name="connsiteX585" fmla="*/ 736565 w 1128860"/>
                  <a:gd name="connsiteY585" fmla="*/ 186088 h 1642641"/>
                  <a:gd name="connsiteX586" fmla="*/ 743203 w 1128860"/>
                  <a:gd name="connsiteY586" fmla="*/ 193644 h 1642641"/>
                  <a:gd name="connsiteX587" fmla="*/ 756477 w 1128860"/>
                  <a:gd name="connsiteY587" fmla="*/ 200121 h 1642641"/>
                  <a:gd name="connsiteX588" fmla="*/ 759242 w 1128860"/>
                  <a:gd name="connsiteY588" fmla="*/ 199041 h 1642641"/>
                  <a:gd name="connsiteX589" fmla="*/ 752052 w 1128860"/>
                  <a:gd name="connsiteY589" fmla="*/ 172595 h 1642641"/>
                  <a:gd name="connsiteX590" fmla="*/ 734906 w 1128860"/>
                  <a:gd name="connsiteY590" fmla="*/ 169896 h 1642641"/>
                  <a:gd name="connsiteX591" fmla="*/ 731035 w 1128860"/>
                  <a:gd name="connsiteY591" fmla="*/ 166118 h 1642641"/>
                  <a:gd name="connsiteX592" fmla="*/ 721079 w 1128860"/>
                  <a:gd name="connsiteY592" fmla="*/ 156403 h 1642641"/>
                  <a:gd name="connsiteX593" fmla="*/ 729375 w 1128860"/>
                  <a:gd name="connsiteY593" fmla="*/ 155324 h 1642641"/>
                  <a:gd name="connsiteX594" fmla="*/ 730481 w 1128860"/>
                  <a:gd name="connsiteY594" fmla="*/ 153165 h 1642641"/>
                  <a:gd name="connsiteX595" fmla="*/ 732141 w 1128860"/>
                  <a:gd name="connsiteY595" fmla="*/ 153704 h 1642641"/>
                  <a:gd name="connsiteX596" fmla="*/ 742096 w 1128860"/>
                  <a:gd name="connsiteY596" fmla="*/ 159641 h 1642641"/>
                  <a:gd name="connsiteX597" fmla="*/ 743203 w 1128860"/>
                  <a:gd name="connsiteY597" fmla="*/ 158562 h 1642641"/>
                  <a:gd name="connsiteX598" fmla="*/ 744309 w 1128860"/>
                  <a:gd name="connsiteY598" fmla="*/ 148307 h 1642641"/>
                  <a:gd name="connsiteX599" fmla="*/ 753158 w 1128860"/>
                  <a:gd name="connsiteY599" fmla="*/ 148847 h 1642641"/>
                  <a:gd name="connsiteX600" fmla="*/ 755371 w 1128860"/>
                  <a:gd name="connsiteY600" fmla="*/ 147228 h 1642641"/>
                  <a:gd name="connsiteX601" fmla="*/ 757030 w 1128860"/>
                  <a:gd name="connsiteY601" fmla="*/ 148847 h 1642641"/>
                  <a:gd name="connsiteX602" fmla="*/ 755924 w 1128860"/>
                  <a:gd name="connsiteY602" fmla="*/ 158562 h 1642641"/>
                  <a:gd name="connsiteX603" fmla="*/ 767539 w 1128860"/>
                  <a:gd name="connsiteY603" fmla="*/ 158562 h 1642641"/>
                  <a:gd name="connsiteX604" fmla="*/ 765879 w 1128860"/>
                  <a:gd name="connsiteY604" fmla="*/ 148847 h 1642641"/>
                  <a:gd name="connsiteX605" fmla="*/ 773070 w 1128860"/>
                  <a:gd name="connsiteY605" fmla="*/ 147228 h 1642641"/>
                  <a:gd name="connsiteX606" fmla="*/ 785791 w 1128860"/>
                  <a:gd name="connsiteY606" fmla="*/ 148847 h 1642641"/>
                  <a:gd name="connsiteX607" fmla="*/ 791875 w 1128860"/>
                  <a:gd name="connsiteY607" fmla="*/ 160721 h 1642641"/>
                  <a:gd name="connsiteX608" fmla="*/ 799065 w 1128860"/>
                  <a:gd name="connsiteY608" fmla="*/ 167737 h 1642641"/>
                  <a:gd name="connsiteX609" fmla="*/ 811786 w 1128860"/>
                  <a:gd name="connsiteY609" fmla="*/ 163419 h 1642641"/>
                  <a:gd name="connsiteX610" fmla="*/ 811786 w 1128860"/>
                  <a:gd name="connsiteY610" fmla="*/ 160721 h 1642641"/>
                  <a:gd name="connsiteX611" fmla="*/ 806255 w 1128860"/>
                  <a:gd name="connsiteY611" fmla="*/ 153704 h 1642641"/>
                  <a:gd name="connsiteX612" fmla="*/ 809020 w 1128860"/>
                  <a:gd name="connsiteY612" fmla="*/ 133735 h 1642641"/>
                  <a:gd name="connsiteX613" fmla="*/ 809020 w 1128860"/>
                  <a:gd name="connsiteY613" fmla="*/ 117003 h 1642641"/>
                  <a:gd name="connsiteX614" fmla="*/ 817870 w 1128860"/>
                  <a:gd name="connsiteY614" fmla="*/ 104050 h 1642641"/>
                  <a:gd name="connsiteX615" fmla="*/ 829485 w 1128860"/>
                  <a:gd name="connsiteY615" fmla="*/ 103510 h 1642641"/>
                  <a:gd name="connsiteX616" fmla="*/ 828932 w 1128860"/>
                  <a:gd name="connsiteY616" fmla="*/ 97033 h 1642641"/>
                  <a:gd name="connsiteX617" fmla="*/ 831697 w 1128860"/>
                  <a:gd name="connsiteY617" fmla="*/ 82461 h 1642641"/>
                  <a:gd name="connsiteX618" fmla="*/ 841653 w 1128860"/>
                  <a:gd name="connsiteY618" fmla="*/ 81381 h 1642641"/>
                  <a:gd name="connsiteX619" fmla="*/ 842206 w 1128860"/>
                  <a:gd name="connsiteY619" fmla="*/ 80302 h 1642641"/>
                  <a:gd name="connsiteX620" fmla="*/ 842206 w 1128860"/>
                  <a:gd name="connsiteY620" fmla="*/ 78143 h 1642641"/>
                  <a:gd name="connsiteX621" fmla="*/ 836122 w 1128860"/>
                  <a:gd name="connsiteY621" fmla="*/ 71127 h 1642641"/>
                  <a:gd name="connsiteX622" fmla="*/ 822848 w 1128860"/>
                  <a:gd name="connsiteY622" fmla="*/ 66269 h 1642641"/>
                  <a:gd name="connsiteX623" fmla="*/ 833357 w 1128860"/>
                  <a:gd name="connsiteY623" fmla="*/ 62491 h 1642641"/>
                  <a:gd name="connsiteX624" fmla="*/ 833910 w 1128860"/>
                  <a:gd name="connsiteY624" fmla="*/ 49538 h 1642641"/>
                  <a:gd name="connsiteX625" fmla="*/ 858799 w 1128860"/>
                  <a:gd name="connsiteY625" fmla="*/ 53856 h 1642641"/>
                  <a:gd name="connsiteX626" fmla="*/ 861011 w 1128860"/>
                  <a:gd name="connsiteY626" fmla="*/ 46839 h 1642641"/>
                  <a:gd name="connsiteX627" fmla="*/ 862670 w 1128860"/>
                  <a:gd name="connsiteY627" fmla="*/ 45760 h 1642641"/>
                  <a:gd name="connsiteX628" fmla="*/ 871520 w 1128860"/>
                  <a:gd name="connsiteY628" fmla="*/ 46839 h 1642641"/>
                  <a:gd name="connsiteX629" fmla="*/ 878157 w 1128860"/>
                  <a:gd name="connsiteY629" fmla="*/ 41982 h 1642641"/>
                  <a:gd name="connsiteX630" fmla="*/ 881476 w 1128860"/>
                  <a:gd name="connsiteY630" fmla="*/ 46839 h 1642641"/>
                  <a:gd name="connsiteX631" fmla="*/ 877051 w 1128860"/>
                  <a:gd name="connsiteY631" fmla="*/ 64110 h 1642641"/>
                  <a:gd name="connsiteX632" fmla="*/ 861564 w 1128860"/>
                  <a:gd name="connsiteY632" fmla="*/ 85160 h 1642641"/>
                  <a:gd name="connsiteX633" fmla="*/ 861564 w 1128860"/>
                  <a:gd name="connsiteY633" fmla="*/ 87858 h 1642641"/>
                  <a:gd name="connsiteX634" fmla="*/ 869308 w 1128860"/>
                  <a:gd name="connsiteY634" fmla="*/ 100811 h 1642641"/>
                  <a:gd name="connsiteX635" fmla="*/ 871520 w 1128860"/>
                  <a:gd name="connsiteY635" fmla="*/ 135894 h 1642641"/>
                  <a:gd name="connsiteX636" fmla="*/ 883135 w 1128860"/>
                  <a:gd name="connsiteY636" fmla="*/ 132655 h 1642641"/>
                  <a:gd name="connsiteX637" fmla="*/ 888666 w 1128860"/>
                  <a:gd name="connsiteY637" fmla="*/ 114305 h 1642641"/>
                  <a:gd name="connsiteX638" fmla="*/ 884241 w 1128860"/>
                  <a:gd name="connsiteY638" fmla="*/ 107288 h 1642641"/>
                  <a:gd name="connsiteX639" fmla="*/ 896409 w 1128860"/>
                  <a:gd name="connsiteY639" fmla="*/ 45760 h 1642641"/>
                  <a:gd name="connsiteX640" fmla="*/ 905812 w 1128860"/>
                  <a:gd name="connsiteY640" fmla="*/ 32267 h 1642641"/>
                  <a:gd name="connsiteX641" fmla="*/ 912449 w 1128860"/>
                  <a:gd name="connsiteY641" fmla="*/ 33886 h 1642641"/>
                  <a:gd name="connsiteX642" fmla="*/ 913555 w 1128860"/>
                  <a:gd name="connsiteY642" fmla="*/ 54395 h 1642641"/>
                  <a:gd name="connsiteX643" fmla="*/ 908577 w 1128860"/>
                  <a:gd name="connsiteY643" fmla="*/ 62491 h 1642641"/>
                  <a:gd name="connsiteX644" fmla="*/ 919639 w 1128860"/>
                  <a:gd name="connsiteY644" fmla="*/ 68428 h 1642641"/>
                  <a:gd name="connsiteX645" fmla="*/ 924617 w 1128860"/>
                  <a:gd name="connsiteY645" fmla="*/ 91096 h 1642641"/>
                  <a:gd name="connsiteX646" fmla="*/ 928488 w 1128860"/>
                  <a:gd name="connsiteY646" fmla="*/ 91096 h 1642641"/>
                  <a:gd name="connsiteX647" fmla="*/ 938997 w 1128860"/>
                  <a:gd name="connsiteY647" fmla="*/ 62491 h 1642641"/>
                  <a:gd name="connsiteX648" fmla="*/ 936785 w 1128860"/>
                  <a:gd name="connsiteY648" fmla="*/ 40362 h 1642641"/>
                  <a:gd name="connsiteX649" fmla="*/ 946187 w 1128860"/>
                  <a:gd name="connsiteY649" fmla="*/ 33886 h 1642641"/>
                  <a:gd name="connsiteX650" fmla="*/ 946740 w 1128860"/>
                  <a:gd name="connsiteY650" fmla="*/ 31727 h 1642641"/>
                  <a:gd name="connsiteX651" fmla="*/ 942316 w 1128860"/>
                  <a:gd name="connsiteY651" fmla="*/ 26869 h 1642641"/>
                  <a:gd name="connsiteX652" fmla="*/ 929595 w 1128860"/>
                  <a:gd name="connsiteY652" fmla="*/ 19853 h 1642641"/>
                  <a:gd name="connsiteX653" fmla="*/ 931254 w 1128860"/>
                  <a:gd name="connsiteY653" fmla="*/ 14995 h 1642641"/>
                  <a:gd name="connsiteX654" fmla="*/ 936232 w 1128860"/>
                  <a:gd name="connsiteY654" fmla="*/ 12837 h 1642641"/>
                  <a:gd name="connsiteX655" fmla="*/ 937891 w 1128860"/>
                  <a:gd name="connsiteY655" fmla="*/ 963 h 1642641"/>
                  <a:gd name="connsiteX656" fmla="*/ 940103 w 1128860"/>
                  <a:gd name="connsiteY656" fmla="*/ 423 h 1642641"/>
                  <a:gd name="connsiteX657" fmla="*/ 953378 w 1128860"/>
                  <a:gd name="connsiteY657" fmla="*/ 423 h 1642641"/>
                  <a:gd name="connsiteX658" fmla="*/ 958355 w 1128860"/>
                  <a:gd name="connsiteY658" fmla="*/ -117 h 1642641"/>
                  <a:gd name="connsiteX659" fmla="*/ 979373 w 1128860"/>
                  <a:gd name="connsiteY659" fmla="*/ 4201 h 1642641"/>
                  <a:gd name="connsiteX660" fmla="*/ 975501 w 1128860"/>
                  <a:gd name="connsiteY660" fmla="*/ 17694 h 1642641"/>
                  <a:gd name="connsiteX661" fmla="*/ 963886 w 1128860"/>
                  <a:gd name="connsiteY661" fmla="*/ 24171 h 1642641"/>
                  <a:gd name="connsiteX662" fmla="*/ 963886 w 1128860"/>
                  <a:gd name="connsiteY662" fmla="*/ 29568 h 1642641"/>
                  <a:gd name="connsiteX663" fmla="*/ 968311 w 1128860"/>
                  <a:gd name="connsiteY663" fmla="*/ 28489 h 1642641"/>
                  <a:gd name="connsiteX664" fmla="*/ 962780 w 1128860"/>
                  <a:gd name="connsiteY664" fmla="*/ 47379 h 1642641"/>
                  <a:gd name="connsiteX665" fmla="*/ 979373 w 1128860"/>
                  <a:gd name="connsiteY665" fmla="*/ 33346 h 1642641"/>
                  <a:gd name="connsiteX666" fmla="*/ 982691 w 1128860"/>
                  <a:gd name="connsiteY666" fmla="*/ 33886 h 1642641"/>
                  <a:gd name="connsiteX667" fmla="*/ 978820 w 1128860"/>
                  <a:gd name="connsiteY667" fmla="*/ 52236 h 1642641"/>
                  <a:gd name="connsiteX668" fmla="*/ 971630 w 1128860"/>
                  <a:gd name="connsiteY668" fmla="*/ 64650 h 1642641"/>
                  <a:gd name="connsiteX669" fmla="*/ 973289 w 1128860"/>
                  <a:gd name="connsiteY669" fmla="*/ 66269 h 1642641"/>
                  <a:gd name="connsiteX670" fmla="*/ 984351 w 1128860"/>
                  <a:gd name="connsiteY670" fmla="*/ 61412 h 1642641"/>
                  <a:gd name="connsiteX671" fmla="*/ 986563 w 1128860"/>
                  <a:gd name="connsiteY671" fmla="*/ 63031 h 1642641"/>
                  <a:gd name="connsiteX672" fmla="*/ 988222 w 1128860"/>
                  <a:gd name="connsiteY672" fmla="*/ 73286 h 1642641"/>
                  <a:gd name="connsiteX673" fmla="*/ 992094 w 1128860"/>
                  <a:gd name="connsiteY673" fmla="*/ 73825 h 1642641"/>
                  <a:gd name="connsiteX674" fmla="*/ 993200 w 1128860"/>
                  <a:gd name="connsiteY674" fmla="*/ 70047 h 1642641"/>
                  <a:gd name="connsiteX675" fmla="*/ 990988 w 1128860"/>
                  <a:gd name="connsiteY675" fmla="*/ 65190 h 1642641"/>
                  <a:gd name="connsiteX676" fmla="*/ 1002050 w 1128860"/>
                  <a:gd name="connsiteY676" fmla="*/ 56014 h 1642641"/>
                  <a:gd name="connsiteX677" fmla="*/ 990988 w 1128860"/>
                  <a:gd name="connsiteY677" fmla="*/ 33886 h 1642641"/>
                  <a:gd name="connsiteX678" fmla="*/ 993753 w 1128860"/>
                  <a:gd name="connsiteY678" fmla="*/ 14995 h 1642641"/>
                  <a:gd name="connsiteX679" fmla="*/ 998731 w 1128860"/>
                  <a:gd name="connsiteY679" fmla="*/ 7979 h 1642641"/>
                  <a:gd name="connsiteX680" fmla="*/ 1016983 w 1128860"/>
                  <a:gd name="connsiteY680" fmla="*/ 13376 h 1642641"/>
                  <a:gd name="connsiteX681" fmla="*/ 1021961 w 1128860"/>
                  <a:gd name="connsiteY681" fmla="*/ 24710 h 1642641"/>
                  <a:gd name="connsiteX682" fmla="*/ 1021408 w 1128860"/>
                  <a:gd name="connsiteY682" fmla="*/ 26330 h 1642641"/>
                  <a:gd name="connsiteX683" fmla="*/ 1022514 w 1128860"/>
                  <a:gd name="connsiteY683" fmla="*/ 27409 h 1642641"/>
                  <a:gd name="connsiteX684" fmla="*/ 1031917 w 1128860"/>
                  <a:gd name="connsiteY684" fmla="*/ 12837 h 1642641"/>
                  <a:gd name="connsiteX685" fmla="*/ 1036894 w 1128860"/>
                  <a:gd name="connsiteY685" fmla="*/ 25790 h 1642641"/>
                  <a:gd name="connsiteX686" fmla="*/ 1038554 w 1128860"/>
                  <a:gd name="connsiteY686" fmla="*/ 26330 h 1642641"/>
                  <a:gd name="connsiteX687" fmla="*/ 1052934 w 1128860"/>
                  <a:gd name="connsiteY687" fmla="*/ 10138 h 1642641"/>
                  <a:gd name="connsiteX688" fmla="*/ 1055700 w 1128860"/>
                  <a:gd name="connsiteY688" fmla="*/ 12837 h 1642641"/>
                  <a:gd name="connsiteX689" fmla="*/ 1054593 w 1128860"/>
                  <a:gd name="connsiteY689" fmla="*/ 14456 h 1642641"/>
                  <a:gd name="connsiteX690" fmla="*/ 1052381 w 1128860"/>
                  <a:gd name="connsiteY690" fmla="*/ 15535 h 1642641"/>
                  <a:gd name="connsiteX691" fmla="*/ 1051275 w 1128860"/>
                  <a:gd name="connsiteY691" fmla="*/ 17154 h 1642641"/>
                  <a:gd name="connsiteX692" fmla="*/ 1052381 w 1128860"/>
                  <a:gd name="connsiteY692" fmla="*/ 18774 h 1642641"/>
                  <a:gd name="connsiteX693" fmla="*/ 1061230 w 1128860"/>
                  <a:gd name="connsiteY693" fmla="*/ 17154 h 1642641"/>
                  <a:gd name="connsiteX694" fmla="*/ 1063443 w 1128860"/>
                  <a:gd name="connsiteY694" fmla="*/ 17694 h 1642641"/>
                  <a:gd name="connsiteX695" fmla="*/ 1063443 w 1128860"/>
                  <a:gd name="connsiteY695" fmla="*/ 19313 h 1642641"/>
                  <a:gd name="connsiteX696" fmla="*/ 1054040 w 1128860"/>
                  <a:gd name="connsiteY696" fmla="*/ 26869 h 1642641"/>
                  <a:gd name="connsiteX697" fmla="*/ 1054593 w 1128860"/>
                  <a:gd name="connsiteY697" fmla="*/ 27949 h 1642641"/>
                  <a:gd name="connsiteX698" fmla="*/ 1069527 w 1128860"/>
                  <a:gd name="connsiteY698" fmla="*/ 22552 h 1642641"/>
                  <a:gd name="connsiteX699" fmla="*/ 1077823 w 1128860"/>
                  <a:gd name="connsiteY699" fmla="*/ 23091 h 1642641"/>
                  <a:gd name="connsiteX700" fmla="*/ 1093863 w 1128860"/>
                  <a:gd name="connsiteY700" fmla="*/ 28489 h 1642641"/>
                  <a:gd name="connsiteX701" fmla="*/ 1103265 w 1128860"/>
                  <a:gd name="connsiteY701" fmla="*/ 38204 h 1642641"/>
                  <a:gd name="connsiteX702" fmla="*/ 1085567 w 1128860"/>
                  <a:gd name="connsiteY702" fmla="*/ 53316 h 1642641"/>
                  <a:gd name="connsiteX703" fmla="*/ 1073952 w 1128860"/>
                  <a:gd name="connsiteY703" fmla="*/ 76524 h 1642641"/>
                  <a:gd name="connsiteX704" fmla="*/ 1016430 w 1128860"/>
                  <a:gd name="connsiteY704" fmla="*/ 88398 h 1642641"/>
                  <a:gd name="connsiteX705" fmla="*/ 1015877 w 1128860"/>
                  <a:gd name="connsiteY705" fmla="*/ 90017 h 1642641"/>
                  <a:gd name="connsiteX706" fmla="*/ 1051275 w 1128860"/>
                  <a:gd name="connsiteY706" fmla="*/ 98653 h 1642641"/>
                  <a:gd name="connsiteX707" fmla="*/ 1065102 w 1128860"/>
                  <a:gd name="connsiteY707" fmla="*/ 95954 h 1642641"/>
                  <a:gd name="connsiteX708" fmla="*/ 1066761 w 1128860"/>
                  <a:gd name="connsiteY708" fmla="*/ 101891 h 1642641"/>
                  <a:gd name="connsiteX709" fmla="*/ 1071186 w 1128860"/>
                  <a:gd name="connsiteY709" fmla="*/ 108368 h 1642641"/>
                  <a:gd name="connsiteX710" fmla="*/ 1072845 w 1128860"/>
                  <a:gd name="connsiteY710" fmla="*/ 119162 h 1642641"/>
                  <a:gd name="connsiteX711" fmla="*/ 1072292 w 1128860"/>
                  <a:gd name="connsiteY711" fmla="*/ 122400 h 1642641"/>
                  <a:gd name="connsiteX712" fmla="*/ 1076164 w 1128860"/>
                  <a:gd name="connsiteY712" fmla="*/ 124020 h 1642641"/>
                  <a:gd name="connsiteX713" fmla="*/ 1083907 w 1128860"/>
                  <a:gd name="connsiteY713" fmla="*/ 120781 h 1642641"/>
                  <a:gd name="connsiteX714" fmla="*/ 1097181 w 1128860"/>
                  <a:gd name="connsiteY714" fmla="*/ 117003 h 1642641"/>
                  <a:gd name="connsiteX715" fmla="*/ 1093863 w 1128860"/>
                  <a:gd name="connsiteY715" fmla="*/ 100272 h 1642641"/>
                  <a:gd name="connsiteX716" fmla="*/ 1103819 w 1128860"/>
                  <a:gd name="connsiteY716" fmla="*/ 113765 h 1642641"/>
                  <a:gd name="connsiteX717" fmla="*/ 1107137 w 1128860"/>
                  <a:gd name="connsiteY717" fmla="*/ 114844 h 1642641"/>
                  <a:gd name="connsiteX718" fmla="*/ 1109903 w 1128860"/>
                  <a:gd name="connsiteY718" fmla="*/ 100272 h 1642641"/>
                  <a:gd name="connsiteX719" fmla="*/ 1118752 w 1128860"/>
                  <a:gd name="connsiteY719" fmla="*/ 102970 h 1642641"/>
                  <a:gd name="connsiteX720" fmla="*/ 1127048 w 1128860"/>
                  <a:gd name="connsiteY720" fmla="*/ 98653 h 1642641"/>
                  <a:gd name="connsiteX721" fmla="*/ 1128155 w 1128860"/>
                  <a:gd name="connsiteY721" fmla="*/ 118622 h 1642641"/>
                  <a:gd name="connsiteX722" fmla="*/ 1125942 w 1128860"/>
                  <a:gd name="connsiteY722" fmla="*/ 129417 h 1642641"/>
                  <a:gd name="connsiteX723" fmla="*/ 1119858 w 1128860"/>
                  <a:gd name="connsiteY723" fmla="*/ 132655 h 1642641"/>
                  <a:gd name="connsiteX724" fmla="*/ 1110456 w 1128860"/>
                  <a:gd name="connsiteY724" fmla="*/ 130496 h 1642641"/>
                  <a:gd name="connsiteX725" fmla="*/ 852715 w 1128860"/>
                  <a:gd name="connsiteY725" fmla="*/ 28489 h 1642641"/>
                  <a:gd name="connsiteX726" fmla="*/ 852162 w 1128860"/>
                  <a:gd name="connsiteY726" fmla="*/ 24171 h 1642641"/>
                  <a:gd name="connsiteX727" fmla="*/ 862117 w 1128860"/>
                  <a:gd name="connsiteY727" fmla="*/ 24171 h 1642641"/>
                  <a:gd name="connsiteX728" fmla="*/ 864883 w 1128860"/>
                  <a:gd name="connsiteY728" fmla="*/ 24171 h 1642641"/>
                  <a:gd name="connsiteX729" fmla="*/ 858246 w 1128860"/>
                  <a:gd name="connsiteY729" fmla="*/ 15535 h 1642641"/>
                  <a:gd name="connsiteX730" fmla="*/ 863777 w 1128860"/>
                  <a:gd name="connsiteY730" fmla="*/ 14456 h 1642641"/>
                  <a:gd name="connsiteX731" fmla="*/ 873179 w 1128860"/>
                  <a:gd name="connsiteY731" fmla="*/ 14995 h 1642641"/>
                  <a:gd name="connsiteX732" fmla="*/ 875945 w 1128860"/>
                  <a:gd name="connsiteY732" fmla="*/ 22012 h 1642641"/>
                  <a:gd name="connsiteX733" fmla="*/ 881476 w 1128860"/>
                  <a:gd name="connsiteY733" fmla="*/ 22552 h 1642641"/>
                  <a:gd name="connsiteX734" fmla="*/ 878710 w 1128860"/>
                  <a:gd name="connsiteY734" fmla="*/ 29028 h 1642641"/>
                  <a:gd name="connsiteX735" fmla="*/ 875945 w 1128860"/>
                  <a:gd name="connsiteY735" fmla="*/ 33346 h 1642641"/>
                  <a:gd name="connsiteX736" fmla="*/ 868754 w 1128860"/>
                  <a:gd name="connsiteY736" fmla="*/ 38204 h 1642641"/>
                  <a:gd name="connsiteX737" fmla="*/ 861011 w 1128860"/>
                  <a:gd name="connsiteY737" fmla="*/ 33346 h 1642641"/>
                  <a:gd name="connsiteX738" fmla="*/ 860458 w 1128860"/>
                  <a:gd name="connsiteY738" fmla="*/ 30647 h 1642641"/>
                  <a:gd name="connsiteX739" fmla="*/ 852715 w 1128860"/>
                  <a:gd name="connsiteY739" fmla="*/ 28489 h 1642641"/>
                  <a:gd name="connsiteX740" fmla="*/ 780813 w 1128860"/>
                  <a:gd name="connsiteY740" fmla="*/ 122400 h 1642641"/>
                  <a:gd name="connsiteX741" fmla="*/ 779707 w 1128860"/>
                  <a:gd name="connsiteY741" fmla="*/ 121321 h 1642641"/>
                  <a:gd name="connsiteX742" fmla="*/ 789662 w 1128860"/>
                  <a:gd name="connsiteY742" fmla="*/ 106209 h 1642641"/>
                  <a:gd name="connsiteX743" fmla="*/ 792981 w 1128860"/>
                  <a:gd name="connsiteY743" fmla="*/ 97573 h 1642641"/>
                  <a:gd name="connsiteX744" fmla="*/ 797959 w 1128860"/>
                  <a:gd name="connsiteY744" fmla="*/ 98653 h 1642641"/>
                  <a:gd name="connsiteX745" fmla="*/ 802383 w 1128860"/>
                  <a:gd name="connsiteY745" fmla="*/ 108907 h 1642641"/>
                  <a:gd name="connsiteX746" fmla="*/ 799065 w 1128860"/>
                  <a:gd name="connsiteY746" fmla="*/ 125639 h 1642641"/>
                  <a:gd name="connsiteX747" fmla="*/ 798512 w 1128860"/>
                  <a:gd name="connsiteY747" fmla="*/ 129417 h 1642641"/>
                  <a:gd name="connsiteX748" fmla="*/ 794640 w 1128860"/>
                  <a:gd name="connsiteY748" fmla="*/ 130496 h 1642641"/>
                  <a:gd name="connsiteX749" fmla="*/ 792981 w 1128860"/>
                  <a:gd name="connsiteY749" fmla="*/ 126718 h 1642641"/>
                  <a:gd name="connsiteX750" fmla="*/ 780813 w 1128860"/>
                  <a:gd name="connsiteY750" fmla="*/ 122400 h 1642641"/>
                  <a:gd name="connsiteX751" fmla="*/ 744862 w 1128860"/>
                  <a:gd name="connsiteY751" fmla="*/ 117543 h 1642641"/>
                  <a:gd name="connsiteX752" fmla="*/ 747074 w 1128860"/>
                  <a:gd name="connsiteY752" fmla="*/ 115384 h 1642641"/>
                  <a:gd name="connsiteX753" fmla="*/ 748180 w 1128860"/>
                  <a:gd name="connsiteY753" fmla="*/ 110527 h 1642641"/>
                  <a:gd name="connsiteX754" fmla="*/ 737672 w 1128860"/>
                  <a:gd name="connsiteY754" fmla="*/ 104590 h 1642641"/>
                  <a:gd name="connsiteX755" fmla="*/ 742649 w 1128860"/>
                  <a:gd name="connsiteY755" fmla="*/ 101351 h 1642641"/>
                  <a:gd name="connsiteX756" fmla="*/ 750393 w 1128860"/>
                  <a:gd name="connsiteY756" fmla="*/ 94875 h 1642641"/>
                  <a:gd name="connsiteX757" fmla="*/ 761455 w 1128860"/>
                  <a:gd name="connsiteY757" fmla="*/ 95414 h 1642641"/>
                  <a:gd name="connsiteX758" fmla="*/ 763114 w 1128860"/>
                  <a:gd name="connsiteY758" fmla="*/ 93795 h 1642641"/>
                  <a:gd name="connsiteX759" fmla="*/ 765879 w 1128860"/>
                  <a:gd name="connsiteY759" fmla="*/ 88938 h 1642641"/>
                  <a:gd name="connsiteX760" fmla="*/ 764773 w 1128860"/>
                  <a:gd name="connsiteY760" fmla="*/ 84080 h 1642641"/>
                  <a:gd name="connsiteX761" fmla="*/ 776388 w 1128860"/>
                  <a:gd name="connsiteY761" fmla="*/ 84620 h 1642641"/>
                  <a:gd name="connsiteX762" fmla="*/ 783025 w 1128860"/>
                  <a:gd name="connsiteY762" fmla="*/ 70587 h 1642641"/>
                  <a:gd name="connsiteX763" fmla="*/ 787450 w 1128860"/>
                  <a:gd name="connsiteY763" fmla="*/ 75444 h 1642641"/>
                  <a:gd name="connsiteX764" fmla="*/ 773623 w 1128860"/>
                  <a:gd name="connsiteY764" fmla="*/ 105669 h 1642641"/>
                  <a:gd name="connsiteX765" fmla="*/ 753711 w 1128860"/>
                  <a:gd name="connsiteY765" fmla="*/ 113765 h 1642641"/>
                  <a:gd name="connsiteX766" fmla="*/ 745968 w 1128860"/>
                  <a:gd name="connsiteY766" fmla="*/ 119162 h 1642641"/>
                  <a:gd name="connsiteX767" fmla="*/ 744862 w 1128860"/>
                  <a:gd name="connsiteY767" fmla="*/ 117543 h 1642641"/>
                  <a:gd name="connsiteX768" fmla="*/ 654708 w 1128860"/>
                  <a:gd name="connsiteY768" fmla="*/ 198501 h 1642641"/>
                  <a:gd name="connsiteX769" fmla="*/ 652495 w 1128860"/>
                  <a:gd name="connsiteY769" fmla="*/ 210375 h 1642641"/>
                  <a:gd name="connsiteX770" fmla="*/ 637562 w 1128860"/>
                  <a:gd name="connsiteY770" fmla="*/ 223329 h 1642641"/>
                  <a:gd name="connsiteX771" fmla="*/ 623735 w 1128860"/>
                  <a:gd name="connsiteY771" fmla="*/ 213074 h 1642641"/>
                  <a:gd name="connsiteX772" fmla="*/ 627606 w 1128860"/>
                  <a:gd name="connsiteY772" fmla="*/ 205518 h 1642641"/>
                  <a:gd name="connsiteX773" fmla="*/ 630925 w 1128860"/>
                  <a:gd name="connsiteY773" fmla="*/ 196343 h 1642641"/>
                  <a:gd name="connsiteX774" fmla="*/ 644752 w 1128860"/>
                  <a:gd name="connsiteY774" fmla="*/ 193104 h 1642641"/>
                  <a:gd name="connsiteX775" fmla="*/ 648071 w 1128860"/>
                  <a:gd name="connsiteY775" fmla="*/ 196343 h 1642641"/>
                  <a:gd name="connsiteX776" fmla="*/ 654708 w 1128860"/>
                  <a:gd name="connsiteY776" fmla="*/ 198501 h 1642641"/>
                  <a:gd name="connsiteX777" fmla="*/ 613779 w 1128860"/>
                  <a:gd name="connsiteY777" fmla="*/ 227107 h 1642641"/>
                  <a:gd name="connsiteX778" fmla="*/ 615991 w 1128860"/>
                  <a:gd name="connsiteY778" fmla="*/ 226567 h 1642641"/>
                  <a:gd name="connsiteX779" fmla="*/ 618204 w 1128860"/>
                  <a:gd name="connsiteY779" fmla="*/ 227107 h 1642641"/>
                  <a:gd name="connsiteX780" fmla="*/ 626500 w 1128860"/>
                  <a:gd name="connsiteY780" fmla="*/ 230345 h 1642641"/>
                  <a:gd name="connsiteX781" fmla="*/ 629819 w 1128860"/>
                  <a:gd name="connsiteY781" fmla="*/ 235203 h 1642641"/>
                  <a:gd name="connsiteX782" fmla="*/ 624288 w 1128860"/>
                  <a:gd name="connsiteY782" fmla="*/ 250315 h 1642641"/>
                  <a:gd name="connsiteX783" fmla="*/ 615438 w 1128860"/>
                  <a:gd name="connsiteY783" fmla="*/ 256252 h 1642641"/>
                  <a:gd name="connsiteX784" fmla="*/ 606036 w 1128860"/>
                  <a:gd name="connsiteY784" fmla="*/ 256792 h 1642641"/>
                  <a:gd name="connsiteX785" fmla="*/ 603823 w 1128860"/>
                  <a:gd name="connsiteY785" fmla="*/ 254633 h 1642641"/>
                  <a:gd name="connsiteX786" fmla="*/ 608801 w 1128860"/>
                  <a:gd name="connsiteY786" fmla="*/ 247077 h 1642641"/>
                  <a:gd name="connsiteX787" fmla="*/ 608801 w 1128860"/>
                  <a:gd name="connsiteY787" fmla="*/ 238981 h 1642641"/>
                  <a:gd name="connsiteX788" fmla="*/ 618204 w 1128860"/>
                  <a:gd name="connsiteY788" fmla="*/ 234663 h 1642641"/>
                  <a:gd name="connsiteX789" fmla="*/ 613779 w 1128860"/>
                  <a:gd name="connsiteY789" fmla="*/ 227107 h 1642641"/>
                  <a:gd name="connsiteX790" fmla="*/ 555151 w 1128860"/>
                  <a:gd name="connsiteY790" fmla="*/ 320479 h 1642641"/>
                  <a:gd name="connsiteX791" fmla="*/ 564001 w 1128860"/>
                  <a:gd name="connsiteY791" fmla="*/ 312383 h 1642641"/>
                  <a:gd name="connsiteX792" fmla="*/ 566213 w 1128860"/>
                  <a:gd name="connsiteY792" fmla="*/ 303747 h 1642641"/>
                  <a:gd name="connsiteX793" fmla="*/ 561235 w 1128860"/>
                  <a:gd name="connsiteY793" fmla="*/ 299969 h 1642641"/>
                  <a:gd name="connsiteX794" fmla="*/ 561235 w 1128860"/>
                  <a:gd name="connsiteY794" fmla="*/ 291874 h 1642641"/>
                  <a:gd name="connsiteX795" fmla="*/ 557364 w 1128860"/>
                  <a:gd name="connsiteY795" fmla="*/ 285937 h 1642641"/>
                  <a:gd name="connsiteX796" fmla="*/ 557917 w 1128860"/>
                  <a:gd name="connsiteY796" fmla="*/ 283778 h 1642641"/>
                  <a:gd name="connsiteX797" fmla="*/ 570085 w 1128860"/>
                  <a:gd name="connsiteY797" fmla="*/ 278380 h 1642641"/>
                  <a:gd name="connsiteX798" fmla="*/ 571744 w 1128860"/>
                  <a:gd name="connsiteY798" fmla="*/ 267586 h 1642641"/>
                  <a:gd name="connsiteX799" fmla="*/ 581700 w 1128860"/>
                  <a:gd name="connsiteY799" fmla="*/ 264887 h 1642641"/>
                  <a:gd name="connsiteX800" fmla="*/ 588337 w 1128860"/>
                  <a:gd name="connsiteY800" fmla="*/ 261109 h 1642641"/>
                  <a:gd name="connsiteX801" fmla="*/ 595527 w 1128860"/>
                  <a:gd name="connsiteY801" fmla="*/ 275142 h 1642641"/>
                  <a:gd name="connsiteX802" fmla="*/ 601058 w 1128860"/>
                  <a:gd name="connsiteY802" fmla="*/ 282159 h 1642641"/>
                  <a:gd name="connsiteX803" fmla="*/ 597186 w 1128860"/>
                  <a:gd name="connsiteY803" fmla="*/ 299430 h 1642641"/>
                  <a:gd name="connsiteX804" fmla="*/ 588890 w 1128860"/>
                  <a:gd name="connsiteY804" fmla="*/ 303747 h 1642641"/>
                  <a:gd name="connsiteX805" fmla="*/ 587231 w 1128860"/>
                  <a:gd name="connsiteY805" fmla="*/ 304827 h 1642641"/>
                  <a:gd name="connsiteX806" fmla="*/ 579487 w 1128860"/>
                  <a:gd name="connsiteY806" fmla="*/ 306986 h 1642641"/>
                  <a:gd name="connsiteX807" fmla="*/ 571191 w 1128860"/>
                  <a:gd name="connsiteY807" fmla="*/ 321558 h 1642641"/>
                  <a:gd name="connsiteX808" fmla="*/ 565107 w 1128860"/>
                  <a:gd name="connsiteY808" fmla="*/ 321558 h 1642641"/>
                  <a:gd name="connsiteX809" fmla="*/ 555151 w 1128860"/>
                  <a:gd name="connsiteY809" fmla="*/ 320479 h 1642641"/>
                  <a:gd name="connsiteX810" fmla="*/ 499289 w 1128860"/>
                  <a:gd name="connsiteY810" fmla="*/ 337210 h 1642641"/>
                  <a:gd name="connsiteX811" fmla="*/ 500395 w 1128860"/>
                  <a:gd name="connsiteY811" fmla="*/ 332353 h 1642641"/>
                  <a:gd name="connsiteX812" fmla="*/ 514222 w 1128860"/>
                  <a:gd name="connsiteY812" fmla="*/ 304287 h 1642641"/>
                  <a:gd name="connsiteX813" fmla="*/ 519753 w 1128860"/>
                  <a:gd name="connsiteY813" fmla="*/ 303747 h 1642641"/>
                  <a:gd name="connsiteX814" fmla="*/ 521413 w 1128860"/>
                  <a:gd name="connsiteY814" fmla="*/ 314002 h 1642641"/>
                  <a:gd name="connsiteX815" fmla="*/ 508692 w 1128860"/>
                  <a:gd name="connsiteY815" fmla="*/ 336131 h 1642641"/>
                  <a:gd name="connsiteX816" fmla="*/ 504820 w 1128860"/>
                  <a:gd name="connsiteY816" fmla="*/ 339369 h 1642641"/>
                  <a:gd name="connsiteX817" fmla="*/ 503161 w 1128860"/>
                  <a:gd name="connsiteY817" fmla="*/ 344766 h 1642641"/>
                  <a:gd name="connsiteX818" fmla="*/ 501501 w 1128860"/>
                  <a:gd name="connsiteY818" fmla="*/ 345846 h 1642641"/>
                  <a:gd name="connsiteX819" fmla="*/ 499289 w 1128860"/>
                  <a:gd name="connsiteY819" fmla="*/ 337210 h 1642641"/>
                  <a:gd name="connsiteX820" fmla="*/ 489886 w 1128860"/>
                  <a:gd name="connsiteY820" fmla="*/ 355021 h 1642641"/>
                  <a:gd name="connsiteX821" fmla="*/ 489886 w 1128860"/>
                  <a:gd name="connsiteY821" fmla="*/ 357720 h 1642641"/>
                  <a:gd name="connsiteX822" fmla="*/ 497630 w 1128860"/>
                  <a:gd name="connsiteY822" fmla="*/ 369054 h 1642641"/>
                  <a:gd name="connsiteX823" fmla="*/ 494311 w 1128860"/>
                  <a:gd name="connsiteY823" fmla="*/ 380388 h 1642641"/>
                  <a:gd name="connsiteX824" fmla="*/ 484355 w 1128860"/>
                  <a:gd name="connsiteY824" fmla="*/ 389024 h 1642641"/>
                  <a:gd name="connsiteX825" fmla="*/ 481037 w 1128860"/>
                  <a:gd name="connsiteY825" fmla="*/ 388484 h 1642641"/>
                  <a:gd name="connsiteX826" fmla="*/ 479378 w 1128860"/>
                  <a:gd name="connsiteY826" fmla="*/ 386865 h 1642641"/>
                  <a:gd name="connsiteX827" fmla="*/ 482143 w 1128860"/>
                  <a:gd name="connsiteY827" fmla="*/ 377690 h 1642641"/>
                  <a:gd name="connsiteX828" fmla="*/ 484909 w 1128860"/>
                  <a:gd name="connsiteY828" fmla="*/ 374991 h 1642641"/>
                  <a:gd name="connsiteX829" fmla="*/ 483249 w 1128860"/>
                  <a:gd name="connsiteY829" fmla="*/ 372292 h 1642641"/>
                  <a:gd name="connsiteX830" fmla="*/ 467210 w 1128860"/>
                  <a:gd name="connsiteY830" fmla="*/ 379848 h 1642641"/>
                  <a:gd name="connsiteX831" fmla="*/ 464997 w 1128860"/>
                  <a:gd name="connsiteY831" fmla="*/ 382007 h 1642641"/>
                  <a:gd name="connsiteX832" fmla="*/ 462232 w 1128860"/>
                  <a:gd name="connsiteY832" fmla="*/ 382007 h 1642641"/>
                  <a:gd name="connsiteX833" fmla="*/ 459466 w 1128860"/>
                  <a:gd name="connsiteY833" fmla="*/ 380928 h 1642641"/>
                  <a:gd name="connsiteX834" fmla="*/ 462785 w 1128860"/>
                  <a:gd name="connsiteY834" fmla="*/ 366355 h 1642641"/>
                  <a:gd name="connsiteX835" fmla="*/ 463338 w 1128860"/>
                  <a:gd name="connsiteY835" fmla="*/ 363117 h 1642641"/>
                  <a:gd name="connsiteX836" fmla="*/ 473294 w 1128860"/>
                  <a:gd name="connsiteY836" fmla="*/ 363117 h 1642641"/>
                  <a:gd name="connsiteX837" fmla="*/ 480484 w 1128860"/>
                  <a:gd name="connsiteY837" fmla="*/ 358260 h 1642641"/>
                  <a:gd name="connsiteX838" fmla="*/ 478825 w 1128860"/>
                  <a:gd name="connsiteY838" fmla="*/ 340988 h 1642641"/>
                  <a:gd name="connsiteX839" fmla="*/ 489886 w 1128860"/>
                  <a:gd name="connsiteY839" fmla="*/ 345846 h 1642641"/>
                  <a:gd name="connsiteX840" fmla="*/ 489886 w 1128860"/>
                  <a:gd name="connsiteY840" fmla="*/ 355021 h 1642641"/>
                  <a:gd name="connsiteX841" fmla="*/ 512010 w 1128860"/>
                  <a:gd name="connsiteY841" fmla="*/ 397120 h 1642641"/>
                  <a:gd name="connsiteX842" fmla="*/ 502608 w 1128860"/>
                  <a:gd name="connsiteY842" fmla="*/ 403596 h 1642641"/>
                  <a:gd name="connsiteX843" fmla="*/ 499842 w 1128860"/>
                  <a:gd name="connsiteY843" fmla="*/ 407914 h 1642641"/>
                  <a:gd name="connsiteX844" fmla="*/ 495417 w 1128860"/>
                  <a:gd name="connsiteY844" fmla="*/ 417089 h 1642641"/>
                  <a:gd name="connsiteX845" fmla="*/ 492652 w 1128860"/>
                  <a:gd name="connsiteY845" fmla="*/ 417629 h 1642641"/>
                  <a:gd name="connsiteX846" fmla="*/ 494311 w 1128860"/>
                  <a:gd name="connsiteY846" fmla="*/ 407914 h 1642641"/>
                  <a:gd name="connsiteX847" fmla="*/ 496523 w 1128860"/>
                  <a:gd name="connsiteY847" fmla="*/ 403596 h 1642641"/>
                  <a:gd name="connsiteX848" fmla="*/ 498183 w 1128860"/>
                  <a:gd name="connsiteY848" fmla="*/ 399278 h 1642641"/>
                  <a:gd name="connsiteX849" fmla="*/ 499289 w 1128860"/>
                  <a:gd name="connsiteY849" fmla="*/ 396580 h 1642641"/>
                  <a:gd name="connsiteX850" fmla="*/ 509798 w 1128860"/>
                  <a:gd name="connsiteY850" fmla="*/ 358260 h 1642641"/>
                  <a:gd name="connsiteX851" fmla="*/ 508138 w 1128860"/>
                  <a:gd name="connsiteY851" fmla="*/ 349084 h 1642641"/>
                  <a:gd name="connsiteX852" fmla="*/ 514776 w 1128860"/>
                  <a:gd name="connsiteY852" fmla="*/ 343687 h 1642641"/>
                  <a:gd name="connsiteX853" fmla="*/ 517541 w 1128860"/>
                  <a:gd name="connsiteY853" fmla="*/ 358260 h 1642641"/>
                  <a:gd name="connsiteX854" fmla="*/ 523072 w 1128860"/>
                  <a:gd name="connsiteY854" fmla="*/ 364196 h 1642641"/>
                  <a:gd name="connsiteX855" fmla="*/ 520860 w 1128860"/>
                  <a:gd name="connsiteY855" fmla="*/ 373372 h 1642641"/>
                  <a:gd name="connsiteX856" fmla="*/ 523072 w 1128860"/>
                  <a:gd name="connsiteY856" fmla="*/ 374991 h 1642641"/>
                  <a:gd name="connsiteX857" fmla="*/ 527497 w 1128860"/>
                  <a:gd name="connsiteY857" fmla="*/ 372832 h 1642641"/>
                  <a:gd name="connsiteX858" fmla="*/ 531921 w 1128860"/>
                  <a:gd name="connsiteY858" fmla="*/ 352862 h 1642641"/>
                  <a:gd name="connsiteX859" fmla="*/ 539112 w 1128860"/>
                  <a:gd name="connsiteY859" fmla="*/ 347465 h 1642641"/>
                  <a:gd name="connsiteX860" fmla="*/ 543536 w 1128860"/>
                  <a:gd name="connsiteY860" fmla="*/ 348544 h 1642641"/>
                  <a:gd name="connsiteX861" fmla="*/ 546855 w 1128860"/>
                  <a:gd name="connsiteY861" fmla="*/ 359339 h 1642641"/>
                  <a:gd name="connsiteX862" fmla="*/ 547408 w 1128860"/>
                  <a:gd name="connsiteY862" fmla="*/ 373372 h 1642641"/>
                  <a:gd name="connsiteX863" fmla="*/ 544643 w 1128860"/>
                  <a:gd name="connsiteY863" fmla="*/ 378229 h 1642641"/>
                  <a:gd name="connsiteX864" fmla="*/ 535793 w 1128860"/>
                  <a:gd name="connsiteY864" fmla="*/ 383627 h 1642641"/>
                  <a:gd name="connsiteX865" fmla="*/ 533028 w 1128860"/>
                  <a:gd name="connsiteY865" fmla="*/ 391183 h 1642641"/>
                  <a:gd name="connsiteX866" fmla="*/ 527497 w 1128860"/>
                  <a:gd name="connsiteY866" fmla="*/ 402517 h 1642641"/>
                  <a:gd name="connsiteX867" fmla="*/ 525284 w 1128860"/>
                  <a:gd name="connsiteY867" fmla="*/ 393342 h 1642641"/>
                  <a:gd name="connsiteX868" fmla="*/ 518094 w 1128860"/>
                  <a:gd name="connsiteY868" fmla="*/ 412772 h 1642641"/>
                  <a:gd name="connsiteX869" fmla="*/ 508138 w 1128860"/>
                  <a:gd name="connsiteY869" fmla="*/ 412232 h 1642641"/>
                  <a:gd name="connsiteX870" fmla="*/ 513669 w 1128860"/>
                  <a:gd name="connsiteY870" fmla="*/ 401437 h 1642641"/>
                  <a:gd name="connsiteX871" fmla="*/ 512010 w 1128860"/>
                  <a:gd name="connsiteY871" fmla="*/ 397120 h 1642641"/>
                  <a:gd name="connsiteX872" fmla="*/ 212787 w 1128860"/>
                  <a:gd name="connsiteY872" fmla="*/ 992974 h 1642641"/>
                  <a:gd name="connsiteX873" fmla="*/ 212787 w 1128860"/>
                  <a:gd name="connsiteY873" fmla="*/ 991895 h 1642641"/>
                  <a:gd name="connsiteX874" fmla="*/ 210575 w 1128860"/>
                  <a:gd name="connsiteY874" fmla="*/ 984878 h 1642641"/>
                  <a:gd name="connsiteX875" fmla="*/ 223296 w 1128860"/>
                  <a:gd name="connsiteY875" fmla="*/ 983259 h 1642641"/>
                  <a:gd name="connsiteX876" fmla="*/ 224955 w 1128860"/>
                  <a:gd name="connsiteY876" fmla="*/ 985418 h 1642641"/>
                  <a:gd name="connsiteX877" fmla="*/ 237676 w 1128860"/>
                  <a:gd name="connsiteY877" fmla="*/ 985958 h 1642641"/>
                  <a:gd name="connsiteX878" fmla="*/ 235464 w 1128860"/>
                  <a:gd name="connsiteY878" fmla="*/ 991895 h 1642641"/>
                  <a:gd name="connsiteX879" fmla="*/ 232145 w 1128860"/>
                  <a:gd name="connsiteY879" fmla="*/ 994054 h 1642641"/>
                  <a:gd name="connsiteX880" fmla="*/ 227168 w 1128860"/>
                  <a:gd name="connsiteY880" fmla="*/ 999451 h 1642641"/>
                  <a:gd name="connsiteX881" fmla="*/ 221637 w 1128860"/>
                  <a:gd name="connsiteY881" fmla="*/ 1001070 h 1642641"/>
                  <a:gd name="connsiteX882" fmla="*/ 206150 w 1128860"/>
                  <a:gd name="connsiteY882" fmla="*/ 1006467 h 1642641"/>
                  <a:gd name="connsiteX883" fmla="*/ 195088 w 1128860"/>
                  <a:gd name="connsiteY883" fmla="*/ 1003229 h 1642641"/>
                  <a:gd name="connsiteX884" fmla="*/ 195088 w 1128860"/>
                  <a:gd name="connsiteY884" fmla="*/ 1001070 h 1642641"/>
                  <a:gd name="connsiteX885" fmla="*/ 199513 w 1128860"/>
                  <a:gd name="connsiteY885" fmla="*/ 996752 h 1642641"/>
                  <a:gd name="connsiteX886" fmla="*/ 212787 w 1128860"/>
                  <a:gd name="connsiteY886" fmla="*/ 992974 h 1642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</a:cxnLst>
                <a:rect l="l" t="t" r="r" b="b"/>
                <a:pathLst>
                  <a:path w="1128860" h="1642641">
                    <a:moveTo>
                      <a:pt x="13121" y="1439325"/>
                    </a:moveTo>
                    <a:cubicBezTo>
                      <a:pt x="10356" y="1441484"/>
                      <a:pt x="11462" y="1442024"/>
                      <a:pt x="10909" y="1444723"/>
                    </a:cubicBezTo>
                    <a:cubicBezTo>
                      <a:pt x="10909" y="1445802"/>
                      <a:pt x="8696" y="1449580"/>
                      <a:pt x="7590" y="1449580"/>
                    </a:cubicBezTo>
                    <a:cubicBezTo>
                      <a:pt x="7037" y="1450120"/>
                      <a:pt x="4825" y="1449580"/>
                      <a:pt x="4272" y="1449040"/>
                    </a:cubicBezTo>
                    <a:cubicBezTo>
                      <a:pt x="2612" y="1447961"/>
                      <a:pt x="5378" y="1441484"/>
                      <a:pt x="4272" y="1439325"/>
                    </a:cubicBezTo>
                    <a:cubicBezTo>
                      <a:pt x="3165" y="1437166"/>
                      <a:pt x="-153" y="1433928"/>
                      <a:pt x="-706" y="1431769"/>
                    </a:cubicBezTo>
                    <a:cubicBezTo>
                      <a:pt x="-706" y="1430690"/>
                      <a:pt x="953" y="1426372"/>
                      <a:pt x="1506" y="1425293"/>
                    </a:cubicBezTo>
                    <a:cubicBezTo>
                      <a:pt x="2059" y="1424753"/>
                      <a:pt x="4272" y="1424213"/>
                      <a:pt x="5378" y="1424753"/>
                    </a:cubicBezTo>
                    <a:cubicBezTo>
                      <a:pt x="8696" y="1425293"/>
                      <a:pt x="8143" y="1429610"/>
                      <a:pt x="9249" y="1431769"/>
                    </a:cubicBezTo>
                    <a:cubicBezTo>
                      <a:pt x="10356" y="1432309"/>
                      <a:pt x="13674" y="1434468"/>
                      <a:pt x="14780" y="1435547"/>
                    </a:cubicBezTo>
                    <a:cubicBezTo>
                      <a:pt x="15333" y="1435547"/>
                      <a:pt x="16993" y="1436087"/>
                      <a:pt x="16993" y="1436087"/>
                    </a:cubicBezTo>
                    <a:cubicBezTo>
                      <a:pt x="16993" y="1437166"/>
                      <a:pt x="15887" y="1437166"/>
                      <a:pt x="15333" y="1437706"/>
                    </a:cubicBezTo>
                    <a:cubicBezTo>
                      <a:pt x="14780" y="1437706"/>
                      <a:pt x="13674" y="1438786"/>
                      <a:pt x="13121" y="1439325"/>
                    </a:cubicBezTo>
                    <a:close/>
                    <a:moveTo>
                      <a:pt x="1110456" y="130496"/>
                    </a:moveTo>
                    <a:cubicBezTo>
                      <a:pt x="1109349" y="138592"/>
                      <a:pt x="1104372" y="149926"/>
                      <a:pt x="1097735" y="155324"/>
                    </a:cubicBezTo>
                    <a:cubicBezTo>
                      <a:pt x="1093310" y="159102"/>
                      <a:pt x="1085013" y="162340"/>
                      <a:pt x="1081695" y="166658"/>
                    </a:cubicBezTo>
                    <a:cubicBezTo>
                      <a:pt x="1079483" y="169356"/>
                      <a:pt x="1079483" y="174214"/>
                      <a:pt x="1080036" y="176912"/>
                    </a:cubicBezTo>
                    <a:cubicBezTo>
                      <a:pt x="1080589" y="179071"/>
                      <a:pt x="1082248" y="181230"/>
                      <a:pt x="1082801" y="182849"/>
                    </a:cubicBezTo>
                    <a:cubicBezTo>
                      <a:pt x="1087779" y="194184"/>
                      <a:pt x="1088885" y="208216"/>
                      <a:pt x="1075611" y="214693"/>
                    </a:cubicBezTo>
                    <a:lnTo>
                      <a:pt x="1060124" y="186627"/>
                    </a:lnTo>
                    <a:lnTo>
                      <a:pt x="1067315" y="157482"/>
                    </a:lnTo>
                    <a:lnTo>
                      <a:pt x="1056806" y="141830"/>
                    </a:lnTo>
                    <a:lnTo>
                      <a:pt x="1051828" y="137513"/>
                    </a:lnTo>
                    <a:lnTo>
                      <a:pt x="1013111" y="127258"/>
                    </a:lnTo>
                    <a:lnTo>
                      <a:pt x="994859" y="113225"/>
                    </a:lnTo>
                    <a:cubicBezTo>
                      <a:pt x="984351" y="120781"/>
                      <a:pt x="987116" y="125099"/>
                      <a:pt x="981032" y="134274"/>
                    </a:cubicBezTo>
                    <a:cubicBezTo>
                      <a:pt x="973842" y="144529"/>
                      <a:pt x="965546" y="138052"/>
                      <a:pt x="955037" y="150466"/>
                    </a:cubicBezTo>
                    <a:cubicBezTo>
                      <a:pt x="945634" y="160721"/>
                      <a:pt x="947294" y="162880"/>
                      <a:pt x="942869" y="174754"/>
                    </a:cubicBezTo>
                    <a:cubicBezTo>
                      <a:pt x="941763" y="177452"/>
                      <a:pt x="940103" y="180151"/>
                      <a:pt x="939550" y="183389"/>
                    </a:cubicBezTo>
                    <a:cubicBezTo>
                      <a:pt x="938444" y="187167"/>
                      <a:pt x="938997" y="191485"/>
                      <a:pt x="938444" y="195803"/>
                    </a:cubicBezTo>
                    <a:cubicBezTo>
                      <a:pt x="937338" y="208216"/>
                      <a:pt x="931254" y="216852"/>
                      <a:pt x="941209" y="228186"/>
                    </a:cubicBezTo>
                    <a:cubicBezTo>
                      <a:pt x="943422" y="230885"/>
                      <a:pt x="947847" y="234123"/>
                      <a:pt x="948953" y="237361"/>
                    </a:cubicBezTo>
                    <a:cubicBezTo>
                      <a:pt x="950612" y="240060"/>
                      <a:pt x="946740" y="254633"/>
                      <a:pt x="945081" y="257871"/>
                    </a:cubicBezTo>
                    <a:cubicBezTo>
                      <a:pt x="943975" y="261109"/>
                      <a:pt x="941209" y="264348"/>
                      <a:pt x="939550" y="267586"/>
                    </a:cubicBezTo>
                    <a:lnTo>
                      <a:pt x="936232" y="280539"/>
                    </a:lnTo>
                    <a:cubicBezTo>
                      <a:pt x="934572" y="291334"/>
                      <a:pt x="934019" y="302668"/>
                      <a:pt x="932360" y="313462"/>
                    </a:cubicBezTo>
                    <a:lnTo>
                      <a:pt x="914661" y="309684"/>
                    </a:lnTo>
                    <a:lnTo>
                      <a:pt x="909130" y="305367"/>
                    </a:lnTo>
                    <a:lnTo>
                      <a:pt x="884794" y="299969"/>
                    </a:lnTo>
                    <a:lnTo>
                      <a:pt x="870967" y="289175"/>
                    </a:lnTo>
                    <a:lnTo>
                      <a:pt x="864883" y="295112"/>
                    </a:lnTo>
                    <a:lnTo>
                      <a:pt x="863777" y="305906"/>
                    </a:lnTo>
                    <a:lnTo>
                      <a:pt x="847184" y="319939"/>
                    </a:lnTo>
                    <a:lnTo>
                      <a:pt x="836122" y="316701"/>
                    </a:lnTo>
                    <a:lnTo>
                      <a:pt x="804043" y="317241"/>
                    </a:lnTo>
                    <a:lnTo>
                      <a:pt x="799618" y="304287"/>
                    </a:lnTo>
                    <a:lnTo>
                      <a:pt x="769751" y="263268"/>
                    </a:lnTo>
                    <a:lnTo>
                      <a:pt x="744862" y="260570"/>
                    </a:lnTo>
                    <a:lnTo>
                      <a:pt x="734906" y="275682"/>
                    </a:lnTo>
                    <a:lnTo>
                      <a:pt x="739884" y="292953"/>
                    </a:lnTo>
                    <a:lnTo>
                      <a:pt x="737119" y="296731"/>
                    </a:lnTo>
                    <a:lnTo>
                      <a:pt x="720526" y="295112"/>
                    </a:lnTo>
                    <a:lnTo>
                      <a:pt x="704486" y="302668"/>
                    </a:lnTo>
                    <a:lnTo>
                      <a:pt x="717207" y="337750"/>
                    </a:lnTo>
                    <a:lnTo>
                      <a:pt x="709464" y="365816"/>
                    </a:lnTo>
                    <a:lnTo>
                      <a:pt x="714442" y="368514"/>
                    </a:lnTo>
                    <a:lnTo>
                      <a:pt x="711123" y="379309"/>
                    </a:lnTo>
                    <a:lnTo>
                      <a:pt x="658579" y="369594"/>
                    </a:lnTo>
                    <a:lnTo>
                      <a:pt x="624841" y="377150"/>
                    </a:lnTo>
                    <a:lnTo>
                      <a:pt x="621522" y="388484"/>
                    </a:lnTo>
                    <a:lnTo>
                      <a:pt x="629266" y="415470"/>
                    </a:lnTo>
                    <a:lnTo>
                      <a:pt x="633137" y="420867"/>
                    </a:lnTo>
                    <a:lnTo>
                      <a:pt x="625947" y="440297"/>
                    </a:lnTo>
                    <a:lnTo>
                      <a:pt x="617651" y="440837"/>
                    </a:lnTo>
                    <a:lnTo>
                      <a:pt x="593868" y="435440"/>
                    </a:lnTo>
                    <a:lnTo>
                      <a:pt x="572850" y="458108"/>
                    </a:lnTo>
                    <a:lnTo>
                      <a:pt x="562895" y="500746"/>
                    </a:lnTo>
                    <a:lnTo>
                      <a:pt x="552386" y="516398"/>
                    </a:lnTo>
                    <a:lnTo>
                      <a:pt x="567319" y="536908"/>
                    </a:lnTo>
                    <a:lnTo>
                      <a:pt x="570638" y="567672"/>
                    </a:lnTo>
                    <a:lnTo>
                      <a:pt x="529156" y="630280"/>
                    </a:lnTo>
                    <a:lnTo>
                      <a:pt x="541324" y="649710"/>
                    </a:lnTo>
                    <a:lnTo>
                      <a:pt x="518094" y="668600"/>
                    </a:lnTo>
                    <a:lnTo>
                      <a:pt x="498183" y="678315"/>
                    </a:lnTo>
                    <a:lnTo>
                      <a:pt x="507032" y="711778"/>
                    </a:lnTo>
                    <a:lnTo>
                      <a:pt x="505926" y="756036"/>
                    </a:lnTo>
                    <a:lnTo>
                      <a:pt x="498736" y="790578"/>
                    </a:lnTo>
                    <a:lnTo>
                      <a:pt x="472741" y="854265"/>
                    </a:lnTo>
                    <a:lnTo>
                      <a:pt x="497630" y="872076"/>
                    </a:lnTo>
                    <a:lnTo>
                      <a:pt x="500395" y="902840"/>
                    </a:lnTo>
                    <a:lnTo>
                      <a:pt x="495417" y="920651"/>
                    </a:lnTo>
                    <a:lnTo>
                      <a:pt x="452276" y="917953"/>
                    </a:lnTo>
                    <a:lnTo>
                      <a:pt x="426834" y="933065"/>
                    </a:lnTo>
                    <a:lnTo>
                      <a:pt x="406369" y="964909"/>
                    </a:lnTo>
                    <a:lnTo>
                      <a:pt x="401392" y="978941"/>
                    </a:lnTo>
                    <a:lnTo>
                      <a:pt x="405263" y="990276"/>
                    </a:lnTo>
                    <a:lnTo>
                      <a:pt x="395861" y="1015642"/>
                    </a:lnTo>
                    <a:lnTo>
                      <a:pt x="408029" y="1047486"/>
                    </a:lnTo>
                    <a:lnTo>
                      <a:pt x="401392" y="1059360"/>
                    </a:lnTo>
                    <a:lnTo>
                      <a:pt x="401945" y="1091204"/>
                    </a:lnTo>
                    <a:lnTo>
                      <a:pt x="420197" y="1128984"/>
                    </a:lnTo>
                    <a:lnTo>
                      <a:pt x="422962" y="1136001"/>
                    </a:lnTo>
                    <a:lnTo>
                      <a:pt x="417984" y="1198069"/>
                    </a:lnTo>
                    <a:lnTo>
                      <a:pt x="457254" y="1230992"/>
                    </a:lnTo>
                    <a:lnTo>
                      <a:pt x="460019" y="1244485"/>
                    </a:lnTo>
                    <a:lnTo>
                      <a:pt x="448958" y="1276329"/>
                    </a:lnTo>
                    <a:lnTo>
                      <a:pt x="438449" y="1276329"/>
                    </a:lnTo>
                    <a:lnTo>
                      <a:pt x="429046" y="1284964"/>
                    </a:lnTo>
                    <a:lnTo>
                      <a:pt x="457254" y="1344334"/>
                    </a:lnTo>
                    <a:lnTo>
                      <a:pt x="450617" y="1367542"/>
                    </a:lnTo>
                    <a:lnTo>
                      <a:pt x="449511" y="1392909"/>
                    </a:lnTo>
                    <a:lnTo>
                      <a:pt x="436790" y="1412339"/>
                    </a:lnTo>
                    <a:lnTo>
                      <a:pt x="417431" y="1417197"/>
                    </a:lnTo>
                    <a:lnTo>
                      <a:pt x="420197" y="1437706"/>
                    </a:lnTo>
                    <a:lnTo>
                      <a:pt x="409688" y="1447421"/>
                    </a:lnTo>
                    <a:lnTo>
                      <a:pt x="418538" y="1486821"/>
                    </a:lnTo>
                    <a:lnTo>
                      <a:pt x="406369" y="1531618"/>
                    </a:lnTo>
                    <a:lnTo>
                      <a:pt x="400285" y="1533237"/>
                    </a:lnTo>
                    <a:lnTo>
                      <a:pt x="393648" y="1531618"/>
                    </a:lnTo>
                    <a:lnTo>
                      <a:pt x="392542" y="1509489"/>
                    </a:lnTo>
                    <a:lnTo>
                      <a:pt x="384799" y="1506791"/>
                    </a:lnTo>
                    <a:cubicBezTo>
                      <a:pt x="374843" y="1494917"/>
                      <a:pt x="365994" y="1501393"/>
                      <a:pt x="363781" y="1499774"/>
                    </a:cubicBezTo>
                    <a:cubicBezTo>
                      <a:pt x="362122" y="1498155"/>
                      <a:pt x="351060" y="1483043"/>
                      <a:pt x="349954" y="1480344"/>
                    </a:cubicBezTo>
                    <a:cubicBezTo>
                      <a:pt x="348295" y="1477646"/>
                      <a:pt x="348295" y="1453358"/>
                      <a:pt x="347742" y="1448501"/>
                    </a:cubicBezTo>
                    <a:cubicBezTo>
                      <a:pt x="347189" y="1447961"/>
                      <a:pt x="342764" y="1437166"/>
                      <a:pt x="342764" y="1437166"/>
                    </a:cubicBezTo>
                    <a:cubicBezTo>
                      <a:pt x="342764" y="1436087"/>
                      <a:pt x="342764" y="1435547"/>
                      <a:pt x="343317" y="1435008"/>
                    </a:cubicBezTo>
                    <a:lnTo>
                      <a:pt x="346082" y="1434468"/>
                    </a:lnTo>
                    <a:lnTo>
                      <a:pt x="347189" y="1436087"/>
                    </a:lnTo>
                    <a:lnTo>
                      <a:pt x="348848" y="1435008"/>
                    </a:lnTo>
                    <a:cubicBezTo>
                      <a:pt x="349401" y="1430690"/>
                      <a:pt x="350507" y="1420435"/>
                      <a:pt x="347189" y="1417736"/>
                    </a:cubicBezTo>
                    <a:cubicBezTo>
                      <a:pt x="345529" y="1417197"/>
                      <a:pt x="341658" y="1418276"/>
                      <a:pt x="339998" y="1418816"/>
                    </a:cubicBezTo>
                    <a:cubicBezTo>
                      <a:pt x="334468" y="1420975"/>
                      <a:pt x="331149" y="1424753"/>
                      <a:pt x="332808" y="1430690"/>
                    </a:cubicBezTo>
                    <a:cubicBezTo>
                      <a:pt x="333361" y="1432309"/>
                      <a:pt x="335574" y="1433928"/>
                      <a:pt x="336680" y="1435547"/>
                    </a:cubicBezTo>
                    <a:cubicBezTo>
                      <a:pt x="338339" y="1438786"/>
                      <a:pt x="338339" y="1446881"/>
                      <a:pt x="338339" y="1450660"/>
                    </a:cubicBezTo>
                    <a:cubicBezTo>
                      <a:pt x="338339" y="1452279"/>
                      <a:pt x="337786" y="1456596"/>
                      <a:pt x="336680" y="1457136"/>
                    </a:cubicBezTo>
                    <a:cubicBezTo>
                      <a:pt x="335021" y="1457676"/>
                      <a:pt x="330043" y="1454977"/>
                      <a:pt x="324512" y="1456057"/>
                    </a:cubicBezTo>
                    <a:cubicBezTo>
                      <a:pt x="323959" y="1457136"/>
                      <a:pt x="323406" y="1459835"/>
                      <a:pt x="323959" y="1460914"/>
                    </a:cubicBezTo>
                    <a:cubicBezTo>
                      <a:pt x="326171" y="1465232"/>
                      <a:pt x="331702" y="1468470"/>
                      <a:pt x="334468" y="1472788"/>
                    </a:cubicBezTo>
                    <a:cubicBezTo>
                      <a:pt x="335574" y="1475487"/>
                      <a:pt x="337233" y="1484122"/>
                      <a:pt x="337233" y="1486821"/>
                    </a:cubicBezTo>
                    <a:cubicBezTo>
                      <a:pt x="337233" y="1487900"/>
                      <a:pt x="336127" y="1491139"/>
                      <a:pt x="335574" y="1492218"/>
                    </a:cubicBezTo>
                    <a:cubicBezTo>
                      <a:pt x="333361" y="1494377"/>
                      <a:pt x="331149" y="1492758"/>
                      <a:pt x="328384" y="1497076"/>
                    </a:cubicBezTo>
                    <a:cubicBezTo>
                      <a:pt x="326171" y="1500854"/>
                      <a:pt x="325618" y="1509489"/>
                      <a:pt x="322853" y="1514347"/>
                    </a:cubicBezTo>
                    <a:cubicBezTo>
                      <a:pt x="320087" y="1520284"/>
                      <a:pt x="314556" y="1519744"/>
                      <a:pt x="310131" y="1522443"/>
                    </a:cubicBezTo>
                    <a:cubicBezTo>
                      <a:pt x="308472" y="1523522"/>
                      <a:pt x="305707" y="1526760"/>
                      <a:pt x="304601" y="1527300"/>
                    </a:cubicBezTo>
                    <a:cubicBezTo>
                      <a:pt x="300176" y="1528919"/>
                      <a:pt x="299623" y="1522982"/>
                      <a:pt x="297410" y="1521363"/>
                    </a:cubicBezTo>
                    <a:cubicBezTo>
                      <a:pt x="296857" y="1520824"/>
                      <a:pt x="294092" y="1520824"/>
                      <a:pt x="293539" y="1521363"/>
                    </a:cubicBezTo>
                    <a:cubicBezTo>
                      <a:pt x="290220" y="1523522"/>
                      <a:pt x="291326" y="1528380"/>
                      <a:pt x="289114" y="1529999"/>
                    </a:cubicBezTo>
                    <a:cubicBezTo>
                      <a:pt x="285242" y="1533237"/>
                      <a:pt x="266437" y="1538634"/>
                      <a:pt x="264778" y="1540793"/>
                    </a:cubicBezTo>
                    <a:cubicBezTo>
                      <a:pt x="264778" y="1540793"/>
                      <a:pt x="264225" y="1542952"/>
                      <a:pt x="264225" y="1543492"/>
                    </a:cubicBezTo>
                    <a:cubicBezTo>
                      <a:pt x="265331" y="1544032"/>
                      <a:pt x="269756" y="1543492"/>
                      <a:pt x="270309" y="1544571"/>
                    </a:cubicBezTo>
                    <a:cubicBezTo>
                      <a:pt x="270309" y="1546191"/>
                      <a:pt x="266437" y="1553747"/>
                      <a:pt x="265331" y="1555906"/>
                    </a:cubicBezTo>
                    <a:cubicBezTo>
                      <a:pt x="262566" y="1560223"/>
                      <a:pt x="257035" y="1559684"/>
                      <a:pt x="253716" y="1562922"/>
                    </a:cubicBezTo>
                    <a:cubicBezTo>
                      <a:pt x="251504" y="1565081"/>
                      <a:pt x="250951" y="1569938"/>
                      <a:pt x="249291" y="1572097"/>
                    </a:cubicBezTo>
                    <a:cubicBezTo>
                      <a:pt x="246526" y="1574796"/>
                      <a:pt x="242101" y="1576415"/>
                      <a:pt x="239336" y="1579114"/>
                    </a:cubicBezTo>
                    <a:cubicBezTo>
                      <a:pt x="229933" y="1590988"/>
                      <a:pt x="224402" y="1606640"/>
                      <a:pt x="212234" y="1616894"/>
                    </a:cubicBezTo>
                    <a:cubicBezTo>
                      <a:pt x="208916" y="1620133"/>
                      <a:pt x="203385" y="1621212"/>
                      <a:pt x="199513" y="1623911"/>
                    </a:cubicBezTo>
                    <a:cubicBezTo>
                      <a:pt x="197854" y="1624990"/>
                      <a:pt x="196195" y="1628768"/>
                      <a:pt x="194535" y="1629848"/>
                    </a:cubicBezTo>
                    <a:cubicBezTo>
                      <a:pt x="188451" y="1632546"/>
                      <a:pt x="180155" y="1632007"/>
                      <a:pt x="174071" y="1634705"/>
                    </a:cubicBezTo>
                    <a:cubicBezTo>
                      <a:pt x="170199" y="1636324"/>
                      <a:pt x="166881" y="1639563"/>
                      <a:pt x="163009" y="1641722"/>
                    </a:cubicBezTo>
                    <a:cubicBezTo>
                      <a:pt x="158031" y="1643880"/>
                      <a:pt x="131483" y="1641182"/>
                      <a:pt x="125399" y="1639563"/>
                    </a:cubicBezTo>
                    <a:cubicBezTo>
                      <a:pt x="117102" y="1637404"/>
                      <a:pt x="112125" y="1626609"/>
                      <a:pt x="109912" y="1625530"/>
                    </a:cubicBezTo>
                    <a:cubicBezTo>
                      <a:pt x="108253" y="1624450"/>
                      <a:pt x="105487" y="1625530"/>
                      <a:pt x="104381" y="1626609"/>
                    </a:cubicBezTo>
                    <a:cubicBezTo>
                      <a:pt x="103828" y="1630387"/>
                      <a:pt x="104381" y="1634165"/>
                      <a:pt x="103828" y="1637404"/>
                    </a:cubicBezTo>
                    <a:lnTo>
                      <a:pt x="101616" y="1638483"/>
                    </a:lnTo>
                    <a:cubicBezTo>
                      <a:pt x="96085" y="1637404"/>
                      <a:pt x="91660" y="1634165"/>
                      <a:pt x="91107" y="1628768"/>
                    </a:cubicBezTo>
                    <a:cubicBezTo>
                      <a:pt x="92213" y="1625530"/>
                      <a:pt x="94979" y="1622831"/>
                      <a:pt x="96085" y="1620133"/>
                    </a:cubicBezTo>
                    <a:lnTo>
                      <a:pt x="95532" y="1617434"/>
                    </a:lnTo>
                    <a:cubicBezTo>
                      <a:pt x="83364" y="1609878"/>
                      <a:pt x="69536" y="1605020"/>
                      <a:pt x="57922" y="1596925"/>
                    </a:cubicBezTo>
                    <a:cubicBezTo>
                      <a:pt x="55709" y="1595845"/>
                      <a:pt x="54603" y="1590988"/>
                      <a:pt x="52944" y="1588829"/>
                    </a:cubicBezTo>
                    <a:cubicBezTo>
                      <a:pt x="47966" y="1583971"/>
                      <a:pt x="40776" y="1580733"/>
                      <a:pt x="36351" y="1574796"/>
                    </a:cubicBezTo>
                    <a:cubicBezTo>
                      <a:pt x="34139" y="1572097"/>
                      <a:pt x="29714" y="1563462"/>
                      <a:pt x="28608" y="1560763"/>
                    </a:cubicBezTo>
                    <a:cubicBezTo>
                      <a:pt x="27501" y="1556985"/>
                      <a:pt x="30267" y="1529999"/>
                      <a:pt x="30820" y="1526221"/>
                    </a:cubicBezTo>
                    <a:lnTo>
                      <a:pt x="33585" y="1525681"/>
                    </a:lnTo>
                    <a:cubicBezTo>
                      <a:pt x="39116" y="1528380"/>
                      <a:pt x="38010" y="1533237"/>
                      <a:pt x="40776" y="1537555"/>
                    </a:cubicBezTo>
                    <a:lnTo>
                      <a:pt x="43541" y="1538095"/>
                    </a:lnTo>
                    <a:cubicBezTo>
                      <a:pt x="46860" y="1531078"/>
                      <a:pt x="57368" y="1539174"/>
                      <a:pt x="57922" y="1538634"/>
                    </a:cubicBezTo>
                    <a:cubicBezTo>
                      <a:pt x="61793" y="1536476"/>
                      <a:pt x="54603" y="1520824"/>
                      <a:pt x="55709" y="1517585"/>
                    </a:cubicBezTo>
                    <a:cubicBezTo>
                      <a:pt x="55709" y="1515966"/>
                      <a:pt x="60687" y="1514887"/>
                      <a:pt x="61793" y="1513267"/>
                    </a:cubicBezTo>
                    <a:cubicBezTo>
                      <a:pt x="64559" y="1510569"/>
                      <a:pt x="70643" y="1498155"/>
                      <a:pt x="70643" y="1494917"/>
                    </a:cubicBezTo>
                    <a:cubicBezTo>
                      <a:pt x="69536" y="1492758"/>
                      <a:pt x="64559" y="1488980"/>
                      <a:pt x="64006" y="1486821"/>
                    </a:cubicBezTo>
                    <a:cubicBezTo>
                      <a:pt x="64006" y="1486281"/>
                      <a:pt x="64559" y="1482503"/>
                      <a:pt x="65112" y="1481963"/>
                    </a:cubicBezTo>
                    <a:cubicBezTo>
                      <a:pt x="67877" y="1479265"/>
                      <a:pt x="73961" y="1469550"/>
                      <a:pt x="66771" y="1473868"/>
                    </a:cubicBezTo>
                    <a:cubicBezTo>
                      <a:pt x="64559" y="1475487"/>
                      <a:pt x="62346" y="1478185"/>
                      <a:pt x="60134" y="1479805"/>
                    </a:cubicBezTo>
                    <a:lnTo>
                      <a:pt x="57368" y="1479265"/>
                    </a:lnTo>
                    <a:lnTo>
                      <a:pt x="56815" y="1478185"/>
                    </a:lnTo>
                    <a:cubicBezTo>
                      <a:pt x="56815" y="1473328"/>
                      <a:pt x="61240" y="1469550"/>
                      <a:pt x="55709" y="1466851"/>
                    </a:cubicBezTo>
                    <a:cubicBezTo>
                      <a:pt x="53497" y="1465772"/>
                      <a:pt x="51284" y="1465772"/>
                      <a:pt x="49072" y="1466851"/>
                    </a:cubicBezTo>
                    <a:cubicBezTo>
                      <a:pt x="45753" y="1473328"/>
                      <a:pt x="51284" y="1484122"/>
                      <a:pt x="42435" y="1488980"/>
                    </a:cubicBezTo>
                    <a:cubicBezTo>
                      <a:pt x="37457" y="1487900"/>
                      <a:pt x="38563" y="1484662"/>
                      <a:pt x="36904" y="1482503"/>
                    </a:cubicBezTo>
                    <a:lnTo>
                      <a:pt x="34692" y="1482503"/>
                    </a:lnTo>
                    <a:cubicBezTo>
                      <a:pt x="33032" y="1484122"/>
                      <a:pt x="33585" y="1487361"/>
                      <a:pt x="30267" y="1488440"/>
                    </a:cubicBezTo>
                    <a:lnTo>
                      <a:pt x="28055" y="1487361"/>
                    </a:lnTo>
                    <a:cubicBezTo>
                      <a:pt x="28055" y="1487361"/>
                      <a:pt x="27501" y="1484662"/>
                      <a:pt x="26948" y="1484122"/>
                    </a:cubicBezTo>
                    <a:cubicBezTo>
                      <a:pt x="26948" y="1483043"/>
                      <a:pt x="25289" y="1480344"/>
                      <a:pt x="24736" y="1480344"/>
                    </a:cubicBezTo>
                    <a:cubicBezTo>
                      <a:pt x="22524" y="1478725"/>
                      <a:pt x="18652" y="1480344"/>
                      <a:pt x="18099" y="1482503"/>
                    </a:cubicBezTo>
                    <a:cubicBezTo>
                      <a:pt x="15887" y="1489520"/>
                      <a:pt x="15887" y="1498155"/>
                      <a:pt x="14227" y="1505711"/>
                    </a:cubicBezTo>
                    <a:lnTo>
                      <a:pt x="13121" y="1506791"/>
                    </a:lnTo>
                    <a:cubicBezTo>
                      <a:pt x="400" y="1508410"/>
                      <a:pt x="10356" y="1481424"/>
                      <a:pt x="11462" y="1475487"/>
                    </a:cubicBezTo>
                    <a:cubicBezTo>
                      <a:pt x="12015" y="1472248"/>
                      <a:pt x="9802" y="1463073"/>
                      <a:pt x="12015" y="1459835"/>
                    </a:cubicBezTo>
                    <a:cubicBezTo>
                      <a:pt x="12568" y="1458216"/>
                      <a:pt x="24183" y="1446881"/>
                      <a:pt x="25842" y="1446342"/>
                    </a:cubicBezTo>
                    <a:lnTo>
                      <a:pt x="28055" y="1446881"/>
                    </a:lnTo>
                    <a:lnTo>
                      <a:pt x="29161" y="1449580"/>
                    </a:lnTo>
                    <a:cubicBezTo>
                      <a:pt x="29161" y="1450120"/>
                      <a:pt x="23077" y="1457676"/>
                      <a:pt x="24183" y="1463073"/>
                    </a:cubicBezTo>
                    <a:cubicBezTo>
                      <a:pt x="29714" y="1467391"/>
                      <a:pt x="33032" y="1459295"/>
                      <a:pt x="33032" y="1454977"/>
                    </a:cubicBezTo>
                    <a:cubicBezTo>
                      <a:pt x="33032" y="1453898"/>
                      <a:pt x="36351" y="1447421"/>
                      <a:pt x="37457" y="1446881"/>
                    </a:cubicBezTo>
                    <a:cubicBezTo>
                      <a:pt x="42435" y="1443103"/>
                      <a:pt x="44094" y="1453358"/>
                      <a:pt x="47966" y="1451199"/>
                    </a:cubicBezTo>
                    <a:cubicBezTo>
                      <a:pt x="51837" y="1449040"/>
                      <a:pt x="51837" y="1444183"/>
                      <a:pt x="55156" y="1440944"/>
                    </a:cubicBezTo>
                    <a:cubicBezTo>
                      <a:pt x="58475" y="1437706"/>
                      <a:pt x="65665" y="1436627"/>
                      <a:pt x="68983" y="1432849"/>
                    </a:cubicBezTo>
                    <a:cubicBezTo>
                      <a:pt x="66218" y="1432309"/>
                      <a:pt x="64006" y="1433388"/>
                      <a:pt x="62346" y="1433388"/>
                    </a:cubicBezTo>
                    <a:cubicBezTo>
                      <a:pt x="59581" y="1433388"/>
                      <a:pt x="55709" y="1430690"/>
                      <a:pt x="52944" y="1431229"/>
                    </a:cubicBezTo>
                    <a:cubicBezTo>
                      <a:pt x="50731" y="1431229"/>
                      <a:pt x="47413" y="1435008"/>
                      <a:pt x="45753" y="1436087"/>
                    </a:cubicBezTo>
                    <a:lnTo>
                      <a:pt x="43541" y="1435547"/>
                    </a:lnTo>
                    <a:cubicBezTo>
                      <a:pt x="32479" y="1423673"/>
                      <a:pt x="55156" y="1417197"/>
                      <a:pt x="60687" y="1411799"/>
                    </a:cubicBezTo>
                    <a:cubicBezTo>
                      <a:pt x="64006" y="1408021"/>
                      <a:pt x="65112" y="1402624"/>
                      <a:pt x="67877" y="1398846"/>
                    </a:cubicBezTo>
                    <a:cubicBezTo>
                      <a:pt x="68430" y="1397767"/>
                      <a:pt x="70643" y="1397227"/>
                      <a:pt x="70643" y="1396147"/>
                    </a:cubicBezTo>
                    <a:cubicBezTo>
                      <a:pt x="71196" y="1394528"/>
                      <a:pt x="68983" y="1385353"/>
                      <a:pt x="68430" y="1383734"/>
                    </a:cubicBezTo>
                    <a:cubicBezTo>
                      <a:pt x="65665" y="1374559"/>
                      <a:pt x="55709" y="1381035"/>
                      <a:pt x="53497" y="1386972"/>
                    </a:cubicBezTo>
                    <a:cubicBezTo>
                      <a:pt x="52391" y="1389131"/>
                      <a:pt x="52944" y="1402624"/>
                      <a:pt x="49625" y="1403164"/>
                    </a:cubicBezTo>
                    <a:cubicBezTo>
                      <a:pt x="46860" y="1403164"/>
                      <a:pt x="45753" y="1395608"/>
                      <a:pt x="45200" y="1393989"/>
                    </a:cubicBezTo>
                    <a:cubicBezTo>
                      <a:pt x="45200" y="1392909"/>
                      <a:pt x="44094" y="1389131"/>
                      <a:pt x="43541" y="1388591"/>
                    </a:cubicBezTo>
                    <a:cubicBezTo>
                      <a:pt x="41882" y="1387512"/>
                      <a:pt x="37457" y="1388052"/>
                      <a:pt x="36904" y="1386432"/>
                    </a:cubicBezTo>
                    <a:cubicBezTo>
                      <a:pt x="35798" y="1382654"/>
                      <a:pt x="43541" y="1369701"/>
                      <a:pt x="43541" y="1365383"/>
                    </a:cubicBezTo>
                    <a:lnTo>
                      <a:pt x="41329" y="1363764"/>
                    </a:lnTo>
                    <a:cubicBezTo>
                      <a:pt x="38010" y="1367542"/>
                      <a:pt x="27501" y="1385893"/>
                      <a:pt x="25289" y="1386432"/>
                    </a:cubicBezTo>
                    <a:cubicBezTo>
                      <a:pt x="23630" y="1386432"/>
                      <a:pt x="19758" y="1385893"/>
                      <a:pt x="18652" y="1385353"/>
                    </a:cubicBezTo>
                    <a:cubicBezTo>
                      <a:pt x="12568" y="1382654"/>
                      <a:pt x="12568" y="1361605"/>
                      <a:pt x="14780" y="1356748"/>
                    </a:cubicBezTo>
                    <a:cubicBezTo>
                      <a:pt x="15333" y="1354589"/>
                      <a:pt x="18652" y="1351350"/>
                      <a:pt x="20311" y="1350271"/>
                    </a:cubicBezTo>
                    <a:lnTo>
                      <a:pt x="23077" y="1350271"/>
                    </a:lnTo>
                    <a:cubicBezTo>
                      <a:pt x="24183" y="1351890"/>
                      <a:pt x="25289" y="1355128"/>
                      <a:pt x="26395" y="1356208"/>
                    </a:cubicBezTo>
                    <a:cubicBezTo>
                      <a:pt x="29161" y="1357827"/>
                      <a:pt x="36351" y="1358907"/>
                      <a:pt x="38563" y="1356748"/>
                    </a:cubicBezTo>
                    <a:cubicBezTo>
                      <a:pt x="40223" y="1355128"/>
                      <a:pt x="45753" y="1345953"/>
                      <a:pt x="46860" y="1343794"/>
                    </a:cubicBezTo>
                    <a:cubicBezTo>
                      <a:pt x="49072" y="1337857"/>
                      <a:pt x="49072" y="1333000"/>
                      <a:pt x="47966" y="1327063"/>
                    </a:cubicBezTo>
                    <a:cubicBezTo>
                      <a:pt x="47966" y="1325983"/>
                      <a:pt x="47413" y="1324364"/>
                      <a:pt x="46860" y="1323825"/>
                    </a:cubicBezTo>
                    <a:cubicBezTo>
                      <a:pt x="40223" y="1317888"/>
                      <a:pt x="33585" y="1335159"/>
                      <a:pt x="21971" y="1337318"/>
                    </a:cubicBezTo>
                    <a:cubicBezTo>
                      <a:pt x="20311" y="1337857"/>
                      <a:pt x="16440" y="1337318"/>
                      <a:pt x="14780" y="1336778"/>
                    </a:cubicBezTo>
                    <a:cubicBezTo>
                      <a:pt x="13121" y="1336778"/>
                      <a:pt x="11462" y="1336238"/>
                      <a:pt x="10356" y="1335698"/>
                    </a:cubicBezTo>
                    <a:cubicBezTo>
                      <a:pt x="8143" y="1334079"/>
                      <a:pt x="8696" y="1330301"/>
                      <a:pt x="7590" y="1327603"/>
                    </a:cubicBezTo>
                    <a:cubicBezTo>
                      <a:pt x="5931" y="1324364"/>
                      <a:pt x="1506" y="1321126"/>
                      <a:pt x="400" y="1317348"/>
                    </a:cubicBezTo>
                    <a:lnTo>
                      <a:pt x="1506" y="1315729"/>
                    </a:lnTo>
                    <a:cubicBezTo>
                      <a:pt x="5931" y="1315729"/>
                      <a:pt x="4272" y="1316808"/>
                      <a:pt x="7037" y="1318427"/>
                    </a:cubicBezTo>
                    <a:cubicBezTo>
                      <a:pt x="9249" y="1319507"/>
                      <a:pt x="12015" y="1318967"/>
                      <a:pt x="14227" y="1320046"/>
                    </a:cubicBezTo>
                    <a:cubicBezTo>
                      <a:pt x="17546" y="1322205"/>
                      <a:pt x="16993" y="1326523"/>
                      <a:pt x="20864" y="1326523"/>
                    </a:cubicBezTo>
                    <a:cubicBezTo>
                      <a:pt x="25289" y="1323825"/>
                      <a:pt x="21417" y="1320586"/>
                      <a:pt x="19205" y="1317888"/>
                    </a:cubicBezTo>
                    <a:cubicBezTo>
                      <a:pt x="19205" y="1315729"/>
                      <a:pt x="20864" y="1313570"/>
                      <a:pt x="20864" y="1311411"/>
                    </a:cubicBezTo>
                    <a:cubicBezTo>
                      <a:pt x="19205" y="1310331"/>
                      <a:pt x="18099" y="1310871"/>
                      <a:pt x="16993" y="1310871"/>
                    </a:cubicBezTo>
                    <a:cubicBezTo>
                      <a:pt x="14227" y="1310331"/>
                      <a:pt x="8696" y="1308712"/>
                      <a:pt x="6484" y="1306553"/>
                    </a:cubicBezTo>
                    <a:cubicBezTo>
                      <a:pt x="5931" y="1304394"/>
                      <a:pt x="5378" y="1297918"/>
                      <a:pt x="5931" y="1296299"/>
                    </a:cubicBezTo>
                    <a:cubicBezTo>
                      <a:pt x="7037" y="1293060"/>
                      <a:pt x="16993" y="1290362"/>
                      <a:pt x="4272" y="1284964"/>
                    </a:cubicBezTo>
                    <a:cubicBezTo>
                      <a:pt x="5378" y="1282806"/>
                      <a:pt x="7037" y="1281726"/>
                      <a:pt x="8696" y="1281726"/>
                    </a:cubicBezTo>
                    <a:cubicBezTo>
                      <a:pt x="14780" y="1281726"/>
                      <a:pt x="28055" y="1290362"/>
                      <a:pt x="35245" y="1289822"/>
                    </a:cubicBezTo>
                    <a:cubicBezTo>
                      <a:pt x="38563" y="1289822"/>
                      <a:pt x="44647" y="1286044"/>
                      <a:pt x="48519" y="1284964"/>
                    </a:cubicBezTo>
                    <a:cubicBezTo>
                      <a:pt x="54603" y="1283345"/>
                      <a:pt x="62346" y="1282266"/>
                      <a:pt x="68983" y="1281726"/>
                    </a:cubicBezTo>
                    <a:cubicBezTo>
                      <a:pt x="73408" y="1281726"/>
                      <a:pt x="83364" y="1285504"/>
                      <a:pt x="86129" y="1283885"/>
                    </a:cubicBezTo>
                    <a:cubicBezTo>
                      <a:pt x="91660" y="1281726"/>
                      <a:pt x="96085" y="1276329"/>
                      <a:pt x="101616" y="1274710"/>
                    </a:cubicBezTo>
                    <a:cubicBezTo>
                      <a:pt x="103275" y="1274170"/>
                      <a:pt x="106594" y="1276329"/>
                      <a:pt x="107700" y="1276869"/>
                    </a:cubicBezTo>
                    <a:cubicBezTo>
                      <a:pt x="109359" y="1277948"/>
                      <a:pt x="113784" y="1281186"/>
                      <a:pt x="114890" y="1282806"/>
                    </a:cubicBezTo>
                    <a:cubicBezTo>
                      <a:pt x="117102" y="1286584"/>
                      <a:pt x="115996" y="1291441"/>
                      <a:pt x="117655" y="1295219"/>
                    </a:cubicBezTo>
                    <a:cubicBezTo>
                      <a:pt x="118209" y="1295759"/>
                      <a:pt x="119315" y="1296299"/>
                      <a:pt x="119868" y="1296838"/>
                    </a:cubicBezTo>
                    <a:cubicBezTo>
                      <a:pt x="123186" y="1300616"/>
                      <a:pt x="123739" y="1303315"/>
                      <a:pt x="129270" y="1304394"/>
                    </a:cubicBezTo>
                    <a:cubicBezTo>
                      <a:pt x="130377" y="1302775"/>
                      <a:pt x="130377" y="1300616"/>
                      <a:pt x="130377" y="1299537"/>
                    </a:cubicBezTo>
                    <a:cubicBezTo>
                      <a:pt x="129823" y="1298997"/>
                      <a:pt x="128717" y="1298458"/>
                      <a:pt x="128164" y="1297918"/>
                    </a:cubicBezTo>
                    <a:cubicBezTo>
                      <a:pt x="125952" y="1295219"/>
                      <a:pt x="122080" y="1286044"/>
                      <a:pt x="125952" y="1283885"/>
                    </a:cubicBezTo>
                    <a:cubicBezTo>
                      <a:pt x="127611" y="1283345"/>
                      <a:pt x="143098" y="1286044"/>
                      <a:pt x="148629" y="1273630"/>
                    </a:cubicBezTo>
                    <a:cubicBezTo>
                      <a:pt x="148629" y="1272551"/>
                      <a:pt x="149182" y="1271471"/>
                      <a:pt x="148629" y="1270392"/>
                    </a:cubicBezTo>
                    <a:cubicBezTo>
                      <a:pt x="144204" y="1268233"/>
                      <a:pt x="137567" y="1272011"/>
                      <a:pt x="132036" y="1272551"/>
                    </a:cubicBezTo>
                    <a:cubicBezTo>
                      <a:pt x="125952" y="1272551"/>
                      <a:pt x="125952" y="1268773"/>
                      <a:pt x="122633" y="1267693"/>
                    </a:cubicBezTo>
                    <a:cubicBezTo>
                      <a:pt x="118209" y="1266074"/>
                      <a:pt x="102169" y="1262296"/>
                      <a:pt x="97744" y="1262296"/>
                    </a:cubicBezTo>
                    <a:cubicBezTo>
                      <a:pt x="96085" y="1262296"/>
                      <a:pt x="91107" y="1264455"/>
                      <a:pt x="90001" y="1265534"/>
                    </a:cubicBezTo>
                    <a:cubicBezTo>
                      <a:pt x="88342" y="1267693"/>
                      <a:pt x="90001" y="1273630"/>
                      <a:pt x="85023" y="1273630"/>
                    </a:cubicBezTo>
                    <a:cubicBezTo>
                      <a:pt x="78386" y="1273091"/>
                      <a:pt x="71749" y="1269852"/>
                      <a:pt x="65112" y="1269312"/>
                    </a:cubicBezTo>
                    <a:cubicBezTo>
                      <a:pt x="63452" y="1269312"/>
                      <a:pt x="60687" y="1271471"/>
                      <a:pt x="59028" y="1272011"/>
                    </a:cubicBezTo>
                    <a:cubicBezTo>
                      <a:pt x="56262" y="1272551"/>
                      <a:pt x="52944" y="1272011"/>
                      <a:pt x="49625" y="1272551"/>
                    </a:cubicBezTo>
                    <a:cubicBezTo>
                      <a:pt x="39116" y="1275249"/>
                      <a:pt x="29161" y="1283345"/>
                      <a:pt x="18652" y="1275789"/>
                    </a:cubicBezTo>
                    <a:cubicBezTo>
                      <a:pt x="17546" y="1275249"/>
                      <a:pt x="16993" y="1272551"/>
                      <a:pt x="16440" y="1271471"/>
                    </a:cubicBezTo>
                    <a:cubicBezTo>
                      <a:pt x="14227" y="1268233"/>
                      <a:pt x="11462" y="1266074"/>
                      <a:pt x="9249" y="1262836"/>
                    </a:cubicBezTo>
                    <a:cubicBezTo>
                      <a:pt x="9249" y="1258518"/>
                      <a:pt x="12015" y="1256899"/>
                      <a:pt x="12015" y="1254740"/>
                    </a:cubicBezTo>
                    <a:cubicBezTo>
                      <a:pt x="12015" y="1253661"/>
                      <a:pt x="7037" y="1249882"/>
                      <a:pt x="8143" y="1245565"/>
                    </a:cubicBezTo>
                    <a:cubicBezTo>
                      <a:pt x="9802" y="1240167"/>
                      <a:pt x="22524" y="1243406"/>
                      <a:pt x="26395" y="1238548"/>
                    </a:cubicBezTo>
                    <a:cubicBezTo>
                      <a:pt x="26948" y="1238009"/>
                      <a:pt x="28055" y="1235850"/>
                      <a:pt x="27501" y="1235310"/>
                    </a:cubicBezTo>
                    <a:cubicBezTo>
                      <a:pt x="26395" y="1234230"/>
                      <a:pt x="19758" y="1233151"/>
                      <a:pt x="18099" y="1232072"/>
                    </a:cubicBezTo>
                    <a:cubicBezTo>
                      <a:pt x="18099" y="1228833"/>
                      <a:pt x="21971" y="1227754"/>
                      <a:pt x="21417" y="1224515"/>
                    </a:cubicBezTo>
                    <a:cubicBezTo>
                      <a:pt x="21417" y="1222896"/>
                      <a:pt x="19758" y="1218039"/>
                      <a:pt x="18652" y="1216959"/>
                    </a:cubicBezTo>
                    <a:cubicBezTo>
                      <a:pt x="15333" y="1214800"/>
                      <a:pt x="10909" y="1218039"/>
                      <a:pt x="7590" y="1213721"/>
                    </a:cubicBezTo>
                    <a:cubicBezTo>
                      <a:pt x="7037" y="1213181"/>
                      <a:pt x="6484" y="1209943"/>
                      <a:pt x="7037" y="1209403"/>
                    </a:cubicBezTo>
                    <a:cubicBezTo>
                      <a:pt x="8143" y="1208324"/>
                      <a:pt x="14780" y="1206165"/>
                      <a:pt x="16440" y="1204546"/>
                    </a:cubicBezTo>
                    <a:cubicBezTo>
                      <a:pt x="19205" y="1201307"/>
                      <a:pt x="19758" y="1193751"/>
                      <a:pt x="21971" y="1190513"/>
                    </a:cubicBezTo>
                    <a:cubicBezTo>
                      <a:pt x="23077" y="1188894"/>
                      <a:pt x="28608" y="1184576"/>
                      <a:pt x="30267" y="1184036"/>
                    </a:cubicBezTo>
                    <a:cubicBezTo>
                      <a:pt x="31926" y="1183496"/>
                      <a:pt x="34692" y="1184036"/>
                      <a:pt x="36351" y="1184036"/>
                    </a:cubicBezTo>
                    <a:cubicBezTo>
                      <a:pt x="47413" y="1186195"/>
                      <a:pt x="44647" y="1191592"/>
                      <a:pt x="49625" y="1193751"/>
                    </a:cubicBezTo>
                    <a:cubicBezTo>
                      <a:pt x="54050" y="1195910"/>
                      <a:pt x="68983" y="1196990"/>
                      <a:pt x="73408" y="1194831"/>
                    </a:cubicBezTo>
                    <a:lnTo>
                      <a:pt x="73961" y="1193211"/>
                    </a:lnTo>
                    <a:cubicBezTo>
                      <a:pt x="71196" y="1188894"/>
                      <a:pt x="65112" y="1189433"/>
                      <a:pt x="61240" y="1186195"/>
                    </a:cubicBezTo>
                    <a:cubicBezTo>
                      <a:pt x="58475" y="1184576"/>
                      <a:pt x="56262" y="1179718"/>
                      <a:pt x="54050" y="1178099"/>
                    </a:cubicBezTo>
                    <a:cubicBezTo>
                      <a:pt x="51837" y="1177020"/>
                      <a:pt x="44647" y="1175940"/>
                      <a:pt x="41882" y="1175940"/>
                    </a:cubicBezTo>
                    <a:cubicBezTo>
                      <a:pt x="36351" y="1175401"/>
                      <a:pt x="23077" y="1180798"/>
                      <a:pt x="20311" y="1178639"/>
                    </a:cubicBezTo>
                    <a:cubicBezTo>
                      <a:pt x="20311" y="1174321"/>
                      <a:pt x="25842" y="1170543"/>
                      <a:pt x="25289" y="1168384"/>
                    </a:cubicBezTo>
                    <a:cubicBezTo>
                      <a:pt x="24736" y="1166765"/>
                      <a:pt x="18652" y="1164066"/>
                      <a:pt x="17546" y="1162447"/>
                    </a:cubicBezTo>
                    <a:cubicBezTo>
                      <a:pt x="16440" y="1161368"/>
                      <a:pt x="17546" y="1158129"/>
                      <a:pt x="16993" y="1157050"/>
                    </a:cubicBezTo>
                    <a:cubicBezTo>
                      <a:pt x="16440" y="1155971"/>
                      <a:pt x="15887" y="1154891"/>
                      <a:pt x="16440" y="1153272"/>
                    </a:cubicBezTo>
                    <a:cubicBezTo>
                      <a:pt x="24183" y="1148414"/>
                      <a:pt x="29161" y="1166765"/>
                      <a:pt x="35245" y="1168384"/>
                    </a:cubicBezTo>
                    <a:cubicBezTo>
                      <a:pt x="47413" y="1162987"/>
                      <a:pt x="26948" y="1160288"/>
                      <a:pt x="33032" y="1152732"/>
                    </a:cubicBezTo>
                    <a:lnTo>
                      <a:pt x="34692" y="1152732"/>
                    </a:lnTo>
                    <a:cubicBezTo>
                      <a:pt x="35798" y="1153812"/>
                      <a:pt x="44647" y="1159749"/>
                      <a:pt x="46307" y="1160288"/>
                    </a:cubicBezTo>
                    <a:cubicBezTo>
                      <a:pt x="49625" y="1158129"/>
                      <a:pt x="47966" y="1154891"/>
                      <a:pt x="52944" y="1153272"/>
                    </a:cubicBezTo>
                    <a:cubicBezTo>
                      <a:pt x="60687" y="1151113"/>
                      <a:pt x="59581" y="1159209"/>
                      <a:pt x="66218" y="1162447"/>
                    </a:cubicBezTo>
                    <a:cubicBezTo>
                      <a:pt x="67877" y="1162987"/>
                      <a:pt x="72855" y="1164066"/>
                      <a:pt x="75067" y="1164066"/>
                    </a:cubicBezTo>
                    <a:lnTo>
                      <a:pt x="76174" y="1161368"/>
                    </a:lnTo>
                    <a:cubicBezTo>
                      <a:pt x="71749" y="1156510"/>
                      <a:pt x="65112" y="1153812"/>
                      <a:pt x="65112" y="1146795"/>
                    </a:cubicBezTo>
                    <a:cubicBezTo>
                      <a:pt x="65665" y="1140858"/>
                      <a:pt x="78386" y="1134382"/>
                      <a:pt x="82811" y="1136541"/>
                    </a:cubicBezTo>
                    <a:cubicBezTo>
                      <a:pt x="83917" y="1137080"/>
                      <a:pt x="85576" y="1139779"/>
                      <a:pt x="86129" y="1140858"/>
                    </a:cubicBezTo>
                    <a:cubicBezTo>
                      <a:pt x="86129" y="1144097"/>
                      <a:pt x="87788" y="1155971"/>
                      <a:pt x="92213" y="1155431"/>
                    </a:cubicBezTo>
                    <a:cubicBezTo>
                      <a:pt x="94426" y="1155431"/>
                      <a:pt x="95532" y="1150573"/>
                      <a:pt x="94979" y="1148954"/>
                    </a:cubicBezTo>
                    <a:cubicBezTo>
                      <a:pt x="94979" y="1147335"/>
                      <a:pt x="93319" y="1146256"/>
                      <a:pt x="92766" y="1144636"/>
                    </a:cubicBezTo>
                    <a:cubicBezTo>
                      <a:pt x="91107" y="1139779"/>
                      <a:pt x="90554" y="1135461"/>
                      <a:pt x="92766" y="1130604"/>
                    </a:cubicBezTo>
                    <a:cubicBezTo>
                      <a:pt x="93319" y="1129524"/>
                      <a:pt x="94426" y="1127905"/>
                      <a:pt x="95532" y="1127365"/>
                    </a:cubicBezTo>
                    <a:cubicBezTo>
                      <a:pt x="97191" y="1126826"/>
                      <a:pt x="105487" y="1124667"/>
                      <a:pt x="107147" y="1124667"/>
                    </a:cubicBezTo>
                    <a:cubicBezTo>
                      <a:pt x="113231" y="1124667"/>
                      <a:pt x="114337" y="1132223"/>
                      <a:pt x="120974" y="1132762"/>
                    </a:cubicBezTo>
                    <a:cubicBezTo>
                      <a:pt x="122080" y="1128984"/>
                      <a:pt x="119868" y="1124667"/>
                      <a:pt x="117102" y="1122508"/>
                    </a:cubicBezTo>
                    <a:cubicBezTo>
                      <a:pt x="115996" y="1121428"/>
                      <a:pt x="113784" y="1120889"/>
                      <a:pt x="112678" y="1119809"/>
                    </a:cubicBezTo>
                    <a:cubicBezTo>
                      <a:pt x="111018" y="1119269"/>
                      <a:pt x="109912" y="1118190"/>
                      <a:pt x="108806" y="1118190"/>
                    </a:cubicBezTo>
                    <a:cubicBezTo>
                      <a:pt x="101063" y="1115491"/>
                      <a:pt x="93872" y="1125206"/>
                      <a:pt x="86682" y="1121428"/>
                    </a:cubicBezTo>
                    <a:cubicBezTo>
                      <a:pt x="85576" y="1120889"/>
                      <a:pt x="84470" y="1119269"/>
                      <a:pt x="84470" y="1118730"/>
                    </a:cubicBezTo>
                    <a:cubicBezTo>
                      <a:pt x="84470" y="1117650"/>
                      <a:pt x="85576" y="1114952"/>
                      <a:pt x="85576" y="1113872"/>
                    </a:cubicBezTo>
                    <a:cubicBezTo>
                      <a:pt x="85023" y="1112253"/>
                      <a:pt x="82811" y="1109015"/>
                      <a:pt x="83364" y="1107395"/>
                    </a:cubicBezTo>
                    <a:cubicBezTo>
                      <a:pt x="83364" y="1106856"/>
                      <a:pt x="85576" y="1104697"/>
                      <a:pt x="86682" y="1104157"/>
                    </a:cubicBezTo>
                    <a:cubicBezTo>
                      <a:pt x="90554" y="1102538"/>
                      <a:pt x="96638" y="1105776"/>
                      <a:pt x="101063" y="1105237"/>
                    </a:cubicBezTo>
                    <a:cubicBezTo>
                      <a:pt x="109359" y="1104697"/>
                      <a:pt x="112678" y="1099839"/>
                      <a:pt x="122633" y="1101459"/>
                    </a:cubicBezTo>
                    <a:cubicBezTo>
                      <a:pt x="124293" y="1101998"/>
                      <a:pt x="131483" y="1103617"/>
                      <a:pt x="132589" y="1104157"/>
                    </a:cubicBezTo>
                    <a:cubicBezTo>
                      <a:pt x="133142" y="1105237"/>
                      <a:pt x="133142" y="1106316"/>
                      <a:pt x="134248" y="1106856"/>
                    </a:cubicBezTo>
                    <a:cubicBezTo>
                      <a:pt x="135354" y="1107395"/>
                      <a:pt x="139779" y="1107935"/>
                      <a:pt x="141438" y="1108475"/>
                    </a:cubicBezTo>
                    <a:cubicBezTo>
                      <a:pt x="144204" y="1109554"/>
                      <a:pt x="146969" y="1111713"/>
                      <a:pt x="149735" y="1112253"/>
                    </a:cubicBezTo>
                    <a:cubicBezTo>
                      <a:pt x="150841" y="1112793"/>
                      <a:pt x="152500" y="1112793"/>
                      <a:pt x="153053" y="1112253"/>
                    </a:cubicBezTo>
                    <a:cubicBezTo>
                      <a:pt x="155819" y="1108475"/>
                      <a:pt x="150288" y="1103617"/>
                      <a:pt x="150841" y="1100379"/>
                    </a:cubicBezTo>
                    <a:cubicBezTo>
                      <a:pt x="155266" y="1096601"/>
                      <a:pt x="171305" y="1092283"/>
                      <a:pt x="172412" y="1088505"/>
                    </a:cubicBezTo>
                    <a:cubicBezTo>
                      <a:pt x="165774" y="1080949"/>
                      <a:pt x="151394" y="1097680"/>
                      <a:pt x="145310" y="1090664"/>
                    </a:cubicBezTo>
                    <a:lnTo>
                      <a:pt x="145863" y="1089045"/>
                    </a:lnTo>
                    <a:cubicBezTo>
                      <a:pt x="149182" y="1086346"/>
                      <a:pt x="151947" y="1086886"/>
                      <a:pt x="154160" y="1083108"/>
                    </a:cubicBezTo>
                    <a:lnTo>
                      <a:pt x="152500" y="1082028"/>
                    </a:lnTo>
                    <a:cubicBezTo>
                      <a:pt x="150841" y="1082568"/>
                      <a:pt x="149182" y="1082028"/>
                      <a:pt x="146969" y="1082568"/>
                    </a:cubicBezTo>
                    <a:cubicBezTo>
                      <a:pt x="146416" y="1082568"/>
                      <a:pt x="141991" y="1085267"/>
                      <a:pt x="140332" y="1085807"/>
                    </a:cubicBezTo>
                    <a:cubicBezTo>
                      <a:pt x="137014" y="1086886"/>
                      <a:pt x="125399" y="1089045"/>
                      <a:pt x="122080" y="1086886"/>
                    </a:cubicBezTo>
                    <a:cubicBezTo>
                      <a:pt x="122633" y="1083648"/>
                      <a:pt x="127058" y="1077171"/>
                      <a:pt x="125952" y="1074472"/>
                    </a:cubicBezTo>
                    <a:cubicBezTo>
                      <a:pt x="125399" y="1072313"/>
                      <a:pt x="122080" y="1071234"/>
                      <a:pt x="120974" y="1069615"/>
                    </a:cubicBezTo>
                    <a:lnTo>
                      <a:pt x="120974" y="1067456"/>
                    </a:lnTo>
                    <a:cubicBezTo>
                      <a:pt x="122080" y="1066377"/>
                      <a:pt x="122633" y="1065297"/>
                      <a:pt x="123739" y="1064218"/>
                    </a:cubicBezTo>
                    <a:cubicBezTo>
                      <a:pt x="124293" y="1063678"/>
                      <a:pt x="130377" y="1062598"/>
                      <a:pt x="130930" y="1062598"/>
                    </a:cubicBezTo>
                    <a:cubicBezTo>
                      <a:pt x="137014" y="1063138"/>
                      <a:pt x="142545" y="1066916"/>
                      <a:pt x="148076" y="1067456"/>
                    </a:cubicBezTo>
                    <a:cubicBezTo>
                      <a:pt x="150288" y="1067456"/>
                      <a:pt x="154160" y="1064757"/>
                      <a:pt x="156372" y="1064757"/>
                    </a:cubicBezTo>
                    <a:cubicBezTo>
                      <a:pt x="158584" y="1064218"/>
                      <a:pt x="161350" y="1065297"/>
                      <a:pt x="163562" y="1065297"/>
                    </a:cubicBezTo>
                    <a:cubicBezTo>
                      <a:pt x="167434" y="1064757"/>
                      <a:pt x="171858" y="1063138"/>
                      <a:pt x="175730" y="1063138"/>
                    </a:cubicBezTo>
                    <a:cubicBezTo>
                      <a:pt x="176836" y="1062598"/>
                      <a:pt x="179602" y="1063138"/>
                      <a:pt x="180155" y="1063678"/>
                    </a:cubicBezTo>
                    <a:cubicBezTo>
                      <a:pt x="182367" y="1066377"/>
                      <a:pt x="182920" y="1076631"/>
                      <a:pt x="187345" y="1080409"/>
                    </a:cubicBezTo>
                    <a:cubicBezTo>
                      <a:pt x="191217" y="1083648"/>
                      <a:pt x="196195" y="1084727"/>
                      <a:pt x="200066" y="1087965"/>
                    </a:cubicBezTo>
                    <a:cubicBezTo>
                      <a:pt x="202279" y="1089585"/>
                      <a:pt x="203938" y="1092283"/>
                      <a:pt x="206150" y="1093902"/>
                    </a:cubicBezTo>
                    <a:cubicBezTo>
                      <a:pt x="206703" y="1094442"/>
                      <a:pt x="208363" y="1095522"/>
                      <a:pt x="208916" y="1094982"/>
                    </a:cubicBezTo>
                    <a:cubicBezTo>
                      <a:pt x="212787" y="1093363"/>
                      <a:pt x="206150" y="1086346"/>
                      <a:pt x="205044" y="1085267"/>
                    </a:cubicBezTo>
                    <a:cubicBezTo>
                      <a:pt x="201172" y="1082028"/>
                      <a:pt x="195088" y="1076631"/>
                      <a:pt x="192876" y="1072313"/>
                    </a:cubicBezTo>
                    <a:cubicBezTo>
                      <a:pt x="190664" y="1068535"/>
                      <a:pt x="190111" y="1064757"/>
                      <a:pt x="187345" y="1060979"/>
                    </a:cubicBezTo>
                    <a:cubicBezTo>
                      <a:pt x="186792" y="1059360"/>
                      <a:pt x="185133" y="1057741"/>
                      <a:pt x="184026" y="1056661"/>
                    </a:cubicBezTo>
                    <a:cubicBezTo>
                      <a:pt x="183473" y="1055582"/>
                      <a:pt x="180155" y="1054503"/>
                      <a:pt x="179602" y="1053423"/>
                    </a:cubicBezTo>
                    <a:cubicBezTo>
                      <a:pt x="179602" y="1052344"/>
                      <a:pt x="180155" y="1049645"/>
                      <a:pt x="180708" y="1049105"/>
                    </a:cubicBezTo>
                    <a:cubicBezTo>
                      <a:pt x="186792" y="1042629"/>
                      <a:pt x="200066" y="1068535"/>
                      <a:pt x="201725" y="1071234"/>
                    </a:cubicBezTo>
                    <a:cubicBezTo>
                      <a:pt x="202832" y="1071774"/>
                      <a:pt x="206150" y="1072313"/>
                      <a:pt x="207256" y="1071774"/>
                    </a:cubicBezTo>
                    <a:cubicBezTo>
                      <a:pt x="208916" y="1070155"/>
                      <a:pt x="208916" y="1064218"/>
                      <a:pt x="210022" y="1062059"/>
                    </a:cubicBezTo>
                    <a:cubicBezTo>
                      <a:pt x="211128" y="1060979"/>
                      <a:pt x="212787" y="1059900"/>
                      <a:pt x="213340" y="1058820"/>
                    </a:cubicBezTo>
                    <a:cubicBezTo>
                      <a:pt x="213893" y="1058281"/>
                      <a:pt x="214447" y="1057201"/>
                      <a:pt x="214447" y="1056122"/>
                    </a:cubicBezTo>
                    <a:cubicBezTo>
                      <a:pt x="214447" y="1055582"/>
                      <a:pt x="213340" y="1054503"/>
                      <a:pt x="212787" y="1053963"/>
                    </a:cubicBezTo>
                    <a:cubicBezTo>
                      <a:pt x="210022" y="1053423"/>
                      <a:pt x="206703" y="1055042"/>
                      <a:pt x="204491" y="1054503"/>
                    </a:cubicBezTo>
                    <a:cubicBezTo>
                      <a:pt x="202279" y="1053963"/>
                      <a:pt x="192323" y="1049105"/>
                      <a:pt x="192323" y="1046407"/>
                    </a:cubicBezTo>
                    <a:lnTo>
                      <a:pt x="192323" y="1043708"/>
                    </a:lnTo>
                    <a:cubicBezTo>
                      <a:pt x="197854" y="1041009"/>
                      <a:pt x="210022" y="1046407"/>
                      <a:pt x="213340" y="1042629"/>
                    </a:cubicBezTo>
                    <a:cubicBezTo>
                      <a:pt x="221084" y="1032914"/>
                      <a:pt x="210575" y="1033993"/>
                      <a:pt x="209469" y="1028056"/>
                    </a:cubicBezTo>
                    <a:cubicBezTo>
                      <a:pt x="208363" y="1022659"/>
                      <a:pt x="216659" y="1019421"/>
                      <a:pt x="219977" y="1015642"/>
                    </a:cubicBezTo>
                    <a:cubicBezTo>
                      <a:pt x="221084" y="1014563"/>
                      <a:pt x="222190" y="1011325"/>
                      <a:pt x="223296" y="1010245"/>
                    </a:cubicBezTo>
                    <a:cubicBezTo>
                      <a:pt x="224955" y="1009166"/>
                      <a:pt x="234358" y="1006467"/>
                      <a:pt x="236017" y="1006467"/>
                    </a:cubicBezTo>
                    <a:cubicBezTo>
                      <a:pt x="239336" y="1007007"/>
                      <a:pt x="236570" y="1019960"/>
                      <a:pt x="237676" y="1022119"/>
                    </a:cubicBezTo>
                    <a:cubicBezTo>
                      <a:pt x="238230" y="1022659"/>
                      <a:pt x="241548" y="1023199"/>
                      <a:pt x="242101" y="1023199"/>
                    </a:cubicBezTo>
                    <a:cubicBezTo>
                      <a:pt x="244867" y="1022659"/>
                      <a:pt x="257588" y="1014023"/>
                      <a:pt x="255928" y="1011325"/>
                    </a:cubicBezTo>
                    <a:cubicBezTo>
                      <a:pt x="255375" y="1010785"/>
                      <a:pt x="249291" y="1010785"/>
                      <a:pt x="247079" y="1008626"/>
                    </a:cubicBezTo>
                    <a:cubicBezTo>
                      <a:pt x="247632" y="1005388"/>
                      <a:pt x="250951" y="1002689"/>
                      <a:pt x="250951" y="999991"/>
                    </a:cubicBezTo>
                    <a:cubicBezTo>
                      <a:pt x="250951" y="998371"/>
                      <a:pt x="248185" y="998371"/>
                      <a:pt x="248738" y="994593"/>
                    </a:cubicBezTo>
                    <a:cubicBezTo>
                      <a:pt x="249844" y="993514"/>
                      <a:pt x="251504" y="993514"/>
                      <a:pt x="253163" y="993514"/>
                    </a:cubicBezTo>
                    <a:cubicBezTo>
                      <a:pt x="258141" y="992434"/>
                      <a:pt x="265331" y="980021"/>
                      <a:pt x="272521" y="984878"/>
                    </a:cubicBezTo>
                    <a:lnTo>
                      <a:pt x="272521" y="987577"/>
                    </a:lnTo>
                    <a:lnTo>
                      <a:pt x="274180" y="989196"/>
                    </a:lnTo>
                    <a:cubicBezTo>
                      <a:pt x="275287" y="989736"/>
                      <a:pt x="279158" y="999451"/>
                      <a:pt x="279711" y="1000530"/>
                    </a:cubicBezTo>
                    <a:cubicBezTo>
                      <a:pt x="279711" y="1003229"/>
                      <a:pt x="277499" y="1008626"/>
                      <a:pt x="278605" y="1010785"/>
                    </a:cubicBezTo>
                    <a:cubicBezTo>
                      <a:pt x="280265" y="1015103"/>
                      <a:pt x="290220" y="1011325"/>
                      <a:pt x="292986" y="1009166"/>
                    </a:cubicBezTo>
                    <a:cubicBezTo>
                      <a:pt x="293539" y="1008626"/>
                      <a:pt x="294645" y="1003769"/>
                      <a:pt x="296304" y="1002149"/>
                    </a:cubicBezTo>
                    <a:cubicBezTo>
                      <a:pt x="304047" y="996212"/>
                      <a:pt x="321193" y="999991"/>
                      <a:pt x="330043" y="999991"/>
                    </a:cubicBezTo>
                    <a:lnTo>
                      <a:pt x="332255" y="998911"/>
                    </a:lnTo>
                    <a:cubicBezTo>
                      <a:pt x="333914" y="995133"/>
                      <a:pt x="333361" y="991355"/>
                      <a:pt x="328937" y="989736"/>
                    </a:cubicBezTo>
                    <a:cubicBezTo>
                      <a:pt x="327830" y="988117"/>
                      <a:pt x="328384" y="985958"/>
                      <a:pt x="329490" y="984339"/>
                    </a:cubicBezTo>
                    <a:cubicBezTo>
                      <a:pt x="336680" y="977322"/>
                      <a:pt x="363781" y="964369"/>
                      <a:pt x="363228" y="953035"/>
                    </a:cubicBezTo>
                    <a:cubicBezTo>
                      <a:pt x="360463" y="951415"/>
                      <a:pt x="353826" y="953035"/>
                      <a:pt x="351060" y="952495"/>
                    </a:cubicBezTo>
                    <a:lnTo>
                      <a:pt x="349401" y="950336"/>
                    </a:lnTo>
                    <a:cubicBezTo>
                      <a:pt x="352166" y="946018"/>
                      <a:pt x="357144" y="943320"/>
                      <a:pt x="359910" y="939002"/>
                    </a:cubicBezTo>
                    <a:cubicBezTo>
                      <a:pt x="368206" y="927128"/>
                      <a:pt x="354932" y="916333"/>
                      <a:pt x="347189" y="923890"/>
                    </a:cubicBezTo>
                    <a:cubicBezTo>
                      <a:pt x="342764" y="927668"/>
                      <a:pt x="341105" y="934144"/>
                      <a:pt x="337233" y="938462"/>
                    </a:cubicBezTo>
                    <a:cubicBezTo>
                      <a:pt x="333361" y="942780"/>
                      <a:pt x="326724" y="946018"/>
                      <a:pt x="321746" y="949257"/>
                    </a:cubicBezTo>
                    <a:cubicBezTo>
                      <a:pt x="319534" y="950876"/>
                      <a:pt x="315662" y="953035"/>
                      <a:pt x="315662" y="955733"/>
                    </a:cubicBezTo>
                    <a:cubicBezTo>
                      <a:pt x="321193" y="960051"/>
                      <a:pt x="328937" y="953574"/>
                      <a:pt x="333914" y="951415"/>
                    </a:cubicBezTo>
                    <a:lnTo>
                      <a:pt x="335021" y="951955"/>
                    </a:lnTo>
                    <a:cubicBezTo>
                      <a:pt x="337233" y="958432"/>
                      <a:pt x="333361" y="963829"/>
                      <a:pt x="328384" y="967607"/>
                    </a:cubicBezTo>
                    <a:cubicBezTo>
                      <a:pt x="326724" y="968687"/>
                      <a:pt x="324512" y="969226"/>
                      <a:pt x="322853" y="969766"/>
                    </a:cubicBezTo>
                    <a:cubicBezTo>
                      <a:pt x="311791" y="976243"/>
                      <a:pt x="301282" y="985418"/>
                      <a:pt x="289667" y="990815"/>
                    </a:cubicBezTo>
                    <a:cubicBezTo>
                      <a:pt x="288561" y="991355"/>
                      <a:pt x="285242" y="990815"/>
                      <a:pt x="284136" y="990276"/>
                    </a:cubicBezTo>
                    <a:cubicBezTo>
                      <a:pt x="280818" y="987577"/>
                      <a:pt x="279711" y="979481"/>
                      <a:pt x="280818" y="976243"/>
                    </a:cubicBezTo>
                    <a:cubicBezTo>
                      <a:pt x="281924" y="974624"/>
                      <a:pt x="285242" y="973004"/>
                      <a:pt x="285795" y="971385"/>
                    </a:cubicBezTo>
                    <a:cubicBezTo>
                      <a:pt x="286349" y="969766"/>
                      <a:pt x="285795" y="964369"/>
                      <a:pt x="283583" y="963829"/>
                    </a:cubicBezTo>
                    <a:cubicBezTo>
                      <a:pt x="282477" y="963289"/>
                      <a:pt x="278605" y="963289"/>
                      <a:pt x="278052" y="963289"/>
                    </a:cubicBezTo>
                    <a:cubicBezTo>
                      <a:pt x="272521" y="964369"/>
                      <a:pt x="272521" y="972465"/>
                      <a:pt x="266437" y="973004"/>
                    </a:cubicBezTo>
                    <a:cubicBezTo>
                      <a:pt x="258141" y="973544"/>
                      <a:pt x="268650" y="957352"/>
                      <a:pt x="272521" y="954654"/>
                    </a:cubicBezTo>
                    <a:cubicBezTo>
                      <a:pt x="277499" y="951415"/>
                      <a:pt x="285242" y="950876"/>
                      <a:pt x="289667" y="947098"/>
                    </a:cubicBezTo>
                    <a:cubicBezTo>
                      <a:pt x="290220" y="943320"/>
                      <a:pt x="284689" y="942780"/>
                      <a:pt x="284136" y="941161"/>
                    </a:cubicBezTo>
                    <a:cubicBezTo>
                      <a:pt x="284136" y="939002"/>
                      <a:pt x="286902" y="928747"/>
                      <a:pt x="288561" y="926588"/>
                    </a:cubicBezTo>
                    <a:cubicBezTo>
                      <a:pt x="289667" y="924429"/>
                      <a:pt x="296304" y="921731"/>
                      <a:pt x="297410" y="919032"/>
                    </a:cubicBezTo>
                    <a:cubicBezTo>
                      <a:pt x="299623" y="915254"/>
                      <a:pt x="298517" y="906079"/>
                      <a:pt x="300729" y="901761"/>
                    </a:cubicBezTo>
                    <a:cubicBezTo>
                      <a:pt x="302388" y="899062"/>
                      <a:pt x="309578" y="895824"/>
                      <a:pt x="312344" y="893665"/>
                    </a:cubicBezTo>
                    <a:cubicBezTo>
                      <a:pt x="314556" y="890966"/>
                      <a:pt x="315109" y="887188"/>
                      <a:pt x="317875" y="885029"/>
                    </a:cubicBezTo>
                    <a:cubicBezTo>
                      <a:pt x="321193" y="881791"/>
                      <a:pt x="326724" y="880172"/>
                      <a:pt x="330043" y="876394"/>
                    </a:cubicBezTo>
                    <a:cubicBezTo>
                      <a:pt x="331702" y="874775"/>
                      <a:pt x="331149" y="870997"/>
                      <a:pt x="332255" y="868838"/>
                    </a:cubicBezTo>
                    <a:cubicBezTo>
                      <a:pt x="332808" y="868298"/>
                      <a:pt x="333914" y="867758"/>
                      <a:pt x="335021" y="867219"/>
                    </a:cubicBezTo>
                    <a:cubicBezTo>
                      <a:pt x="338339" y="872076"/>
                      <a:pt x="339998" y="879093"/>
                      <a:pt x="343317" y="882331"/>
                    </a:cubicBezTo>
                    <a:cubicBezTo>
                      <a:pt x="344423" y="883950"/>
                      <a:pt x="348848" y="883950"/>
                      <a:pt x="348848" y="885569"/>
                    </a:cubicBezTo>
                    <a:cubicBezTo>
                      <a:pt x="349401" y="886649"/>
                      <a:pt x="346082" y="889887"/>
                      <a:pt x="346636" y="890966"/>
                    </a:cubicBezTo>
                    <a:cubicBezTo>
                      <a:pt x="347189" y="892046"/>
                      <a:pt x="350507" y="890427"/>
                      <a:pt x="351613" y="889887"/>
                    </a:cubicBezTo>
                    <a:cubicBezTo>
                      <a:pt x="356591" y="886649"/>
                      <a:pt x="362122" y="881251"/>
                      <a:pt x="362675" y="874775"/>
                    </a:cubicBezTo>
                    <a:cubicBezTo>
                      <a:pt x="363228" y="869917"/>
                      <a:pt x="354932" y="858583"/>
                      <a:pt x="358250" y="854805"/>
                    </a:cubicBezTo>
                    <a:cubicBezTo>
                      <a:pt x="358804" y="853726"/>
                      <a:pt x="361569" y="854805"/>
                      <a:pt x="362675" y="854265"/>
                    </a:cubicBezTo>
                    <a:cubicBezTo>
                      <a:pt x="365441" y="851567"/>
                      <a:pt x="365441" y="846169"/>
                      <a:pt x="367100" y="842391"/>
                    </a:cubicBezTo>
                    <a:cubicBezTo>
                      <a:pt x="368206" y="839153"/>
                      <a:pt x="374843" y="829978"/>
                      <a:pt x="365994" y="831597"/>
                    </a:cubicBezTo>
                    <a:cubicBezTo>
                      <a:pt x="364334" y="832137"/>
                      <a:pt x="360463" y="833216"/>
                      <a:pt x="358804" y="834295"/>
                    </a:cubicBezTo>
                    <a:cubicBezTo>
                      <a:pt x="356591" y="835375"/>
                      <a:pt x="354932" y="838613"/>
                      <a:pt x="352720" y="839693"/>
                    </a:cubicBezTo>
                    <a:lnTo>
                      <a:pt x="350507" y="838613"/>
                    </a:lnTo>
                    <a:cubicBezTo>
                      <a:pt x="349954" y="837534"/>
                      <a:pt x="349954" y="832676"/>
                      <a:pt x="351060" y="831597"/>
                    </a:cubicBezTo>
                    <a:cubicBezTo>
                      <a:pt x="351613" y="830517"/>
                      <a:pt x="354932" y="830517"/>
                      <a:pt x="356038" y="829438"/>
                    </a:cubicBezTo>
                    <a:cubicBezTo>
                      <a:pt x="359357" y="826739"/>
                      <a:pt x="360463" y="821882"/>
                      <a:pt x="363781" y="819183"/>
                    </a:cubicBezTo>
                    <a:cubicBezTo>
                      <a:pt x="365994" y="817564"/>
                      <a:pt x="369865" y="817024"/>
                      <a:pt x="372078" y="814865"/>
                    </a:cubicBezTo>
                    <a:cubicBezTo>
                      <a:pt x="373737" y="813786"/>
                      <a:pt x="375396" y="810548"/>
                      <a:pt x="377056" y="810008"/>
                    </a:cubicBezTo>
                    <a:cubicBezTo>
                      <a:pt x="379821" y="809468"/>
                      <a:pt x="387011" y="811627"/>
                      <a:pt x="389777" y="811087"/>
                    </a:cubicBezTo>
                    <a:cubicBezTo>
                      <a:pt x="397520" y="809468"/>
                      <a:pt x="405816" y="804611"/>
                      <a:pt x="412454" y="800833"/>
                    </a:cubicBezTo>
                    <a:cubicBezTo>
                      <a:pt x="418538" y="797594"/>
                      <a:pt x="426281" y="788959"/>
                      <a:pt x="428493" y="782482"/>
                    </a:cubicBezTo>
                    <a:cubicBezTo>
                      <a:pt x="429046" y="780323"/>
                      <a:pt x="429046" y="777625"/>
                      <a:pt x="425728" y="778164"/>
                    </a:cubicBezTo>
                    <a:cubicBezTo>
                      <a:pt x="421303" y="778704"/>
                      <a:pt x="420197" y="785720"/>
                      <a:pt x="417431" y="788419"/>
                    </a:cubicBezTo>
                    <a:cubicBezTo>
                      <a:pt x="416325" y="788959"/>
                      <a:pt x="415219" y="788959"/>
                      <a:pt x="414666" y="790038"/>
                    </a:cubicBezTo>
                    <a:cubicBezTo>
                      <a:pt x="413560" y="790578"/>
                      <a:pt x="410794" y="795435"/>
                      <a:pt x="409135" y="797594"/>
                    </a:cubicBezTo>
                    <a:cubicBezTo>
                      <a:pt x="408582" y="797594"/>
                      <a:pt x="405816" y="797594"/>
                      <a:pt x="405816" y="797055"/>
                    </a:cubicBezTo>
                    <a:cubicBezTo>
                      <a:pt x="401945" y="792737"/>
                      <a:pt x="407476" y="791118"/>
                      <a:pt x="409688" y="788419"/>
                    </a:cubicBezTo>
                    <a:cubicBezTo>
                      <a:pt x="411347" y="780323"/>
                      <a:pt x="404710" y="778704"/>
                      <a:pt x="404157" y="772227"/>
                    </a:cubicBezTo>
                    <a:cubicBezTo>
                      <a:pt x="404157" y="766290"/>
                      <a:pt x="414113" y="767910"/>
                      <a:pt x="413560" y="760893"/>
                    </a:cubicBezTo>
                    <a:cubicBezTo>
                      <a:pt x="413560" y="759814"/>
                      <a:pt x="412454" y="756575"/>
                      <a:pt x="411900" y="755496"/>
                    </a:cubicBezTo>
                    <a:cubicBezTo>
                      <a:pt x="405263" y="739844"/>
                      <a:pt x="401392" y="751718"/>
                      <a:pt x="398626" y="742543"/>
                    </a:cubicBezTo>
                    <a:cubicBezTo>
                      <a:pt x="398073" y="740923"/>
                      <a:pt x="398626" y="737145"/>
                      <a:pt x="399732" y="735526"/>
                    </a:cubicBezTo>
                    <a:cubicBezTo>
                      <a:pt x="401945" y="732288"/>
                      <a:pt x="405263" y="730129"/>
                      <a:pt x="407476" y="726891"/>
                    </a:cubicBezTo>
                    <a:cubicBezTo>
                      <a:pt x="410794" y="720414"/>
                      <a:pt x="412454" y="712858"/>
                      <a:pt x="416325" y="706921"/>
                    </a:cubicBezTo>
                    <a:cubicBezTo>
                      <a:pt x="418538" y="703143"/>
                      <a:pt x="422962" y="706381"/>
                      <a:pt x="425175" y="704222"/>
                    </a:cubicBezTo>
                    <a:cubicBezTo>
                      <a:pt x="425175" y="700984"/>
                      <a:pt x="421856" y="698825"/>
                      <a:pt x="421856" y="696126"/>
                    </a:cubicBezTo>
                    <a:cubicBezTo>
                      <a:pt x="421856" y="692888"/>
                      <a:pt x="428493" y="690189"/>
                      <a:pt x="423515" y="686951"/>
                    </a:cubicBezTo>
                    <a:cubicBezTo>
                      <a:pt x="418538" y="683713"/>
                      <a:pt x="417984" y="688030"/>
                      <a:pt x="414666" y="688570"/>
                    </a:cubicBezTo>
                    <a:cubicBezTo>
                      <a:pt x="413007" y="688570"/>
                      <a:pt x="408582" y="685872"/>
                      <a:pt x="409135" y="683713"/>
                    </a:cubicBezTo>
                    <a:cubicBezTo>
                      <a:pt x="409135" y="682633"/>
                      <a:pt x="411347" y="679395"/>
                      <a:pt x="411900" y="678855"/>
                    </a:cubicBezTo>
                    <a:cubicBezTo>
                      <a:pt x="415772" y="676696"/>
                      <a:pt x="425175" y="679935"/>
                      <a:pt x="427940" y="678855"/>
                    </a:cubicBezTo>
                    <a:cubicBezTo>
                      <a:pt x="431812" y="677776"/>
                      <a:pt x="437896" y="669680"/>
                      <a:pt x="438449" y="669680"/>
                    </a:cubicBezTo>
                    <a:cubicBezTo>
                      <a:pt x="440661" y="668061"/>
                      <a:pt x="445639" y="665902"/>
                      <a:pt x="446745" y="662663"/>
                    </a:cubicBezTo>
                    <a:lnTo>
                      <a:pt x="445639" y="660505"/>
                    </a:lnTo>
                    <a:cubicBezTo>
                      <a:pt x="441214" y="658885"/>
                      <a:pt x="440661" y="662663"/>
                      <a:pt x="438449" y="663203"/>
                    </a:cubicBezTo>
                    <a:lnTo>
                      <a:pt x="437343" y="661584"/>
                    </a:lnTo>
                    <a:cubicBezTo>
                      <a:pt x="438449" y="656187"/>
                      <a:pt x="440661" y="658885"/>
                      <a:pt x="443427" y="656727"/>
                    </a:cubicBezTo>
                    <a:cubicBezTo>
                      <a:pt x="442874" y="655107"/>
                      <a:pt x="441767" y="653488"/>
                      <a:pt x="440661" y="652409"/>
                    </a:cubicBezTo>
                    <a:cubicBezTo>
                      <a:pt x="435683" y="650790"/>
                      <a:pt x="429046" y="659425"/>
                      <a:pt x="425728" y="651869"/>
                    </a:cubicBezTo>
                    <a:cubicBezTo>
                      <a:pt x="426281" y="648091"/>
                      <a:pt x="428493" y="644853"/>
                      <a:pt x="429599" y="641614"/>
                    </a:cubicBezTo>
                    <a:lnTo>
                      <a:pt x="429046" y="637836"/>
                    </a:lnTo>
                    <a:cubicBezTo>
                      <a:pt x="430152" y="637836"/>
                      <a:pt x="431259" y="638376"/>
                      <a:pt x="432365" y="638376"/>
                    </a:cubicBezTo>
                    <a:cubicBezTo>
                      <a:pt x="436790" y="637296"/>
                      <a:pt x="439555" y="633518"/>
                      <a:pt x="440661" y="629740"/>
                    </a:cubicBezTo>
                    <a:cubicBezTo>
                      <a:pt x="439555" y="627581"/>
                      <a:pt x="436790" y="627581"/>
                      <a:pt x="435130" y="627042"/>
                    </a:cubicBezTo>
                    <a:cubicBezTo>
                      <a:pt x="435683" y="620565"/>
                      <a:pt x="436790" y="615708"/>
                      <a:pt x="438449" y="611390"/>
                    </a:cubicBezTo>
                    <a:cubicBezTo>
                      <a:pt x="440108" y="609771"/>
                      <a:pt x="447298" y="611929"/>
                      <a:pt x="448958" y="609231"/>
                    </a:cubicBezTo>
                    <a:cubicBezTo>
                      <a:pt x="449511" y="608151"/>
                      <a:pt x="447298" y="604373"/>
                      <a:pt x="447851" y="602754"/>
                    </a:cubicBezTo>
                    <a:cubicBezTo>
                      <a:pt x="449511" y="600595"/>
                      <a:pt x="454488" y="603294"/>
                      <a:pt x="456148" y="597357"/>
                    </a:cubicBezTo>
                    <a:cubicBezTo>
                      <a:pt x="455042" y="594658"/>
                      <a:pt x="450617" y="594658"/>
                      <a:pt x="448958" y="592499"/>
                    </a:cubicBezTo>
                    <a:cubicBezTo>
                      <a:pt x="448404" y="591960"/>
                      <a:pt x="448404" y="588182"/>
                      <a:pt x="448958" y="587642"/>
                    </a:cubicBezTo>
                    <a:cubicBezTo>
                      <a:pt x="455595" y="581705"/>
                      <a:pt x="465550" y="579006"/>
                      <a:pt x="472741" y="574149"/>
                    </a:cubicBezTo>
                    <a:cubicBezTo>
                      <a:pt x="481590" y="568212"/>
                      <a:pt x="477718" y="562815"/>
                      <a:pt x="480484" y="558497"/>
                    </a:cubicBezTo>
                    <a:cubicBezTo>
                      <a:pt x="482143" y="555259"/>
                      <a:pt x="495417" y="548242"/>
                      <a:pt x="499289" y="548242"/>
                    </a:cubicBezTo>
                    <a:cubicBezTo>
                      <a:pt x="502608" y="548242"/>
                      <a:pt x="515882" y="549322"/>
                      <a:pt x="519200" y="550401"/>
                    </a:cubicBezTo>
                    <a:cubicBezTo>
                      <a:pt x="522519" y="551480"/>
                      <a:pt x="521966" y="555798"/>
                      <a:pt x="528050" y="556338"/>
                    </a:cubicBezTo>
                    <a:cubicBezTo>
                      <a:pt x="530262" y="552020"/>
                      <a:pt x="528050" y="546623"/>
                      <a:pt x="526390" y="543385"/>
                    </a:cubicBezTo>
                    <a:cubicBezTo>
                      <a:pt x="525837" y="542305"/>
                      <a:pt x="524731" y="541226"/>
                      <a:pt x="523625" y="540686"/>
                    </a:cubicBezTo>
                    <a:cubicBezTo>
                      <a:pt x="503714" y="525574"/>
                      <a:pt x="490993" y="550401"/>
                      <a:pt x="482143" y="540146"/>
                    </a:cubicBezTo>
                    <a:cubicBezTo>
                      <a:pt x="482143" y="535828"/>
                      <a:pt x="484355" y="529352"/>
                      <a:pt x="486015" y="525034"/>
                    </a:cubicBezTo>
                    <a:cubicBezTo>
                      <a:pt x="489333" y="523415"/>
                      <a:pt x="492652" y="525574"/>
                      <a:pt x="495970" y="524494"/>
                    </a:cubicBezTo>
                    <a:cubicBezTo>
                      <a:pt x="500395" y="522875"/>
                      <a:pt x="503714" y="518557"/>
                      <a:pt x="508138" y="517478"/>
                    </a:cubicBezTo>
                    <a:cubicBezTo>
                      <a:pt x="510351" y="516398"/>
                      <a:pt x="517541" y="516938"/>
                      <a:pt x="519753" y="518018"/>
                    </a:cubicBezTo>
                    <a:cubicBezTo>
                      <a:pt x="521413" y="518557"/>
                      <a:pt x="525837" y="528812"/>
                      <a:pt x="526944" y="530431"/>
                    </a:cubicBezTo>
                    <a:cubicBezTo>
                      <a:pt x="527497" y="531511"/>
                      <a:pt x="527497" y="533130"/>
                      <a:pt x="528603" y="533670"/>
                    </a:cubicBezTo>
                    <a:lnTo>
                      <a:pt x="531368" y="534209"/>
                    </a:lnTo>
                    <a:lnTo>
                      <a:pt x="532474" y="531511"/>
                    </a:lnTo>
                    <a:cubicBezTo>
                      <a:pt x="532474" y="528812"/>
                      <a:pt x="531921" y="528272"/>
                      <a:pt x="530815" y="526113"/>
                    </a:cubicBezTo>
                    <a:cubicBezTo>
                      <a:pt x="530815" y="525034"/>
                      <a:pt x="529156" y="518018"/>
                      <a:pt x="529156" y="517478"/>
                    </a:cubicBezTo>
                    <a:cubicBezTo>
                      <a:pt x="529709" y="512620"/>
                      <a:pt x="535793" y="505064"/>
                      <a:pt x="539112" y="501286"/>
                    </a:cubicBezTo>
                    <a:lnTo>
                      <a:pt x="538558" y="499667"/>
                    </a:lnTo>
                    <a:cubicBezTo>
                      <a:pt x="532474" y="496429"/>
                      <a:pt x="527497" y="509382"/>
                      <a:pt x="517541" y="505604"/>
                    </a:cubicBezTo>
                    <a:cubicBezTo>
                      <a:pt x="516988" y="504525"/>
                      <a:pt x="516435" y="503985"/>
                      <a:pt x="515882" y="503445"/>
                    </a:cubicBezTo>
                    <a:cubicBezTo>
                      <a:pt x="515329" y="502366"/>
                      <a:pt x="515882" y="491571"/>
                      <a:pt x="516435" y="489952"/>
                    </a:cubicBezTo>
                    <a:cubicBezTo>
                      <a:pt x="518647" y="486174"/>
                      <a:pt x="531368" y="481316"/>
                      <a:pt x="529156" y="475919"/>
                    </a:cubicBezTo>
                    <a:cubicBezTo>
                      <a:pt x="528603" y="474840"/>
                      <a:pt x="525284" y="473221"/>
                      <a:pt x="524178" y="472681"/>
                    </a:cubicBezTo>
                    <a:cubicBezTo>
                      <a:pt x="509245" y="466204"/>
                      <a:pt x="507032" y="479697"/>
                      <a:pt x="500948" y="488873"/>
                    </a:cubicBezTo>
                    <a:cubicBezTo>
                      <a:pt x="497630" y="488873"/>
                      <a:pt x="497630" y="491031"/>
                      <a:pt x="495970" y="491571"/>
                    </a:cubicBezTo>
                    <a:cubicBezTo>
                      <a:pt x="494864" y="491571"/>
                      <a:pt x="493205" y="491031"/>
                      <a:pt x="493205" y="490492"/>
                    </a:cubicBezTo>
                    <a:cubicBezTo>
                      <a:pt x="492652" y="488333"/>
                      <a:pt x="493758" y="473221"/>
                      <a:pt x="494864" y="470522"/>
                    </a:cubicBezTo>
                    <a:cubicBezTo>
                      <a:pt x="499289" y="467823"/>
                      <a:pt x="504820" y="469443"/>
                      <a:pt x="509245" y="467823"/>
                    </a:cubicBezTo>
                    <a:cubicBezTo>
                      <a:pt x="512563" y="466204"/>
                      <a:pt x="515882" y="462966"/>
                      <a:pt x="519753" y="461886"/>
                    </a:cubicBezTo>
                    <a:cubicBezTo>
                      <a:pt x="521966" y="461347"/>
                      <a:pt x="526944" y="462966"/>
                      <a:pt x="529156" y="461886"/>
                    </a:cubicBezTo>
                    <a:cubicBezTo>
                      <a:pt x="532474" y="460267"/>
                      <a:pt x="537452" y="453251"/>
                      <a:pt x="540771" y="452171"/>
                    </a:cubicBezTo>
                    <a:cubicBezTo>
                      <a:pt x="544089" y="451092"/>
                      <a:pt x="550173" y="457029"/>
                      <a:pt x="554045" y="457569"/>
                    </a:cubicBezTo>
                    <a:cubicBezTo>
                      <a:pt x="555151" y="454870"/>
                      <a:pt x="554045" y="451632"/>
                      <a:pt x="555151" y="448933"/>
                    </a:cubicBezTo>
                    <a:cubicBezTo>
                      <a:pt x="557917" y="444076"/>
                      <a:pt x="559576" y="446774"/>
                      <a:pt x="561235" y="437059"/>
                    </a:cubicBezTo>
                    <a:cubicBezTo>
                      <a:pt x="559023" y="435980"/>
                      <a:pt x="555151" y="435980"/>
                      <a:pt x="554045" y="435440"/>
                    </a:cubicBezTo>
                    <a:cubicBezTo>
                      <a:pt x="549620" y="433821"/>
                      <a:pt x="552939" y="427884"/>
                      <a:pt x="552386" y="424645"/>
                    </a:cubicBezTo>
                    <a:cubicBezTo>
                      <a:pt x="551280" y="421947"/>
                      <a:pt x="546302" y="418169"/>
                      <a:pt x="545749" y="415470"/>
                    </a:cubicBezTo>
                    <a:cubicBezTo>
                      <a:pt x="545196" y="414391"/>
                      <a:pt x="546855" y="407914"/>
                      <a:pt x="547961" y="406835"/>
                    </a:cubicBezTo>
                    <a:lnTo>
                      <a:pt x="549067" y="405755"/>
                    </a:lnTo>
                    <a:cubicBezTo>
                      <a:pt x="549620" y="405215"/>
                      <a:pt x="557917" y="402517"/>
                      <a:pt x="559023" y="402517"/>
                    </a:cubicBezTo>
                    <a:cubicBezTo>
                      <a:pt x="564001" y="402517"/>
                      <a:pt x="568979" y="405755"/>
                      <a:pt x="573956" y="405215"/>
                    </a:cubicBezTo>
                    <a:cubicBezTo>
                      <a:pt x="578381" y="405215"/>
                      <a:pt x="576722" y="399818"/>
                      <a:pt x="586678" y="404676"/>
                    </a:cubicBezTo>
                    <a:lnTo>
                      <a:pt x="587231" y="405755"/>
                    </a:lnTo>
                    <a:cubicBezTo>
                      <a:pt x="587784" y="407374"/>
                      <a:pt x="588337" y="410073"/>
                      <a:pt x="589443" y="411152"/>
                    </a:cubicBezTo>
                    <a:cubicBezTo>
                      <a:pt x="592208" y="413851"/>
                      <a:pt x="594421" y="411692"/>
                      <a:pt x="593315" y="408454"/>
                    </a:cubicBezTo>
                    <a:cubicBezTo>
                      <a:pt x="593315" y="406835"/>
                      <a:pt x="588337" y="400898"/>
                      <a:pt x="591655" y="398199"/>
                    </a:cubicBezTo>
                    <a:cubicBezTo>
                      <a:pt x="592762" y="397120"/>
                      <a:pt x="596633" y="399278"/>
                      <a:pt x="597739" y="398199"/>
                    </a:cubicBezTo>
                    <a:cubicBezTo>
                      <a:pt x="598846" y="397659"/>
                      <a:pt x="599399" y="394421"/>
                      <a:pt x="600505" y="393342"/>
                    </a:cubicBezTo>
                    <a:cubicBezTo>
                      <a:pt x="601058" y="392802"/>
                      <a:pt x="602717" y="392802"/>
                      <a:pt x="603823" y="392262"/>
                    </a:cubicBezTo>
                    <a:lnTo>
                      <a:pt x="604376" y="390643"/>
                    </a:lnTo>
                    <a:cubicBezTo>
                      <a:pt x="603823" y="389563"/>
                      <a:pt x="601058" y="388484"/>
                      <a:pt x="601058" y="387405"/>
                    </a:cubicBezTo>
                    <a:cubicBezTo>
                      <a:pt x="599952" y="385785"/>
                      <a:pt x="601058" y="380928"/>
                      <a:pt x="600505" y="378229"/>
                    </a:cubicBezTo>
                    <a:lnTo>
                      <a:pt x="598292" y="377150"/>
                    </a:lnTo>
                    <a:cubicBezTo>
                      <a:pt x="593868" y="378769"/>
                      <a:pt x="589996" y="387944"/>
                      <a:pt x="584465" y="389024"/>
                    </a:cubicBezTo>
                    <a:cubicBezTo>
                      <a:pt x="582806" y="389563"/>
                      <a:pt x="580593" y="385785"/>
                      <a:pt x="577828" y="385785"/>
                    </a:cubicBezTo>
                    <a:cubicBezTo>
                      <a:pt x="576722" y="385785"/>
                      <a:pt x="566213" y="392262"/>
                      <a:pt x="562895" y="392802"/>
                    </a:cubicBezTo>
                    <a:cubicBezTo>
                      <a:pt x="561235" y="393342"/>
                      <a:pt x="557917" y="391183"/>
                      <a:pt x="556257" y="390643"/>
                    </a:cubicBezTo>
                    <a:cubicBezTo>
                      <a:pt x="555704" y="390103"/>
                      <a:pt x="553492" y="390103"/>
                      <a:pt x="553492" y="389563"/>
                    </a:cubicBezTo>
                    <a:cubicBezTo>
                      <a:pt x="552939" y="388484"/>
                      <a:pt x="554045" y="386865"/>
                      <a:pt x="554045" y="386325"/>
                    </a:cubicBezTo>
                    <a:cubicBezTo>
                      <a:pt x="555151" y="383087"/>
                      <a:pt x="555704" y="377150"/>
                      <a:pt x="556811" y="374451"/>
                    </a:cubicBezTo>
                    <a:cubicBezTo>
                      <a:pt x="558470" y="372292"/>
                      <a:pt x="565660" y="366355"/>
                      <a:pt x="568425" y="365816"/>
                    </a:cubicBezTo>
                    <a:cubicBezTo>
                      <a:pt x="570638" y="365276"/>
                      <a:pt x="576169" y="368514"/>
                      <a:pt x="578381" y="368514"/>
                    </a:cubicBezTo>
                    <a:cubicBezTo>
                      <a:pt x="580040" y="367975"/>
                      <a:pt x="582253" y="364736"/>
                      <a:pt x="583912" y="364196"/>
                    </a:cubicBezTo>
                    <a:cubicBezTo>
                      <a:pt x="585571" y="363117"/>
                      <a:pt x="590549" y="362038"/>
                      <a:pt x="591655" y="361498"/>
                    </a:cubicBezTo>
                    <a:cubicBezTo>
                      <a:pt x="592762" y="361498"/>
                      <a:pt x="595527" y="362038"/>
                      <a:pt x="596080" y="361498"/>
                    </a:cubicBezTo>
                    <a:cubicBezTo>
                      <a:pt x="597739" y="358799"/>
                      <a:pt x="586124" y="355561"/>
                      <a:pt x="585571" y="355021"/>
                    </a:cubicBezTo>
                    <a:lnTo>
                      <a:pt x="586124" y="352862"/>
                    </a:lnTo>
                    <a:cubicBezTo>
                      <a:pt x="588890" y="352862"/>
                      <a:pt x="602717" y="351243"/>
                      <a:pt x="603823" y="349084"/>
                    </a:cubicBezTo>
                    <a:cubicBezTo>
                      <a:pt x="600505" y="346925"/>
                      <a:pt x="597186" y="347465"/>
                      <a:pt x="594421" y="345846"/>
                    </a:cubicBezTo>
                    <a:cubicBezTo>
                      <a:pt x="596633" y="337750"/>
                      <a:pt x="601058" y="338290"/>
                      <a:pt x="602717" y="333972"/>
                    </a:cubicBezTo>
                    <a:cubicBezTo>
                      <a:pt x="601611" y="330734"/>
                      <a:pt x="597739" y="329114"/>
                      <a:pt x="594974" y="331813"/>
                    </a:cubicBezTo>
                    <a:cubicBezTo>
                      <a:pt x="593315" y="333432"/>
                      <a:pt x="593315" y="337210"/>
                      <a:pt x="589443" y="336671"/>
                    </a:cubicBezTo>
                    <a:cubicBezTo>
                      <a:pt x="588890" y="336671"/>
                      <a:pt x="586678" y="335591"/>
                      <a:pt x="586678" y="335051"/>
                    </a:cubicBezTo>
                    <a:cubicBezTo>
                      <a:pt x="586678" y="333972"/>
                      <a:pt x="586678" y="332893"/>
                      <a:pt x="587231" y="332353"/>
                    </a:cubicBezTo>
                    <a:cubicBezTo>
                      <a:pt x="588337" y="326416"/>
                      <a:pt x="588890" y="317241"/>
                      <a:pt x="594421" y="312923"/>
                    </a:cubicBezTo>
                    <a:cubicBezTo>
                      <a:pt x="597739" y="310764"/>
                      <a:pt x="609354" y="309145"/>
                      <a:pt x="610460" y="305367"/>
                    </a:cubicBezTo>
                    <a:cubicBezTo>
                      <a:pt x="613779" y="297271"/>
                      <a:pt x="607695" y="281619"/>
                      <a:pt x="608801" y="274063"/>
                    </a:cubicBezTo>
                    <a:cubicBezTo>
                      <a:pt x="609354" y="273523"/>
                      <a:pt x="611567" y="272983"/>
                      <a:pt x="612120" y="273523"/>
                    </a:cubicBezTo>
                    <a:cubicBezTo>
                      <a:pt x="612673" y="273523"/>
                      <a:pt x="613226" y="275142"/>
                      <a:pt x="613779" y="275682"/>
                    </a:cubicBezTo>
                    <a:cubicBezTo>
                      <a:pt x="615438" y="276222"/>
                      <a:pt x="621522" y="275682"/>
                      <a:pt x="623182" y="276761"/>
                    </a:cubicBezTo>
                    <a:cubicBezTo>
                      <a:pt x="627606" y="279460"/>
                      <a:pt x="628159" y="286476"/>
                      <a:pt x="634797" y="285397"/>
                    </a:cubicBezTo>
                    <a:cubicBezTo>
                      <a:pt x="637562" y="284857"/>
                      <a:pt x="638668" y="282698"/>
                      <a:pt x="639221" y="280539"/>
                    </a:cubicBezTo>
                    <a:cubicBezTo>
                      <a:pt x="635350" y="276222"/>
                      <a:pt x="627606" y="275142"/>
                      <a:pt x="623182" y="265427"/>
                    </a:cubicBezTo>
                    <a:cubicBezTo>
                      <a:pt x="623735" y="263268"/>
                      <a:pt x="625394" y="258411"/>
                      <a:pt x="625947" y="256792"/>
                    </a:cubicBezTo>
                    <a:cubicBezTo>
                      <a:pt x="637562" y="251394"/>
                      <a:pt x="640881" y="269745"/>
                      <a:pt x="643093" y="271364"/>
                    </a:cubicBezTo>
                    <a:cubicBezTo>
                      <a:pt x="645305" y="272983"/>
                      <a:pt x="653602" y="273523"/>
                      <a:pt x="655814" y="274602"/>
                    </a:cubicBezTo>
                    <a:cubicBezTo>
                      <a:pt x="658579" y="276761"/>
                      <a:pt x="656367" y="283238"/>
                      <a:pt x="658579" y="286476"/>
                    </a:cubicBezTo>
                    <a:cubicBezTo>
                      <a:pt x="669641" y="290254"/>
                      <a:pt x="669088" y="280539"/>
                      <a:pt x="664110" y="274602"/>
                    </a:cubicBezTo>
                    <a:cubicBezTo>
                      <a:pt x="660239" y="269205"/>
                      <a:pt x="648071" y="264887"/>
                      <a:pt x="646411" y="261649"/>
                    </a:cubicBezTo>
                    <a:cubicBezTo>
                      <a:pt x="645305" y="260030"/>
                      <a:pt x="643646" y="255712"/>
                      <a:pt x="644752" y="254093"/>
                    </a:cubicBezTo>
                    <a:cubicBezTo>
                      <a:pt x="645305" y="253553"/>
                      <a:pt x="646965" y="253553"/>
                      <a:pt x="647518" y="253013"/>
                    </a:cubicBezTo>
                    <a:lnTo>
                      <a:pt x="648071" y="250855"/>
                    </a:lnTo>
                    <a:cubicBezTo>
                      <a:pt x="645305" y="248696"/>
                      <a:pt x="641987" y="248156"/>
                      <a:pt x="639774" y="244378"/>
                    </a:cubicBezTo>
                    <a:cubicBezTo>
                      <a:pt x="639221" y="242759"/>
                      <a:pt x="638115" y="237361"/>
                      <a:pt x="639221" y="236282"/>
                    </a:cubicBezTo>
                    <a:cubicBezTo>
                      <a:pt x="643646" y="229266"/>
                      <a:pt x="658026" y="221710"/>
                      <a:pt x="666323" y="223329"/>
                    </a:cubicBezTo>
                    <a:cubicBezTo>
                      <a:pt x="666876" y="237361"/>
                      <a:pt x="666323" y="250315"/>
                      <a:pt x="665770" y="263268"/>
                    </a:cubicBezTo>
                    <a:cubicBezTo>
                      <a:pt x="667429" y="264887"/>
                      <a:pt x="670194" y="265427"/>
                      <a:pt x="671301" y="264887"/>
                    </a:cubicBezTo>
                    <a:cubicBezTo>
                      <a:pt x="672407" y="264348"/>
                      <a:pt x="675725" y="260570"/>
                      <a:pt x="676278" y="259490"/>
                    </a:cubicBezTo>
                    <a:cubicBezTo>
                      <a:pt x="679597" y="251394"/>
                      <a:pt x="675725" y="241140"/>
                      <a:pt x="676278" y="232504"/>
                    </a:cubicBezTo>
                    <a:cubicBezTo>
                      <a:pt x="676278" y="227646"/>
                      <a:pt x="680150" y="206597"/>
                      <a:pt x="683469" y="202819"/>
                    </a:cubicBezTo>
                    <a:cubicBezTo>
                      <a:pt x="685681" y="200660"/>
                      <a:pt x="687340" y="200121"/>
                      <a:pt x="690659" y="202279"/>
                    </a:cubicBezTo>
                    <a:cubicBezTo>
                      <a:pt x="696190" y="226567"/>
                      <a:pt x="696743" y="235742"/>
                      <a:pt x="691212" y="260570"/>
                    </a:cubicBezTo>
                    <a:cubicBezTo>
                      <a:pt x="690659" y="264348"/>
                      <a:pt x="687893" y="267586"/>
                      <a:pt x="686787" y="271364"/>
                    </a:cubicBezTo>
                    <a:cubicBezTo>
                      <a:pt x="686234" y="273523"/>
                      <a:pt x="686234" y="274602"/>
                      <a:pt x="687340" y="276222"/>
                    </a:cubicBezTo>
                    <a:cubicBezTo>
                      <a:pt x="699508" y="276222"/>
                      <a:pt x="703933" y="242759"/>
                      <a:pt x="704486" y="235203"/>
                    </a:cubicBezTo>
                    <a:cubicBezTo>
                      <a:pt x="705039" y="229266"/>
                      <a:pt x="700614" y="223329"/>
                      <a:pt x="703380" y="217392"/>
                    </a:cubicBezTo>
                    <a:cubicBezTo>
                      <a:pt x="705592" y="212534"/>
                      <a:pt x="708911" y="207677"/>
                      <a:pt x="712229" y="203899"/>
                    </a:cubicBezTo>
                    <a:cubicBezTo>
                      <a:pt x="716101" y="202819"/>
                      <a:pt x="717760" y="206058"/>
                      <a:pt x="719973" y="205518"/>
                    </a:cubicBezTo>
                    <a:cubicBezTo>
                      <a:pt x="722738" y="204978"/>
                      <a:pt x="726610" y="195263"/>
                      <a:pt x="726610" y="193104"/>
                    </a:cubicBezTo>
                    <a:cubicBezTo>
                      <a:pt x="726610" y="189866"/>
                      <a:pt x="723844" y="189326"/>
                      <a:pt x="724951" y="185548"/>
                    </a:cubicBezTo>
                    <a:lnTo>
                      <a:pt x="726610" y="185008"/>
                    </a:lnTo>
                    <a:cubicBezTo>
                      <a:pt x="727716" y="184469"/>
                      <a:pt x="735459" y="185548"/>
                      <a:pt x="736565" y="186088"/>
                    </a:cubicBezTo>
                    <a:cubicBezTo>
                      <a:pt x="738778" y="187167"/>
                      <a:pt x="740990" y="192025"/>
                      <a:pt x="743203" y="193644"/>
                    </a:cubicBezTo>
                    <a:cubicBezTo>
                      <a:pt x="747627" y="196343"/>
                      <a:pt x="752605" y="195803"/>
                      <a:pt x="756477" y="200121"/>
                    </a:cubicBezTo>
                    <a:cubicBezTo>
                      <a:pt x="757030" y="199581"/>
                      <a:pt x="758689" y="199581"/>
                      <a:pt x="759242" y="199041"/>
                    </a:cubicBezTo>
                    <a:cubicBezTo>
                      <a:pt x="761455" y="196882"/>
                      <a:pt x="757583" y="175293"/>
                      <a:pt x="752052" y="172595"/>
                    </a:cubicBezTo>
                    <a:cubicBezTo>
                      <a:pt x="747627" y="169896"/>
                      <a:pt x="739884" y="171515"/>
                      <a:pt x="734906" y="169896"/>
                    </a:cubicBezTo>
                    <a:cubicBezTo>
                      <a:pt x="733800" y="169356"/>
                      <a:pt x="732694" y="166658"/>
                      <a:pt x="731035" y="166118"/>
                    </a:cubicBezTo>
                    <a:cubicBezTo>
                      <a:pt x="727163" y="163419"/>
                      <a:pt x="717207" y="165039"/>
                      <a:pt x="721079" y="156403"/>
                    </a:cubicBezTo>
                    <a:cubicBezTo>
                      <a:pt x="723844" y="154244"/>
                      <a:pt x="726610" y="155863"/>
                      <a:pt x="729375" y="155324"/>
                    </a:cubicBezTo>
                    <a:lnTo>
                      <a:pt x="730481" y="153165"/>
                    </a:lnTo>
                    <a:lnTo>
                      <a:pt x="732141" y="153704"/>
                    </a:lnTo>
                    <a:cubicBezTo>
                      <a:pt x="734353" y="156403"/>
                      <a:pt x="738778" y="159102"/>
                      <a:pt x="742096" y="159641"/>
                    </a:cubicBezTo>
                    <a:lnTo>
                      <a:pt x="743203" y="158562"/>
                    </a:lnTo>
                    <a:cubicBezTo>
                      <a:pt x="743756" y="153704"/>
                      <a:pt x="741543" y="153704"/>
                      <a:pt x="744309" y="148307"/>
                    </a:cubicBezTo>
                    <a:cubicBezTo>
                      <a:pt x="748180" y="147767"/>
                      <a:pt x="750946" y="148847"/>
                      <a:pt x="753158" y="148847"/>
                    </a:cubicBezTo>
                    <a:lnTo>
                      <a:pt x="755371" y="147228"/>
                    </a:lnTo>
                    <a:lnTo>
                      <a:pt x="757030" y="148847"/>
                    </a:lnTo>
                    <a:cubicBezTo>
                      <a:pt x="757583" y="151006"/>
                      <a:pt x="755371" y="156943"/>
                      <a:pt x="755924" y="158562"/>
                    </a:cubicBezTo>
                    <a:cubicBezTo>
                      <a:pt x="757030" y="161260"/>
                      <a:pt x="766432" y="160721"/>
                      <a:pt x="767539" y="158562"/>
                    </a:cubicBezTo>
                    <a:cubicBezTo>
                      <a:pt x="768092" y="156403"/>
                      <a:pt x="764220" y="153165"/>
                      <a:pt x="765879" y="148847"/>
                    </a:cubicBezTo>
                    <a:cubicBezTo>
                      <a:pt x="768092" y="147228"/>
                      <a:pt x="770857" y="147228"/>
                      <a:pt x="773070" y="147228"/>
                    </a:cubicBezTo>
                    <a:cubicBezTo>
                      <a:pt x="775835" y="147767"/>
                      <a:pt x="783578" y="147228"/>
                      <a:pt x="785791" y="148847"/>
                    </a:cubicBezTo>
                    <a:cubicBezTo>
                      <a:pt x="788003" y="150466"/>
                      <a:pt x="789662" y="158022"/>
                      <a:pt x="791875" y="160721"/>
                    </a:cubicBezTo>
                    <a:cubicBezTo>
                      <a:pt x="794087" y="163419"/>
                      <a:pt x="797959" y="163959"/>
                      <a:pt x="799065" y="167737"/>
                    </a:cubicBezTo>
                    <a:cubicBezTo>
                      <a:pt x="803490" y="169356"/>
                      <a:pt x="809574" y="167197"/>
                      <a:pt x="811786" y="163419"/>
                    </a:cubicBezTo>
                    <a:cubicBezTo>
                      <a:pt x="812339" y="162880"/>
                      <a:pt x="811786" y="161260"/>
                      <a:pt x="811786" y="160721"/>
                    </a:cubicBezTo>
                    <a:cubicBezTo>
                      <a:pt x="810680" y="158562"/>
                      <a:pt x="806255" y="156403"/>
                      <a:pt x="806255" y="153704"/>
                    </a:cubicBezTo>
                    <a:cubicBezTo>
                      <a:pt x="805702" y="149926"/>
                      <a:pt x="808467" y="138592"/>
                      <a:pt x="809020" y="133735"/>
                    </a:cubicBezTo>
                    <a:cubicBezTo>
                      <a:pt x="809020" y="128337"/>
                      <a:pt x="808467" y="122940"/>
                      <a:pt x="809020" y="117003"/>
                    </a:cubicBezTo>
                    <a:cubicBezTo>
                      <a:pt x="809020" y="115924"/>
                      <a:pt x="816211" y="105129"/>
                      <a:pt x="817870" y="104050"/>
                    </a:cubicBezTo>
                    <a:cubicBezTo>
                      <a:pt x="819529" y="102970"/>
                      <a:pt x="826166" y="104050"/>
                      <a:pt x="829485" y="103510"/>
                    </a:cubicBezTo>
                    <a:cubicBezTo>
                      <a:pt x="830591" y="100272"/>
                      <a:pt x="828379" y="99732"/>
                      <a:pt x="828932" y="97033"/>
                    </a:cubicBezTo>
                    <a:cubicBezTo>
                      <a:pt x="828932" y="92716"/>
                      <a:pt x="830038" y="86779"/>
                      <a:pt x="831697" y="82461"/>
                    </a:cubicBezTo>
                    <a:cubicBezTo>
                      <a:pt x="835569" y="80302"/>
                      <a:pt x="837228" y="81921"/>
                      <a:pt x="841653" y="81381"/>
                    </a:cubicBezTo>
                    <a:lnTo>
                      <a:pt x="842206" y="80302"/>
                    </a:lnTo>
                    <a:lnTo>
                      <a:pt x="842206" y="78143"/>
                    </a:lnTo>
                    <a:cubicBezTo>
                      <a:pt x="842206" y="77064"/>
                      <a:pt x="837228" y="71666"/>
                      <a:pt x="836122" y="71127"/>
                    </a:cubicBezTo>
                    <a:cubicBezTo>
                      <a:pt x="832803" y="68968"/>
                      <a:pt x="826166" y="69508"/>
                      <a:pt x="822848" y="66269"/>
                    </a:cubicBezTo>
                    <a:cubicBezTo>
                      <a:pt x="821189" y="57094"/>
                      <a:pt x="827273" y="62491"/>
                      <a:pt x="833357" y="62491"/>
                    </a:cubicBezTo>
                    <a:cubicBezTo>
                      <a:pt x="839994" y="58713"/>
                      <a:pt x="832803" y="54395"/>
                      <a:pt x="833910" y="49538"/>
                    </a:cubicBezTo>
                    <a:cubicBezTo>
                      <a:pt x="844418" y="47919"/>
                      <a:pt x="849396" y="51697"/>
                      <a:pt x="858799" y="53856"/>
                    </a:cubicBezTo>
                    <a:cubicBezTo>
                      <a:pt x="860458" y="50617"/>
                      <a:pt x="860458" y="48458"/>
                      <a:pt x="861011" y="46839"/>
                    </a:cubicBezTo>
                    <a:lnTo>
                      <a:pt x="862670" y="45760"/>
                    </a:lnTo>
                    <a:cubicBezTo>
                      <a:pt x="864883" y="45760"/>
                      <a:pt x="869308" y="46839"/>
                      <a:pt x="871520" y="46839"/>
                    </a:cubicBezTo>
                    <a:cubicBezTo>
                      <a:pt x="873179" y="46299"/>
                      <a:pt x="877051" y="41982"/>
                      <a:pt x="878157" y="41982"/>
                    </a:cubicBezTo>
                    <a:cubicBezTo>
                      <a:pt x="880922" y="41442"/>
                      <a:pt x="882029" y="44680"/>
                      <a:pt x="881476" y="46839"/>
                    </a:cubicBezTo>
                    <a:cubicBezTo>
                      <a:pt x="880922" y="51157"/>
                      <a:pt x="878710" y="60872"/>
                      <a:pt x="877051" y="64110"/>
                    </a:cubicBezTo>
                    <a:cubicBezTo>
                      <a:pt x="872626" y="72746"/>
                      <a:pt x="866542" y="69508"/>
                      <a:pt x="861564" y="85160"/>
                    </a:cubicBezTo>
                    <a:cubicBezTo>
                      <a:pt x="861564" y="85699"/>
                      <a:pt x="861011" y="86779"/>
                      <a:pt x="861564" y="87858"/>
                    </a:cubicBezTo>
                    <a:cubicBezTo>
                      <a:pt x="862670" y="92176"/>
                      <a:pt x="868201" y="95954"/>
                      <a:pt x="869308" y="100811"/>
                    </a:cubicBezTo>
                    <a:cubicBezTo>
                      <a:pt x="870414" y="108368"/>
                      <a:pt x="865989" y="130496"/>
                      <a:pt x="871520" y="135894"/>
                    </a:cubicBezTo>
                    <a:cubicBezTo>
                      <a:pt x="873732" y="137513"/>
                      <a:pt x="881476" y="134814"/>
                      <a:pt x="883135" y="132655"/>
                    </a:cubicBezTo>
                    <a:cubicBezTo>
                      <a:pt x="883688" y="131576"/>
                      <a:pt x="888666" y="114844"/>
                      <a:pt x="888666" y="114305"/>
                    </a:cubicBezTo>
                    <a:cubicBezTo>
                      <a:pt x="888113" y="111606"/>
                      <a:pt x="884241" y="108907"/>
                      <a:pt x="884241" y="107288"/>
                    </a:cubicBezTo>
                    <a:cubicBezTo>
                      <a:pt x="885347" y="91636"/>
                      <a:pt x="891984" y="60872"/>
                      <a:pt x="896409" y="45760"/>
                    </a:cubicBezTo>
                    <a:cubicBezTo>
                      <a:pt x="896962" y="43061"/>
                      <a:pt x="903046" y="33886"/>
                      <a:pt x="905812" y="32267"/>
                    </a:cubicBezTo>
                    <a:cubicBezTo>
                      <a:pt x="906918" y="31727"/>
                      <a:pt x="911343" y="32806"/>
                      <a:pt x="912449" y="33886"/>
                    </a:cubicBezTo>
                    <a:cubicBezTo>
                      <a:pt x="914661" y="36045"/>
                      <a:pt x="914661" y="51697"/>
                      <a:pt x="913555" y="54395"/>
                    </a:cubicBezTo>
                    <a:cubicBezTo>
                      <a:pt x="913002" y="56014"/>
                      <a:pt x="908024" y="60332"/>
                      <a:pt x="908577" y="62491"/>
                    </a:cubicBezTo>
                    <a:cubicBezTo>
                      <a:pt x="910236" y="64650"/>
                      <a:pt x="917980" y="64110"/>
                      <a:pt x="919639" y="68428"/>
                    </a:cubicBezTo>
                    <a:cubicBezTo>
                      <a:pt x="922404" y="75444"/>
                      <a:pt x="920745" y="84080"/>
                      <a:pt x="924617" y="91096"/>
                    </a:cubicBezTo>
                    <a:lnTo>
                      <a:pt x="928488" y="91096"/>
                    </a:lnTo>
                    <a:cubicBezTo>
                      <a:pt x="931807" y="89477"/>
                      <a:pt x="938444" y="66809"/>
                      <a:pt x="938997" y="62491"/>
                    </a:cubicBezTo>
                    <a:cubicBezTo>
                      <a:pt x="939550" y="57094"/>
                      <a:pt x="935679" y="45220"/>
                      <a:pt x="936785" y="40362"/>
                    </a:cubicBezTo>
                    <a:cubicBezTo>
                      <a:pt x="937338" y="38204"/>
                      <a:pt x="943975" y="35505"/>
                      <a:pt x="946187" y="33886"/>
                    </a:cubicBezTo>
                    <a:lnTo>
                      <a:pt x="946740" y="31727"/>
                    </a:lnTo>
                    <a:cubicBezTo>
                      <a:pt x="945634" y="30647"/>
                      <a:pt x="943422" y="27409"/>
                      <a:pt x="942316" y="26869"/>
                    </a:cubicBezTo>
                    <a:cubicBezTo>
                      <a:pt x="938997" y="24710"/>
                      <a:pt x="930148" y="24171"/>
                      <a:pt x="929595" y="19853"/>
                    </a:cubicBezTo>
                    <a:cubicBezTo>
                      <a:pt x="929595" y="18774"/>
                      <a:pt x="930701" y="16075"/>
                      <a:pt x="931254" y="14995"/>
                    </a:cubicBezTo>
                    <a:cubicBezTo>
                      <a:pt x="932360" y="13916"/>
                      <a:pt x="935679" y="13916"/>
                      <a:pt x="936232" y="12837"/>
                    </a:cubicBezTo>
                    <a:cubicBezTo>
                      <a:pt x="937338" y="11217"/>
                      <a:pt x="937338" y="3661"/>
                      <a:pt x="937891" y="963"/>
                    </a:cubicBezTo>
                    <a:lnTo>
                      <a:pt x="940103" y="423"/>
                    </a:lnTo>
                    <a:cubicBezTo>
                      <a:pt x="941209" y="-117"/>
                      <a:pt x="951165" y="963"/>
                      <a:pt x="953378" y="423"/>
                    </a:cubicBezTo>
                    <a:cubicBezTo>
                      <a:pt x="955037" y="423"/>
                      <a:pt x="956696" y="-117"/>
                      <a:pt x="958355" y="-117"/>
                    </a:cubicBezTo>
                    <a:cubicBezTo>
                      <a:pt x="964992" y="423"/>
                      <a:pt x="972736" y="2582"/>
                      <a:pt x="979373" y="4201"/>
                    </a:cubicBezTo>
                    <a:cubicBezTo>
                      <a:pt x="979926" y="7979"/>
                      <a:pt x="977714" y="15535"/>
                      <a:pt x="975501" y="17694"/>
                    </a:cubicBezTo>
                    <a:cubicBezTo>
                      <a:pt x="972736" y="20393"/>
                      <a:pt x="967205" y="21472"/>
                      <a:pt x="963886" y="24171"/>
                    </a:cubicBezTo>
                    <a:cubicBezTo>
                      <a:pt x="961674" y="25790"/>
                      <a:pt x="959462" y="29028"/>
                      <a:pt x="963886" y="29568"/>
                    </a:cubicBezTo>
                    <a:cubicBezTo>
                      <a:pt x="965546" y="29568"/>
                      <a:pt x="967205" y="28489"/>
                      <a:pt x="968311" y="28489"/>
                    </a:cubicBezTo>
                    <a:cubicBezTo>
                      <a:pt x="972736" y="34965"/>
                      <a:pt x="957802" y="40362"/>
                      <a:pt x="962780" y="47379"/>
                    </a:cubicBezTo>
                    <a:cubicBezTo>
                      <a:pt x="970523" y="47919"/>
                      <a:pt x="976054" y="38743"/>
                      <a:pt x="979373" y="33346"/>
                    </a:cubicBezTo>
                    <a:cubicBezTo>
                      <a:pt x="980479" y="32806"/>
                      <a:pt x="982138" y="33346"/>
                      <a:pt x="982691" y="33886"/>
                    </a:cubicBezTo>
                    <a:cubicBezTo>
                      <a:pt x="983244" y="34426"/>
                      <a:pt x="979373" y="50617"/>
                      <a:pt x="978820" y="52236"/>
                    </a:cubicBezTo>
                    <a:cubicBezTo>
                      <a:pt x="977714" y="56014"/>
                      <a:pt x="972183" y="61951"/>
                      <a:pt x="971630" y="64650"/>
                    </a:cubicBezTo>
                    <a:lnTo>
                      <a:pt x="973289" y="66269"/>
                    </a:lnTo>
                    <a:cubicBezTo>
                      <a:pt x="975501" y="65729"/>
                      <a:pt x="980479" y="62491"/>
                      <a:pt x="984351" y="61412"/>
                    </a:cubicBezTo>
                    <a:cubicBezTo>
                      <a:pt x="984904" y="61951"/>
                      <a:pt x="986010" y="62491"/>
                      <a:pt x="986563" y="63031"/>
                    </a:cubicBezTo>
                    <a:cubicBezTo>
                      <a:pt x="986563" y="65729"/>
                      <a:pt x="987116" y="71666"/>
                      <a:pt x="988222" y="73286"/>
                    </a:cubicBezTo>
                    <a:cubicBezTo>
                      <a:pt x="989328" y="73825"/>
                      <a:pt x="990988" y="74365"/>
                      <a:pt x="992094" y="73825"/>
                    </a:cubicBezTo>
                    <a:lnTo>
                      <a:pt x="993200" y="70047"/>
                    </a:lnTo>
                    <a:cubicBezTo>
                      <a:pt x="991541" y="68428"/>
                      <a:pt x="990988" y="67349"/>
                      <a:pt x="990988" y="65190"/>
                    </a:cubicBezTo>
                    <a:cubicBezTo>
                      <a:pt x="989882" y="58173"/>
                      <a:pt x="997072" y="58173"/>
                      <a:pt x="1002050" y="56014"/>
                    </a:cubicBezTo>
                    <a:cubicBezTo>
                      <a:pt x="999284" y="49538"/>
                      <a:pt x="992094" y="38743"/>
                      <a:pt x="990988" y="33886"/>
                    </a:cubicBezTo>
                    <a:cubicBezTo>
                      <a:pt x="989882" y="30108"/>
                      <a:pt x="992647" y="18774"/>
                      <a:pt x="993753" y="14995"/>
                    </a:cubicBezTo>
                    <a:cubicBezTo>
                      <a:pt x="994306" y="13916"/>
                      <a:pt x="997625" y="9059"/>
                      <a:pt x="998731" y="7979"/>
                    </a:cubicBezTo>
                    <a:cubicBezTo>
                      <a:pt x="1002050" y="4741"/>
                      <a:pt x="1014218" y="10138"/>
                      <a:pt x="1016983" y="13376"/>
                    </a:cubicBezTo>
                    <a:cubicBezTo>
                      <a:pt x="1018642" y="15535"/>
                      <a:pt x="1020855" y="22012"/>
                      <a:pt x="1021961" y="24710"/>
                    </a:cubicBezTo>
                    <a:lnTo>
                      <a:pt x="1021408" y="26330"/>
                    </a:lnTo>
                    <a:lnTo>
                      <a:pt x="1022514" y="27409"/>
                    </a:lnTo>
                    <a:cubicBezTo>
                      <a:pt x="1026939" y="23631"/>
                      <a:pt x="1025279" y="14995"/>
                      <a:pt x="1031917" y="12837"/>
                    </a:cubicBezTo>
                    <a:cubicBezTo>
                      <a:pt x="1033576" y="13916"/>
                      <a:pt x="1036894" y="23631"/>
                      <a:pt x="1036894" y="25790"/>
                    </a:cubicBezTo>
                    <a:lnTo>
                      <a:pt x="1038554" y="26330"/>
                    </a:lnTo>
                    <a:cubicBezTo>
                      <a:pt x="1040766" y="21472"/>
                      <a:pt x="1045744" y="7439"/>
                      <a:pt x="1052934" y="10138"/>
                    </a:cubicBezTo>
                    <a:cubicBezTo>
                      <a:pt x="1053487" y="10678"/>
                      <a:pt x="1055146" y="11757"/>
                      <a:pt x="1055700" y="12837"/>
                    </a:cubicBezTo>
                    <a:lnTo>
                      <a:pt x="1054593" y="14456"/>
                    </a:lnTo>
                    <a:lnTo>
                      <a:pt x="1052381" y="15535"/>
                    </a:lnTo>
                    <a:lnTo>
                      <a:pt x="1051275" y="17154"/>
                    </a:lnTo>
                    <a:lnTo>
                      <a:pt x="1052381" y="18774"/>
                    </a:lnTo>
                    <a:cubicBezTo>
                      <a:pt x="1054593" y="19313"/>
                      <a:pt x="1059018" y="18234"/>
                      <a:pt x="1061230" y="17154"/>
                    </a:cubicBezTo>
                    <a:lnTo>
                      <a:pt x="1063443" y="17694"/>
                    </a:lnTo>
                    <a:lnTo>
                      <a:pt x="1063443" y="19313"/>
                    </a:lnTo>
                    <a:cubicBezTo>
                      <a:pt x="1059018" y="23091"/>
                      <a:pt x="1057912" y="19313"/>
                      <a:pt x="1054040" y="26869"/>
                    </a:cubicBezTo>
                    <a:lnTo>
                      <a:pt x="1054593" y="27949"/>
                    </a:lnTo>
                    <a:cubicBezTo>
                      <a:pt x="1061230" y="31727"/>
                      <a:pt x="1064549" y="24171"/>
                      <a:pt x="1069527" y="22552"/>
                    </a:cubicBezTo>
                    <a:cubicBezTo>
                      <a:pt x="1070633" y="22552"/>
                      <a:pt x="1076717" y="22552"/>
                      <a:pt x="1077823" y="23091"/>
                    </a:cubicBezTo>
                    <a:cubicBezTo>
                      <a:pt x="1080589" y="24710"/>
                      <a:pt x="1086120" y="39283"/>
                      <a:pt x="1093863" y="28489"/>
                    </a:cubicBezTo>
                    <a:cubicBezTo>
                      <a:pt x="1098288" y="27409"/>
                      <a:pt x="1102712" y="34426"/>
                      <a:pt x="1103265" y="38204"/>
                    </a:cubicBezTo>
                    <a:cubicBezTo>
                      <a:pt x="1104372" y="47379"/>
                      <a:pt x="1089991" y="47919"/>
                      <a:pt x="1085567" y="53316"/>
                    </a:cubicBezTo>
                    <a:cubicBezTo>
                      <a:pt x="1080036" y="59793"/>
                      <a:pt x="1079483" y="70047"/>
                      <a:pt x="1073952" y="76524"/>
                    </a:cubicBezTo>
                    <a:cubicBezTo>
                      <a:pt x="1068421" y="84080"/>
                      <a:pt x="1020302" y="85699"/>
                      <a:pt x="1016430" y="88398"/>
                    </a:cubicBezTo>
                    <a:lnTo>
                      <a:pt x="1015877" y="90017"/>
                    </a:lnTo>
                    <a:cubicBezTo>
                      <a:pt x="1019195" y="92716"/>
                      <a:pt x="1045744" y="98113"/>
                      <a:pt x="1051275" y="98653"/>
                    </a:cubicBezTo>
                    <a:cubicBezTo>
                      <a:pt x="1055700" y="98653"/>
                      <a:pt x="1061784" y="95414"/>
                      <a:pt x="1065102" y="95954"/>
                    </a:cubicBezTo>
                    <a:cubicBezTo>
                      <a:pt x="1070080" y="95954"/>
                      <a:pt x="1066761" y="100272"/>
                      <a:pt x="1066761" y="101891"/>
                    </a:cubicBezTo>
                    <a:cubicBezTo>
                      <a:pt x="1066761" y="105669"/>
                      <a:pt x="1070080" y="106209"/>
                      <a:pt x="1071186" y="108368"/>
                    </a:cubicBezTo>
                    <a:cubicBezTo>
                      <a:pt x="1071186" y="108368"/>
                      <a:pt x="1072845" y="118622"/>
                      <a:pt x="1072845" y="119162"/>
                    </a:cubicBezTo>
                    <a:cubicBezTo>
                      <a:pt x="1072845" y="119702"/>
                      <a:pt x="1071739" y="121861"/>
                      <a:pt x="1072292" y="122400"/>
                    </a:cubicBezTo>
                    <a:cubicBezTo>
                      <a:pt x="1072292" y="123480"/>
                      <a:pt x="1075058" y="124020"/>
                      <a:pt x="1076164" y="124020"/>
                    </a:cubicBezTo>
                    <a:cubicBezTo>
                      <a:pt x="1078929" y="124020"/>
                      <a:pt x="1081142" y="121321"/>
                      <a:pt x="1083907" y="120781"/>
                    </a:cubicBezTo>
                    <a:cubicBezTo>
                      <a:pt x="1086673" y="120242"/>
                      <a:pt x="1095522" y="119702"/>
                      <a:pt x="1097181" y="117003"/>
                    </a:cubicBezTo>
                    <a:cubicBezTo>
                      <a:pt x="1099394" y="112685"/>
                      <a:pt x="1089438" y="105669"/>
                      <a:pt x="1093863" y="100272"/>
                    </a:cubicBezTo>
                    <a:cubicBezTo>
                      <a:pt x="1100500" y="105129"/>
                      <a:pt x="1098841" y="109987"/>
                      <a:pt x="1103819" y="113765"/>
                    </a:cubicBezTo>
                    <a:cubicBezTo>
                      <a:pt x="1104372" y="114305"/>
                      <a:pt x="1106584" y="115384"/>
                      <a:pt x="1107137" y="114844"/>
                    </a:cubicBezTo>
                    <a:cubicBezTo>
                      <a:pt x="1107690" y="113765"/>
                      <a:pt x="1103265" y="104590"/>
                      <a:pt x="1109903" y="100272"/>
                    </a:cubicBezTo>
                    <a:cubicBezTo>
                      <a:pt x="1112115" y="100811"/>
                      <a:pt x="1116540" y="103510"/>
                      <a:pt x="1118752" y="102970"/>
                    </a:cubicBezTo>
                    <a:cubicBezTo>
                      <a:pt x="1121518" y="102970"/>
                      <a:pt x="1123730" y="99192"/>
                      <a:pt x="1127048" y="98653"/>
                    </a:cubicBezTo>
                    <a:lnTo>
                      <a:pt x="1128155" y="118622"/>
                    </a:lnTo>
                    <a:lnTo>
                      <a:pt x="1125942" y="129417"/>
                    </a:lnTo>
                    <a:lnTo>
                      <a:pt x="1119858" y="132655"/>
                    </a:lnTo>
                    <a:lnTo>
                      <a:pt x="1110456" y="130496"/>
                    </a:lnTo>
                    <a:close/>
                    <a:moveTo>
                      <a:pt x="852715" y="28489"/>
                    </a:moveTo>
                    <a:cubicBezTo>
                      <a:pt x="851609" y="26869"/>
                      <a:pt x="851609" y="25790"/>
                      <a:pt x="852162" y="24171"/>
                    </a:cubicBezTo>
                    <a:cubicBezTo>
                      <a:pt x="854927" y="18774"/>
                      <a:pt x="858799" y="23631"/>
                      <a:pt x="862117" y="24171"/>
                    </a:cubicBezTo>
                    <a:cubicBezTo>
                      <a:pt x="862670" y="24710"/>
                      <a:pt x="864883" y="24710"/>
                      <a:pt x="864883" y="24171"/>
                    </a:cubicBezTo>
                    <a:cubicBezTo>
                      <a:pt x="867095" y="22012"/>
                      <a:pt x="857693" y="16075"/>
                      <a:pt x="858246" y="15535"/>
                    </a:cubicBezTo>
                    <a:cubicBezTo>
                      <a:pt x="858799" y="14995"/>
                      <a:pt x="862117" y="14456"/>
                      <a:pt x="863777" y="14456"/>
                    </a:cubicBezTo>
                    <a:cubicBezTo>
                      <a:pt x="865989" y="14456"/>
                      <a:pt x="871520" y="14456"/>
                      <a:pt x="873179" y="14995"/>
                    </a:cubicBezTo>
                    <a:cubicBezTo>
                      <a:pt x="874285" y="16075"/>
                      <a:pt x="874285" y="20932"/>
                      <a:pt x="875945" y="22012"/>
                    </a:cubicBezTo>
                    <a:cubicBezTo>
                      <a:pt x="876498" y="22552"/>
                      <a:pt x="880369" y="22012"/>
                      <a:pt x="881476" y="22552"/>
                    </a:cubicBezTo>
                    <a:cubicBezTo>
                      <a:pt x="883688" y="25790"/>
                      <a:pt x="880369" y="26869"/>
                      <a:pt x="878710" y="29028"/>
                    </a:cubicBezTo>
                    <a:cubicBezTo>
                      <a:pt x="877604" y="30108"/>
                      <a:pt x="877051" y="32267"/>
                      <a:pt x="875945" y="33346"/>
                    </a:cubicBezTo>
                    <a:cubicBezTo>
                      <a:pt x="874838" y="34965"/>
                      <a:pt x="870414" y="37664"/>
                      <a:pt x="868754" y="38204"/>
                    </a:cubicBezTo>
                    <a:cubicBezTo>
                      <a:pt x="865989" y="38743"/>
                      <a:pt x="862117" y="35505"/>
                      <a:pt x="861011" y="33346"/>
                    </a:cubicBezTo>
                    <a:cubicBezTo>
                      <a:pt x="860458" y="32267"/>
                      <a:pt x="861011" y="30647"/>
                      <a:pt x="860458" y="30647"/>
                    </a:cubicBezTo>
                    <a:cubicBezTo>
                      <a:pt x="859352" y="29568"/>
                      <a:pt x="854374" y="29028"/>
                      <a:pt x="852715" y="28489"/>
                    </a:cubicBezTo>
                    <a:close/>
                    <a:moveTo>
                      <a:pt x="780813" y="122400"/>
                    </a:moveTo>
                    <a:lnTo>
                      <a:pt x="779707" y="121321"/>
                    </a:lnTo>
                    <a:cubicBezTo>
                      <a:pt x="779707" y="112146"/>
                      <a:pt x="785791" y="112146"/>
                      <a:pt x="789662" y="106209"/>
                    </a:cubicBezTo>
                    <a:cubicBezTo>
                      <a:pt x="790768" y="104050"/>
                      <a:pt x="791875" y="98653"/>
                      <a:pt x="792981" y="97573"/>
                    </a:cubicBezTo>
                    <a:cubicBezTo>
                      <a:pt x="794087" y="97033"/>
                      <a:pt x="797406" y="97573"/>
                      <a:pt x="797959" y="98653"/>
                    </a:cubicBezTo>
                    <a:cubicBezTo>
                      <a:pt x="799065" y="99732"/>
                      <a:pt x="801830" y="106748"/>
                      <a:pt x="802383" y="108907"/>
                    </a:cubicBezTo>
                    <a:cubicBezTo>
                      <a:pt x="803490" y="113765"/>
                      <a:pt x="800171" y="121321"/>
                      <a:pt x="799065" y="125639"/>
                    </a:cubicBezTo>
                    <a:cubicBezTo>
                      <a:pt x="799065" y="126178"/>
                      <a:pt x="799065" y="128877"/>
                      <a:pt x="798512" y="129417"/>
                    </a:cubicBezTo>
                    <a:cubicBezTo>
                      <a:pt x="797406" y="130496"/>
                      <a:pt x="795746" y="131576"/>
                      <a:pt x="794640" y="130496"/>
                    </a:cubicBezTo>
                    <a:cubicBezTo>
                      <a:pt x="793534" y="129957"/>
                      <a:pt x="793534" y="127258"/>
                      <a:pt x="792981" y="126718"/>
                    </a:cubicBezTo>
                    <a:cubicBezTo>
                      <a:pt x="790215" y="124020"/>
                      <a:pt x="784684" y="124020"/>
                      <a:pt x="780813" y="122400"/>
                    </a:cubicBezTo>
                    <a:close/>
                    <a:moveTo>
                      <a:pt x="744862" y="117543"/>
                    </a:moveTo>
                    <a:cubicBezTo>
                      <a:pt x="745415" y="117003"/>
                      <a:pt x="746521" y="116463"/>
                      <a:pt x="747074" y="115384"/>
                    </a:cubicBezTo>
                    <a:cubicBezTo>
                      <a:pt x="747074" y="114844"/>
                      <a:pt x="748180" y="110527"/>
                      <a:pt x="748180" y="110527"/>
                    </a:cubicBezTo>
                    <a:cubicBezTo>
                      <a:pt x="746521" y="106748"/>
                      <a:pt x="736565" y="110527"/>
                      <a:pt x="737672" y="104590"/>
                    </a:cubicBezTo>
                    <a:cubicBezTo>
                      <a:pt x="737672" y="101891"/>
                      <a:pt x="740990" y="102431"/>
                      <a:pt x="742649" y="101351"/>
                    </a:cubicBezTo>
                    <a:cubicBezTo>
                      <a:pt x="745968" y="99732"/>
                      <a:pt x="745968" y="94875"/>
                      <a:pt x="750393" y="94875"/>
                    </a:cubicBezTo>
                    <a:cubicBezTo>
                      <a:pt x="753711" y="94875"/>
                      <a:pt x="758136" y="97033"/>
                      <a:pt x="761455" y="95414"/>
                    </a:cubicBezTo>
                    <a:cubicBezTo>
                      <a:pt x="762008" y="95414"/>
                      <a:pt x="762561" y="94335"/>
                      <a:pt x="763114" y="93795"/>
                    </a:cubicBezTo>
                    <a:cubicBezTo>
                      <a:pt x="764220" y="92176"/>
                      <a:pt x="765879" y="91096"/>
                      <a:pt x="765879" y="88938"/>
                    </a:cubicBezTo>
                    <a:cubicBezTo>
                      <a:pt x="765879" y="87858"/>
                      <a:pt x="763667" y="85699"/>
                      <a:pt x="764773" y="84080"/>
                    </a:cubicBezTo>
                    <a:cubicBezTo>
                      <a:pt x="766432" y="81381"/>
                      <a:pt x="773623" y="85699"/>
                      <a:pt x="776388" y="84620"/>
                    </a:cubicBezTo>
                    <a:cubicBezTo>
                      <a:pt x="780260" y="82461"/>
                      <a:pt x="778047" y="72746"/>
                      <a:pt x="783025" y="70587"/>
                    </a:cubicBezTo>
                    <a:cubicBezTo>
                      <a:pt x="784684" y="71127"/>
                      <a:pt x="787450" y="73825"/>
                      <a:pt x="787450" y="75444"/>
                    </a:cubicBezTo>
                    <a:cubicBezTo>
                      <a:pt x="787450" y="80302"/>
                      <a:pt x="775835" y="102431"/>
                      <a:pt x="773623" y="105669"/>
                    </a:cubicBezTo>
                    <a:cubicBezTo>
                      <a:pt x="770857" y="109987"/>
                      <a:pt x="758689" y="112146"/>
                      <a:pt x="753711" y="113765"/>
                    </a:cubicBezTo>
                    <a:cubicBezTo>
                      <a:pt x="749840" y="115384"/>
                      <a:pt x="748733" y="120781"/>
                      <a:pt x="745968" y="119162"/>
                    </a:cubicBezTo>
                    <a:lnTo>
                      <a:pt x="744862" y="117543"/>
                    </a:lnTo>
                    <a:close/>
                    <a:moveTo>
                      <a:pt x="654708" y="198501"/>
                    </a:moveTo>
                    <a:cubicBezTo>
                      <a:pt x="654708" y="201740"/>
                      <a:pt x="654155" y="208216"/>
                      <a:pt x="652495" y="210375"/>
                    </a:cubicBezTo>
                    <a:cubicBezTo>
                      <a:pt x="650836" y="213074"/>
                      <a:pt x="640327" y="222249"/>
                      <a:pt x="637562" y="223329"/>
                    </a:cubicBezTo>
                    <a:cubicBezTo>
                      <a:pt x="634797" y="224408"/>
                      <a:pt x="624841" y="215233"/>
                      <a:pt x="623735" y="213074"/>
                    </a:cubicBezTo>
                    <a:cubicBezTo>
                      <a:pt x="622075" y="210375"/>
                      <a:pt x="625947" y="208216"/>
                      <a:pt x="627606" y="205518"/>
                    </a:cubicBezTo>
                    <a:cubicBezTo>
                      <a:pt x="628712" y="202819"/>
                      <a:pt x="628712" y="199041"/>
                      <a:pt x="630925" y="196343"/>
                    </a:cubicBezTo>
                    <a:cubicBezTo>
                      <a:pt x="633137" y="193104"/>
                      <a:pt x="640881" y="191485"/>
                      <a:pt x="644752" y="193104"/>
                    </a:cubicBezTo>
                    <a:cubicBezTo>
                      <a:pt x="645858" y="193644"/>
                      <a:pt x="646965" y="195803"/>
                      <a:pt x="648071" y="196343"/>
                    </a:cubicBezTo>
                    <a:cubicBezTo>
                      <a:pt x="649730" y="197422"/>
                      <a:pt x="652495" y="197422"/>
                      <a:pt x="654708" y="198501"/>
                    </a:cubicBezTo>
                    <a:close/>
                    <a:moveTo>
                      <a:pt x="613779" y="227107"/>
                    </a:moveTo>
                    <a:cubicBezTo>
                      <a:pt x="614332" y="226567"/>
                      <a:pt x="615438" y="226567"/>
                      <a:pt x="615991" y="226567"/>
                    </a:cubicBezTo>
                    <a:cubicBezTo>
                      <a:pt x="616544" y="226567"/>
                      <a:pt x="617098" y="227107"/>
                      <a:pt x="618204" y="227107"/>
                    </a:cubicBezTo>
                    <a:cubicBezTo>
                      <a:pt x="619863" y="228186"/>
                      <a:pt x="625394" y="229266"/>
                      <a:pt x="626500" y="230345"/>
                    </a:cubicBezTo>
                    <a:cubicBezTo>
                      <a:pt x="627606" y="230885"/>
                      <a:pt x="629266" y="234123"/>
                      <a:pt x="629819" y="235203"/>
                    </a:cubicBezTo>
                    <a:cubicBezTo>
                      <a:pt x="630925" y="238981"/>
                      <a:pt x="626500" y="247077"/>
                      <a:pt x="624288" y="250315"/>
                    </a:cubicBezTo>
                    <a:cubicBezTo>
                      <a:pt x="621522" y="253013"/>
                      <a:pt x="617098" y="253553"/>
                      <a:pt x="615438" y="256252"/>
                    </a:cubicBezTo>
                    <a:cubicBezTo>
                      <a:pt x="613779" y="256792"/>
                      <a:pt x="607695" y="256792"/>
                      <a:pt x="606036" y="256792"/>
                    </a:cubicBezTo>
                    <a:lnTo>
                      <a:pt x="603823" y="254633"/>
                    </a:lnTo>
                    <a:cubicBezTo>
                      <a:pt x="602717" y="250315"/>
                      <a:pt x="607695" y="249775"/>
                      <a:pt x="608801" y="247077"/>
                    </a:cubicBezTo>
                    <a:cubicBezTo>
                      <a:pt x="609354" y="244378"/>
                      <a:pt x="605483" y="240600"/>
                      <a:pt x="608801" y="238981"/>
                    </a:cubicBezTo>
                    <a:cubicBezTo>
                      <a:pt x="611014" y="237361"/>
                      <a:pt x="617651" y="237901"/>
                      <a:pt x="618204" y="234663"/>
                    </a:cubicBezTo>
                    <a:cubicBezTo>
                      <a:pt x="618757" y="230885"/>
                      <a:pt x="613779" y="231425"/>
                      <a:pt x="613779" y="227107"/>
                    </a:cubicBezTo>
                    <a:close/>
                    <a:moveTo>
                      <a:pt x="555151" y="320479"/>
                    </a:moveTo>
                    <a:cubicBezTo>
                      <a:pt x="555151" y="311843"/>
                      <a:pt x="561235" y="317241"/>
                      <a:pt x="564001" y="312383"/>
                    </a:cubicBezTo>
                    <a:cubicBezTo>
                      <a:pt x="565107" y="310764"/>
                      <a:pt x="566766" y="305367"/>
                      <a:pt x="566213" y="303747"/>
                    </a:cubicBezTo>
                    <a:cubicBezTo>
                      <a:pt x="565660" y="302668"/>
                      <a:pt x="561788" y="301049"/>
                      <a:pt x="561235" y="299969"/>
                    </a:cubicBezTo>
                    <a:cubicBezTo>
                      <a:pt x="560682" y="298350"/>
                      <a:pt x="561235" y="293493"/>
                      <a:pt x="561235" y="291874"/>
                    </a:cubicBezTo>
                    <a:cubicBezTo>
                      <a:pt x="560682" y="290254"/>
                      <a:pt x="557364" y="287016"/>
                      <a:pt x="557364" y="285937"/>
                    </a:cubicBezTo>
                    <a:cubicBezTo>
                      <a:pt x="557364" y="284857"/>
                      <a:pt x="557364" y="284317"/>
                      <a:pt x="557917" y="283778"/>
                    </a:cubicBezTo>
                    <a:cubicBezTo>
                      <a:pt x="560682" y="280000"/>
                      <a:pt x="567872" y="280000"/>
                      <a:pt x="570085" y="278380"/>
                    </a:cubicBezTo>
                    <a:cubicBezTo>
                      <a:pt x="572850" y="276222"/>
                      <a:pt x="567319" y="270285"/>
                      <a:pt x="571744" y="267586"/>
                    </a:cubicBezTo>
                    <a:cubicBezTo>
                      <a:pt x="572850" y="266507"/>
                      <a:pt x="579487" y="265967"/>
                      <a:pt x="581700" y="264887"/>
                    </a:cubicBezTo>
                    <a:cubicBezTo>
                      <a:pt x="583912" y="263808"/>
                      <a:pt x="586124" y="262189"/>
                      <a:pt x="588337" y="261109"/>
                    </a:cubicBezTo>
                    <a:cubicBezTo>
                      <a:pt x="594974" y="258411"/>
                      <a:pt x="593868" y="271364"/>
                      <a:pt x="595527" y="275142"/>
                    </a:cubicBezTo>
                    <a:cubicBezTo>
                      <a:pt x="596633" y="277841"/>
                      <a:pt x="601058" y="278380"/>
                      <a:pt x="601058" y="282159"/>
                    </a:cubicBezTo>
                    <a:cubicBezTo>
                      <a:pt x="601058" y="285397"/>
                      <a:pt x="598846" y="296731"/>
                      <a:pt x="597186" y="299430"/>
                    </a:cubicBezTo>
                    <a:cubicBezTo>
                      <a:pt x="596080" y="301589"/>
                      <a:pt x="590549" y="302128"/>
                      <a:pt x="588890" y="303747"/>
                    </a:cubicBezTo>
                    <a:cubicBezTo>
                      <a:pt x="588337" y="303747"/>
                      <a:pt x="587784" y="304287"/>
                      <a:pt x="587231" y="304827"/>
                    </a:cubicBezTo>
                    <a:cubicBezTo>
                      <a:pt x="585571" y="305906"/>
                      <a:pt x="581147" y="305367"/>
                      <a:pt x="579487" y="306986"/>
                    </a:cubicBezTo>
                    <a:cubicBezTo>
                      <a:pt x="576722" y="309684"/>
                      <a:pt x="573403" y="319399"/>
                      <a:pt x="571191" y="321558"/>
                    </a:cubicBezTo>
                    <a:cubicBezTo>
                      <a:pt x="570085" y="322638"/>
                      <a:pt x="566213" y="321558"/>
                      <a:pt x="565107" y="321558"/>
                    </a:cubicBezTo>
                    <a:cubicBezTo>
                      <a:pt x="562341" y="321558"/>
                      <a:pt x="556811" y="323717"/>
                      <a:pt x="555151" y="320479"/>
                    </a:cubicBezTo>
                    <a:close/>
                    <a:moveTo>
                      <a:pt x="499289" y="337210"/>
                    </a:moveTo>
                    <a:cubicBezTo>
                      <a:pt x="499289" y="335591"/>
                      <a:pt x="499842" y="333972"/>
                      <a:pt x="500395" y="332353"/>
                    </a:cubicBezTo>
                    <a:cubicBezTo>
                      <a:pt x="501501" y="328575"/>
                      <a:pt x="513116" y="305906"/>
                      <a:pt x="514222" y="304287"/>
                    </a:cubicBezTo>
                    <a:cubicBezTo>
                      <a:pt x="515329" y="303208"/>
                      <a:pt x="518647" y="303208"/>
                      <a:pt x="519753" y="303747"/>
                    </a:cubicBezTo>
                    <a:cubicBezTo>
                      <a:pt x="521413" y="304827"/>
                      <a:pt x="521413" y="312383"/>
                      <a:pt x="521413" y="314002"/>
                    </a:cubicBezTo>
                    <a:cubicBezTo>
                      <a:pt x="519753" y="318860"/>
                      <a:pt x="512010" y="331813"/>
                      <a:pt x="508692" y="336131"/>
                    </a:cubicBezTo>
                    <a:cubicBezTo>
                      <a:pt x="507585" y="337210"/>
                      <a:pt x="505926" y="338290"/>
                      <a:pt x="504820" y="339369"/>
                    </a:cubicBezTo>
                    <a:cubicBezTo>
                      <a:pt x="503161" y="341528"/>
                      <a:pt x="504267" y="343147"/>
                      <a:pt x="503161" y="344766"/>
                    </a:cubicBezTo>
                    <a:cubicBezTo>
                      <a:pt x="503161" y="345306"/>
                      <a:pt x="502054" y="345846"/>
                      <a:pt x="501501" y="345846"/>
                    </a:cubicBezTo>
                    <a:cubicBezTo>
                      <a:pt x="498736" y="345846"/>
                      <a:pt x="498736" y="339369"/>
                      <a:pt x="499289" y="337210"/>
                    </a:cubicBezTo>
                    <a:close/>
                    <a:moveTo>
                      <a:pt x="489886" y="355021"/>
                    </a:moveTo>
                    <a:cubicBezTo>
                      <a:pt x="489886" y="355561"/>
                      <a:pt x="489333" y="357180"/>
                      <a:pt x="489886" y="357720"/>
                    </a:cubicBezTo>
                    <a:cubicBezTo>
                      <a:pt x="490993" y="360958"/>
                      <a:pt x="496523" y="365276"/>
                      <a:pt x="497630" y="369054"/>
                    </a:cubicBezTo>
                    <a:cubicBezTo>
                      <a:pt x="498183" y="371213"/>
                      <a:pt x="495970" y="378229"/>
                      <a:pt x="494311" y="380388"/>
                    </a:cubicBezTo>
                    <a:cubicBezTo>
                      <a:pt x="493205" y="382547"/>
                      <a:pt x="486568" y="387944"/>
                      <a:pt x="484355" y="389024"/>
                    </a:cubicBezTo>
                    <a:cubicBezTo>
                      <a:pt x="483802" y="389563"/>
                      <a:pt x="481590" y="389024"/>
                      <a:pt x="481037" y="388484"/>
                    </a:cubicBezTo>
                    <a:cubicBezTo>
                      <a:pt x="480484" y="388484"/>
                      <a:pt x="479378" y="387405"/>
                      <a:pt x="479378" y="386865"/>
                    </a:cubicBezTo>
                    <a:cubicBezTo>
                      <a:pt x="479378" y="385785"/>
                      <a:pt x="481590" y="378229"/>
                      <a:pt x="482143" y="377690"/>
                    </a:cubicBezTo>
                    <a:cubicBezTo>
                      <a:pt x="482696" y="376610"/>
                      <a:pt x="484355" y="376070"/>
                      <a:pt x="484909" y="374991"/>
                    </a:cubicBezTo>
                    <a:cubicBezTo>
                      <a:pt x="485462" y="373372"/>
                      <a:pt x="484355" y="372292"/>
                      <a:pt x="483249" y="372292"/>
                    </a:cubicBezTo>
                    <a:cubicBezTo>
                      <a:pt x="481037" y="372292"/>
                      <a:pt x="469975" y="378769"/>
                      <a:pt x="467210" y="379848"/>
                    </a:cubicBezTo>
                    <a:cubicBezTo>
                      <a:pt x="466657" y="380388"/>
                      <a:pt x="466103" y="381468"/>
                      <a:pt x="464997" y="382007"/>
                    </a:cubicBezTo>
                    <a:lnTo>
                      <a:pt x="462232" y="382007"/>
                    </a:lnTo>
                    <a:cubicBezTo>
                      <a:pt x="461679" y="382007"/>
                      <a:pt x="459466" y="381468"/>
                      <a:pt x="459466" y="380928"/>
                    </a:cubicBezTo>
                    <a:cubicBezTo>
                      <a:pt x="458913" y="377690"/>
                      <a:pt x="462785" y="370133"/>
                      <a:pt x="462785" y="366355"/>
                    </a:cubicBezTo>
                    <a:cubicBezTo>
                      <a:pt x="463338" y="365276"/>
                      <a:pt x="461679" y="364196"/>
                      <a:pt x="463338" y="363117"/>
                    </a:cubicBezTo>
                    <a:cubicBezTo>
                      <a:pt x="464997" y="361498"/>
                      <a:pt x="470528" y="363657"/>
                      <a:pt x="473294" y="363117"/>
                    </a:cubicBezTo>
                    <a:cubicBezTo>
                      <a:pt x="474953" y="362577"/>
                      <a:pt x="479378" y="359339"/>
                      <a:pt x="480484" y="358260"/>
                    </a:cubicBezTo>
                    <a:cubicBezTo>
                      <a:pt x="485462" y="352862"/>
                      <a:pt x="474953" y="344766"/>
                      <a:pt x="478825" y="340988"/>
                    </a:cubicBezTo>
                    <a:cubicBezTo>
                      <a:pt x="481590" y="338829"/>
                      <a:pt x="488227" y="343687"/>
                      <a:pt x="489886" y="345846"/>
                    </a:cubicBezTo>
                    <a:cubicBezTo>
                      <a:pt x="491546" y="349084"/>
                      <a:pt x="490439" y="351783"/>
                      <a:pt x="489886" y="355021"/>
                    </a:cubicBezTo>
                    <a:close/>
                    <a:moveTo>
                      <a:pt x="512010" y="397120"/>
                    </a:moveTo>
                    <a:cubicBezTo>
                      <a:pt x="508138" y="394421"/>
                      <a:pt x="504267" y="401437"/>
                      <a:pt x="502608" y="403596"/>
                    </a:cubicBezTo>
                    <a:cubicBezTo>
                      <a:pt x="501501" y="405215"/>
                      <a:pt x="500948" y="406835"/>
                      <a:pt x="499842" y="407914"/>
                    </a:cubicBezTo>
                    <a:cubicBezTo>
                      <a:pt x="498736" y="410073"/>
                      <a:pt x="497630" y="416010"/>
                      <a:pt x="495417" y="417089"/>
                    </a:cubicBezTo>
                    <a:cubicBezTo>
                      <a:pt x="495417" y="417629"/>
                      <a:pt x="493205" y="417629"/>
                      <a:pt x="492652" y="417629"/>
                    </a:cubicBezTo>
                    <a:cubicBezTo>
                      <a:pt x="490993" y="416010"/>
                      <a:pt x="493205" y="409533"/>
                      <a:pt x="494311" y="407914"/>
                    </a:cubicBezTo>
                    <a:cubicBezTo>
                      <a:pt x="494864" y="406295"/>
                      <a:pt x="495417" y="405215"/>
                      <a:pt x="496523" y="403596"/>
                    </a:cubicBezTo>
                    <a:cubicBezTo>
                      <a:pt x="497077" y="402517"/>
                      <a:pt x="497077" y="400898"/>
                      <a:pt x="498183" y="399278"/>
                    </a:cubicBezTo>
                    <a:cubicBezTo>
                      <a:pt x="498183" y="398199"/>
                      <a:pt x="499289" y="397659"/>
                      <a:pt x="499289" y="396580"/>
                    </a:cubicBezTo>
                    <a:cubicBezTo>
                      <a:pt x="503161" y="387405"/>
                      <a:pt x="509245" y="367975"/>
                      <a:pt x="509798" y="358260"/>
                    </a:cubicBezTo>
                    <a:cubicBezTo>
                      <a:pt x="509798" y="357720"/>
                      <a:pt x="507585" y="352862"/>
                      <a:pt x="508138" y="349084"/>
                    </a:cubicBezTo>
                    <a:cubicBezTo>
                      <a:pt x="508138" y="346925"/>
                      <a:pt x="512563" y="344227"/>
                      <a:pt x="514776" y="343687"/>
                    </a:cubicBezTo>
                    <a:cubicBezTo>
                      <a:pt x="521413" y="341528"/>
                      <a:pt x="516435" y="355561"/>
                      <a:pt x="517541" y="358260"/>
                    </a:cubicBezTo>
                    <a:cubicBezTo>
                      <a:pt x="517541" y="359879"/>
                      <a:pt x="522519" y="360418"/>
                      <a:pt x="523072" y="364196"/>
                    </a:cubicBezTo>
                    <a:cubicBezTo>
                      <a:pt x="523072" y="366355"/>
                      <a:pt x="520860" y="371213"/>
                      <a:pt x="520860" y="373372"/>
                    </a:cubicBezTo>
                    <a:cubicBezTo>
                      <a:pt x="521413" y="373911"/>
                      <a:pt x="522519" y="374991"/>
                      <a:pt x="523072" y="374991"/>
                    </a:cubicBezTo>
                    <a:cubicBezTo>
                      <a:pt x="524178" y="374991"/>
                      <a:pt x="526944" y="373372"/>
                      <a:pt x="527497" y="372832"/>
                    </a:cubicBezTo>
                    <a:cubicBezTo>
                      <a:pt x="534134" y="366355"/>
                      <a:pt x="523625" y="359879"/>
                      <a:pt x="531921" y="352862"/>
                    </a:cubicBezTo>
                    <a:cubicBezTo>
                      <a:pt x="533028" y="351783"/>
                      <a:pt x="537452" y="348005"/>
                      <a:pt x="539112" y="347465"/>
                    </a:cubicBezTo>
                    <a:cubicBezTo>
                      <a:pt x="539665" y="347465"/>
                      <a:pt x="542983" y="348005"/>
                      <a:pt x="543536" y="348544"/>
                    </a:cubicBezTo>
                    <a:cubicBezTo>
                      <a:pt x="544643" y="350164"/>
                      <a:pt x="546855" y="357180"/>
                      <a:pt x="546855" y="359339"/>
                    </a:cubicBezTo>
                    <a:cubicBezTo>
                      <a:pt x="547408" y="362038"/>
                      <a:pt x="547961" y="370673"/>
                      <a:pt x="547408" y="373372"/>
                    </a:cubicBezTo>
                    <a:cubicBezTo>
                      <a:pt x="547408" y="374451"/>
                      <a:pt x="545749" y="377150"/>
                      <a:pt x="544643" y="378229"/>
                    </a:cubicBezTo>
                    <a:cubicBezTo>
                      <a:pt x="542430" y="379848"/>
                      <a:pt x="537452" y="381468"/>
                      <a:pt x="535793" y="383627"/>
                    </a:cubicBezTo>
                    <a:cubicBezTo>
                      <a:pt x="534687" y="384706"/>
                      <a:pt x="533581" y="389563"/>
                      <a:pt x="533028" y="391183"/>
                    </a:cubicBezTo>
                    <a:cubicBezTo>
                      <a:pt x="532474" y="392802"/>
                      <a:pt x="531368" y="404136"/>
                      <a:pt x="527497" y="402517"/>
                    </a:cubicBezTo>
                    <a:cubicBezTo>
                      <a:pt x="524731" y="401437"/>
                      <a:pt x="528603" y="393881"/>
                      <a:pt x="525284" y="393342"/>
                    </a:cubicBezTo>
                    <a:cubicBezTo>
                      <a:pt x="521966" y="394961"/>
                      <a:pt x="521413" y="408454"/>
                      <a:pt x="518094" y="412772"/>
                    </a:cubicBezTo>
                    <a:cubicBezTo>
                      <a:pt x="516435" y="413851"/>
                      <a:pt x="508138" y="414930"/>
                      <a:pt x="508138" y="412232"/>
                    </a:cubicBezTo>
                    <a:cubicBezTo>
                      <a:pt x="508692" y="411152"/>
                      <a:pt x="513116" y="403596"/>
                      <a:pt x="513669" y="401437"/>
                    </a:cubicBezTo>
                    <a:cubicBezTo>
                      <a:pt x="513669" y="400358"/>
                      <a:pt x="512563" y="398199"/>
                      <a:pt x="512010" y="397120"/>
                    </a:cubicBezTo>
                    <a:close/>
                    <a:moveTo>
                      <a:pt x="212787" y="992974"/>
                    </a:moveTo>
                    <a:lnTo>
                      <a:pt x="212787" y="991895"/>
                    </a:lnTo>
                    <a:cubicBezTo>
                      <a:pt x="212234" y="989736"/>
                      <a:pt x="208916" y="985958"/>
                      <a:pt x="210575" y="984878"/>
                    </a:cubicBezTo>
                    <a:cubicBezTo>
                      <a:pt x="212787" y="982719"/>
                      <a:pt x="220531" y="982719"/>
                      <a:pt x="223296" y="983259"/>
                    </a:cubicBezTo>
                    <a:cubicBezTo>
                      <a:pt x="223849" y="983259"/>
                      <a:pt x="224402" y="984878"/>
                      <a:pt x="224955" y="985418"/>
                    </a:cubicBezTo>
                    <a:cubicBezTo>
                      <a:pt x="227721" y="985958"/>
                      <a:pt x="235464" y="983799"/>
                      <a:pt x="237676" y="985958"/>
                    </a:cubicBezTo>
                    <a:cubicBezTo>
                      <a:pt x="239336" y="987577"/>
                      <a:pt x="236017" y="991355"/>
                      <a:pt x="235464" y="991895"/>
                    </a:cubicBezTo>
                    <a:cubicBezTo>
                      <a:pt x="234358" y="992974"/>
                      <a:pt x="232699" y="992974"/>
                      <a:pt x="232145" y="994054"/>
                    </a:cubicBezTo>
                    <a:cubicBezTo>
                      <a:pt x="229933" y="995673"/>
                      <a:pt x="229380" y="998371"/>
                      <a:pt x="227168" y="999451"/>
                    </a:cubicBezTo>
                    <a:cubicBezTo>
                      <a:pt x="226061" y="1000530"/>
                      <a:pt x="223296" y="1000530"/>
                      <a:pt x="221637" y="1001070"/>
                    </a:cubicBezTo>
                    <a:cubicBezTo>
                      <a:pt x="216659" y="1003229"/>
                      <a:pt x="211681" y="1007547"/>
                      <a:pt x="206150" y="1006467"/>
                    </a:cubicBezTo>
                    <a:cubicBezTo>
                      <a:pt x="204491" y="1006467"/>
                      <a:pt x="195641" y="1003769"/>
                      <a:pt x="195088" y="1003229"/>
                    </a:cubicBezTo>
                    <a:cubicBezTo>
                      <a:pt x="194535" y="1002689"/>
                      <a:pt x="194535" y="1001610"/>
                      <a:pt x="195088" y="1001070"/>
                    </a:cubicBezTo>
                    <a:lnTo>
                      <a:pt x="199513" y="996752"/>
                    </a:lnTo>
                    <a:cubicBezTo>
                      <a:pt x="203938" y="995133"/>
                      <a:pt x="208363" y="994593"/>
                      <a:pt x="212787" y="992974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0" name="Freeform 1062">
                <a:extLst>
                  <a:ext uri="{FF2B5EF4-FFF2-40B4-BE49-F238E27FC236}">
                    <a16:creationId xmlns:a16="http://schemas.microsoft.com/office/drawing/2014/main" id="{E12478D2-A110-4A1B-83CE-41413525DF53}"/>
                  </a:ext>
                </a:extLst>
              </p:cNvPr>
              <p:cNvSpPr/>
              <p:nvPr/>
            </p:nvSpPr>
            <p:spPr>
              <a:xfrm>
                <a:off x="5855411" y="3517979"/>
                <a:ext cx="295904" cy="318976"/>
              </a:xfrm>
              <a:custGeom>
                <a:avLst/>
                <a:gdLst>
                  <a:gd name="connsiteX0" fmla="*/ 63525 w 295904"/>
                  <a:gd name="connsiteY0" fmla="*/ 232309 h 318976"/>
                  <a:gd name="connsiteX1" fmla="*/ 50804 w 295904"/>
                  <a:gd name="connsiteY1" fmla="*/ 229611 h 318976"/>
                  <a:gd name="connsiteX2" fmla="*/ 44167 w 295904"/>
                  <a:gd name="connsiteY2" fmla="*/ 232849 h 318976"/>
                  <a:gd name="connsiteX3" fmla="*/ 38636 w 295904"/>
                  <a:gd name="connsiteY3" fmla="*/ 231770 h 318976"/>
                  <a:gd name="connsiteX4" fmla="*/ 35317 w 295904"/>
                  <a:gd name="connsiteY4" fmla="*/ 229611 h 318976"/>
                  <a:gd name="connsiteX5" fmla="*/ 19831 w 295904"/>
                  <a:gd name="connsiteY5" fmla="*/ 224753 h 318976"/>
                  <a:gd name="connsiteX6" fmla="*/ 18724 w 295904"/>
                  <a:gd name="connsiteY6" fmla="*/ 213959 h 318976"/>
                  <a:gd name="connsiteX7" fmla="*/ 40295 w 295904"/>
                  <a:gd name="connsiteY7" fmla="*/ 213419 h 318976"/>
                  <a:gd name="connsiteX8" fmla="*/ 43614 w 295904"/>
                  <a:gd name="connsiteY8" fmla="*/ 219896 h 318976"/>
                  <a:gd name="connsiteX9" fmla="*/ 59653 w 295904"/>
                  <a:gd name="connsiteY9" fmla="*/ 225293 h 318976"/>
                  <a:gd name="connsiteX10" fmla="*/ 62972 w 295904"/>
                  <a:gd name="connsiteY10" fmla="*/ 229611 h 318976"/>
                  <a:gd name="connsiteX11" fmla="*/ 63525 w 295904"/>
                  <a:gd name="connsiteY11" fmla="*/ 232309 h 318976"/>
                  <a:gd name="connsiteX12" fmla="*/ 180780 w 295904"/>
                  <a:gd name="connsiteY12" fmla="*/ 312728 h 318976"/>
                  <a:gd name="connsiteX13" fmla="*/ 186864 w 295904"/>
                  <a:gd name="connsiteY13" fmla="*/ 272789 h 318976"/>
                  <a:gd name="connsiteX14" fmla="*/ 187418 w 295904"/>
                  <a:gd name="connsiteY14" fmla="*/ 268471 h 318976"/>
                  <a:gd name="connsiteX15" fmla="*/ 175803 w 295904"/>
                  <a:gd name="connsiteY15" fmla="*/ 263074 h 318976"/>
                  <a:gd name="connsiteX16" fmla="*/ 174143 w 295904"/>
                  <a:gd name="connsiteY16" fmla="*/ 258756 h 318976"/>
                  <a:gd name="connsiteX17" fmla="*/ 170272 w 295904"/>
                  <a:gd name="connsiteY17" fmla="*/ 251739 h 318976"/>
                  <a:gd name="connsiteX18" fmla="*/ 151467 w 295904"/>
                  <a:gd name="connsiteY18" fmla="*/ 256597 h 318976"/>
                  <a:gd name="connsiteX19" fmla="*/ 147042 w 295904"/>
                  <a:gd name="connsiteY19" fmla="*/ 256057 h 318976"/>
                  <a:gd name="connsiteX20" fmla="*/ 137086 w 295904"/>
                  <a:gd name="connsiteY20" fmla="*/ 243104 h 318976"/>
                  <a:gd name="connsiteX21" fmla="*/ 119940 w 295904"/>
                  <a:gd name="connsiteY21" fmla="*/ 238786 h 318976"/>
                  <a:gd name="connsiteX22" fmla="*/ 115516 w 295904"/>
                  <a:gd name="connsiteY22" fmla="*/ 233389 h 318976"/>
                  <a:gd name="connsiteX23" fmla="*/ 103901 w 295904"/>
                  <a:gd name="connsiteY23" fmla="*/ 235548 h 318976"/>
                  <a:gd name="connsiteX24" fmla="*/ 96710 w 295904"/>
                  <a:gd name="connsiteY24" fmla="*/ 232309 h 318976"/>
                  <a:gd name="connsiteX25" fmla="*/ 85649 w 295904"/>
                  <a:gd name="connsiteY25" fmla="*/ 233389 h 318976"/>
                  <a:gd name="connsiteX26" fmla="*/ 86755 w 295904"/>
                  <a:gd name="connsiteY26" fmla="*/ 254978 h 318976"/>
                  <a:gd name="connsiteX27" fmla="*/ 77905 w 295904"/>
                  <a:gd name="connsiteY27" fmla="*/ 253359 h 318976"/>
                  <a:gd name="connsiteX28" fmla="*/ 43060 w 295904"/>
                  <a:gd name="connsiteY28" fmla="*/ 261454 h 318976"/>
                  <a:gd name="connsiteX29" fmla="*/ 32552 w 295904"/>
                  <a:gd name="connsiteY29" fmla="*/ 253359 h 318976"/>
                  <a:gd name="connsiteX30" fmla="*/ 22043 w 295904"/>
                  <a:gd name="connsiteY30" fmla="*/ 250120 h 318976"/>
                  <a:gd name="connsiteX31" fmla="*/ 16512 w 295904"/>
                  <a:gd name="connsiteY31" fmla="*/ 252279 h 318976"/>
                  <a:gd name="connsiteX32" fmla="*/ 10981 w 295904"/>
                  <a:gd name="connsiteY32" fmla="*/ 251200 h 318976"/>
                  <a:gd name="connsiteX33" fmla="*/ 7110 w 295904"/>
                  <a:gd name="connsiteY33" fmla="*/ 246342 h 318976"/>
                  <a:gd name="connsiteX34" fmla="*/ -634 w 295904"/>
                  <a:gd name="connsiteY34" fmla="*/ 236627 h 318976"/>
                  <a:gd name="connsiteX35" fmla="*/ 24255 w 295904"/>
                  <a:gd name="connsiteY35" fmla="*/ 235008 h 318976"/>
                  <a:gd name="connsiteX36" fmla="*/ 27021 w 295904"/>
                  <a:gd name="connsiteY36" fmla="*/ 238246 h 318976"/>
                  <a:gd name="connsiteX37" fmla="*/ 39742 w 295904"/>
                  <a:gd name="connsiteY37" fmla="*/ 243104 h 318976"/>
                  <a:gd name="connsiteX38" fmla="*/ 56335 w 295904"/>
                  <a:gd name="connsiteY38" fmla="*/ 238246 h 318976"/>
                  <a:gd name="connsiteX39" fmla="*/ 78458 w 295904"/>
                  <a:gd name="connsiteY39" fmla="*/ 252819 h 318976"/>
                  <a:gd name="connsiteX40" fmla="*/ 80118 w 295904"/>
                  <a:gd name="connsiteY40" fmla="*/ 250120 h 318976"/>
                  <a:gd name="connsiteX41" fmla="*/ 76246 w 295904"/>
                  <a:gd name="connsiteY41" fmla="*/ 238786 h 318976"/>
                  <a:gd name="connsiteX42" fmla="*/ 73481 w 295904"/>
                  <a:gd name="connsiteY42" fmla="*/ 233929 h 318976"/>
                  <a:gd name="connsiteX43" fmla="*/ 76799 w 295904"/>
                  <a:gd name="connsiteY43" fmla="*/ 227452 h 318976"/>
                  <a:gd name="connsiteX44" fmla="*/ 57994 w 295904"/>
                  <a:gd name="connsiteY44" fmla="*/ 217737 h 318976"/>
                  <a:gd name="connsiteX45" fmla="*/ 57441 w 295904"/>
                  <a:gd name="connsiteY45" fmla="*/ 215578 h 318976"/>
                  <a:gd name="connsiteX46" fmla="*/ 64078 w 295904"/>
                  <a:gd name="connsiteY46" fmla="*/ 215038 h 318976"/>
                  <a:gd name="connsiteX47" fmla="*/ 93392 w 295904"/>
                  <a:gd name="connsiteY47" fmla="*/ 202085 h 318976"/>
                  <a:gd name="connsiteX48" fmla="*/ 94498 w 295904"/>
                  <a:gd name="connsiteY48" fmla="*/ 199926 h 318976"/>
                  <a:gd name="connsiteX49" fmla="*/ 90626 w 295904"/>
                  <a:gd name="connsiteY49" fmla="*/ 195608 h 318976"/>
                  <a:gd name="connsiteX50" fmla="*/ 62419 w 295904"/>
                  <a:gd name="connsiteY50" fmla="*/ 183734 h 318976"/>
                  <a:gd name="connsiteX51" fmla="*/ 61866 w 295904"/>
                  <a:gd name="connsiteY51" fmla="*/ 167003 h 318976"/>
                  <a:gd name="connsiteX52" fmla="*/ 76799 w 295904"/>
                  <a:gd name="connsiteY52" fmla="*/ 160526 h 318976"/>
                  <a:gd name="connsiteX53" fmla="*/ 97264 w 295904"/>
                  <a:gd name="connsiteY53" fmla="*/ 127063 h 318976"/>
                  <a:gd name="connsiteX54" fmla="*/ 100582 w 295904"/>
                  <a:gd name="connsiteY54" fmla="*/ 122746 h 318976"/>
                  <a:gd name="connsiteX55" fmla="*/ 105560 w 295904"/>
                  <a:gd name="connsiteY55" fmla="*/ 108713 h 318976"/>
                  <a:gd name="connsiteX56" fmla="*/ 116622 w 295904"/>
                  <a:gd name="connsiteY56" fmla="*/ 59598 h 318976"/>
                  <a:gd name="connsiteX57" fmla="*/ 126024 w 295904"/>
                  <a:gd name="connsiteY57" fmla="*/ 62297 h 318976"/>
                  <a:gd name="connsiteX58" fmla="*/ 134874 w 295904"/>
                  <a:gd name="connsiteY58" fmla="*/ 58518 h 318976"/>
                  <a:gd name="connsiteX59" fmla="*/ 138745 w 295904"/>
                  <a:gd name="connsiteY59" fmla="*/ 70932 h 318976"/>
                  <a:gd name="connsiteX60" fmla="*/ 145936 w 295904"/>
                  <a:gd name="connsiteY60" fmla="*/ 74170 h 318976"/>
                  <a:gd name="connsiteX61" fmla="*/ 152020 w 295904"/>
                  <a:gd name="connsiteY61" fmla="*/ 80647 h 318976"/>
                  <a:gd name="connsiteX62" fmla="*/ 150913 w 295904"/>
                  <a:gd name="connsiteY62" fmla="*/ 88743 h 318976"/>
                  <a:gd name="connsiteX63" fmla="*/ 135427 w 295904"/>
                  <a:gd name="connsiteY63" fmla="*/ 96299 h 318976"/>
                  <a:gd name="connsiteX64" fmla="*/ 132661 w 295904"/>
                  <a:gd name="connsiteY64" fmla="*/ 109252 h 318976"/>
                  <a:gd name="connsiteX65" fmla="*/ 135427 w 295904"/>
                  <a:gd name="connsiteY65" fmla="*/ 118967 h 318976"/>
                  <a:gd name="connsiteX66" fmla="*/ 130449 w 295904"/>
                  <a:gd name="connsiteY66" fmla="*/ 127603 h 318976"/>
                  <a:gd name="connsiteX67" fmla="*/ 130449 w 295904"/>
                  <a:gd name="connsiteY67" fmla="*/ 130302 h 318976"/>
                  <a:gd name="connsiteX68" fmla="*/ 137086 w 295904"/>
                  <a:gd name="connsiteY68" fmla="*/ 137858 h 318976"/>
                  <a:gd name="connsiteX69" fmla="*/ 154232 w 295904"/>
                  <a:gd name="connsiteY69" fmla="*/ 142715 h 318976"/>
                  <a:gd name="connsiteX70" fmla="*/ 165847 w 295904"/>
                  <a:gd name="connsiteY70" fmla="*/ 142176 h 318976"/>
                  <a:gd name="connsiteX71" fmla="*/ 172484 w 295904"/>
                  <a:gd name="connsiteY71" fmla="*/ 139477 h 318976"/>
                  <a:gd name="connsiteX72" fmla="*/ 181334 w 295904"/>
                  <a:gd name="connsiteY72" fmla="*/ 128682 h 318976"/>
                  <a:gd name="connsiteX73" fmla="*/ 191842 w 295904"/>
                  <a:gd name="connsiteY73" fmla="*/ 118967 h 318976"/>
                  <a:gd name="connsiteX74" fmla="*/ 194055 w 295904"/>
                  <a:gd name="connsiteY74" fmla="*/ 111411 h 318976"/>
                  <a:gd name="connsiteX75" fmla="*/ 196820 w 295904"/>
                  <a:gd name="connsiteY75" fmla="*/ 103315 h 318976"/>
                  <a:gd name="connsiteX76" fmla="*/ 193502 w 295904"/>
                  <a:gd name="connsiteY76" fmla="*/ 97918 h 318976"/>
                  <a:gd name="connsiteX77" fmla="*/ 182440 w 295904"/>
                  <a:gd name="connsiteY77" fmla="*/ 88743 h 318976"/>
                  <a:gd name="connsiteX78" fmla="*/ 182993 w 295904"/>
                  <a:gd name="connsiteY78" fmla="*/ 70392 h 318976"/>
                  <a:gd name="connsiteX79" fmla="*/ 164188 w 295904"/>
                  <a:gd name="connsiteY79" fmla="*/ 64455 h 318976"/>
                  <a:gd name="connsiteX80" fmla="*/ 161422 w 295904"/>
                  <a:gd name="connsiteY80" fmla="*/ 45025 h 318976"/>
                  <a:gd name="connsiteX81" fmla="*/ 160869 w 295904"/>
                  <a:gd name="connsiteY81" fmla="*/ 41247 h 318976"/>
                  <a:gd name="connsiteX82" fmla="*/ 170272 w 295904"/>
                  <a:gd name="connsiteY82" fmla="*/ 28834 h 318976"/>
                  <a:gd name="connsiteX83" fmla="*/ 200139 w 295904"/>
                  <a:gd name="connsiteY83" fmla="*/ 7784 h 318976"/>
                  <a:gd name="connsiteX84" fmla="*/ 210647 w 295904"/>
                  <a:gd name="connsiteY84" fmla="*/ 5086 h 318976"/>
                  <a:gd name="connsiteX85" fmla="*/ 227240 w 295904"/>
                  <a:gd name="connsiteY85" fmla="*/ 8324 h 318976"/>
                  <a:gd name="connsiteX86" fmla="*/ 250470 w 295904"/>
                  <a:gd name="connsiteY86" fmla="*/ -311 h 318976"/>
                  <a:gd name="connsiteX87" fmla="*/ 265403 w 295904"/>
                  <a:gd name="connsiteY87" fmla="*/ 768 h 318976"/>
                  <a:gd name="connsiteX88" fmla="*/ 273700 w 295904"/>
                  <a:gd name="connsiteY88" fmla="*/ 14801 h 318976"/>
                  <a:gd name="connsiteX89" fmla="*/ 287527 w 295904"/>
                  <a:gd name="connsiteY89" fmla="*/ 23976 h 318976"/>
                  <a:gd name="connsiteX90" fmla="*/ 291399 w 295904"/>
                  <a:gd name="connsiteY90" fmla="*/ 24516 h 318976"/>
                  <a:gd name="connsiteX91" fmla="*/ 295270 w 295904"/>
                  <a:gd name="connsiteY91" fmla="*/ 54201 h 318976"/>
                  <a:gd name="connsiteX92" fmla="*/ 289740 w 295904"/>
                  <a:gd name="connsiteY92" fmla="*/ 66075 h 318976"/>
                  <a:gd name="connsiteX93" fmla="*/ 279231 w 295904"/>
                  <a:gd name="connsiteY93" fmla="*/ 99537 h 318976"/>
                  <a:gd name="connsiteX94" fmla="*/ 260979 w 295904"/>
                  <a:gd name="connsiteY94" fmla="*/ 95759 h 318976"/>
                  <a:gd name="connsiteX95" fmla="*/ 257107 w 295904"/>
                  <a:gd name="connsiteY95" fmla="*/ 117888 h 318976"/>
                  <a:gd name="connsiteX96" fmla="*/ 280890 w 295904"/>
                  <a:gd name="connsiteY96" fmla="*/ 122746 h 318976"/>
                  <a:gd name="connsiteX97" fmla="*/ 278678 w 295904"/>
                  <a:gd name="connsiteY97" fmla="*/ 143255 h 318976"/>
                  <a:gd name="connsiteX98" fmla="*/ 276465 w 295904"/>
                  <a:gd name="connsiteY98" fmla="*/ 148652 h 318976"/>
                  <a:gd name="connsiteX99" fmla="*/ 261532 w 295904"/>
                  <a:gd name="connsiteY99" fmla="*/ 160526 h 318976"/>
                  <a:gd name="connsiteX100" fmla="*/ 258213 w 295904"/>
                  <a:gd name="connsiteY100" fmla="*/ 165923 h 318976"/>
                  <a:gd name="connsiteX101" fmla="*/ 265957 w 295904"/>
                  <a:gd name="connsiteY101" fmla="*/ 172940 h 318976"/>
                  <a:gd name="connsiteX102" fmla="*/ 261532 w 295904"/>
                  <a:gd name="connsiteY102" fmla="*/ 185353 h 318976"/>
                  <a:gd name="connsiteX103" fmla="*/ 250470 w 295904"/>
                  <a:gd name="connsiteY103" fmla="*/ 183734 h 318976"/>
                  <a:gd name="connsiteX104" fmla="*/ 241621 w 295904"/>
                  <a:gd name="connsiteY104" fmla="*/ 187512 h 318976"/>
                  <a:gd name="connsiteX105" fmla="*/ 232218 w 295904"/>
                  <a:gd name="connsiteY105" fmla="*/ 191290 h 318976"/>
                  <a:gd name="connsiteX106" fmla="*/ 213413 w 295904"/>
                  <a:gd name="connsiteY106" fmla="*/ 184274 h 318976"/>
                  <a:gd name="connsiteX107" fmla="*/ 199586 w 295904"/>
                  <a:gd name="connsiteY107" fmla="*/ 197227 h 318976"/>
                  <a:gd name="connsiteX108" fmla="*/ 207882 w 295904"/>
                  <a:gd name="connsiteY108" fmla="*/ 198847 h 318976"/>
                  <a:gd name="connsiteX109" fmla="*/ 220603 w 295904"/>
                  <a:gd name="connsiteY109" fmla="*/ 242564 h 318976"/>
                  <a:gd name="connsiteX110" fmla="*/ 213966 w 295904"/>
                  <a:gd name="connsiteY110" fmla="*/ 265232 h 318976"/>
                  <a:gd name="connsiteX111" fmla="*/ 215072 w 295904"/>
                  <a:gd name="connsiteY111" fmla="*/ 275487 h 318976"/>
                  <a:gd name="connsiteX112" fmla="*/ 202351 w 295904"/>
                  <a:gd name="connsiteY112" fmla="*/ 284123 h 318976"/>
                  <a:gd name="connsiteX113" fmla="*/ 199032 w 295904"/>
                  <a:gd name="connsiteY113" fmla="*/ 292758 h 318976"/>
                  <a:gd name="connsiteX114" fmla="*/ 210094 w 295904"/>
                  <a:gd name="connsiteY114" fmla="*/ 297076 h 318976"/>
                  <a:gd name="connsiteX115" fmla="*/ 203457 w 295904"/>
                  <a:gd name="connsiteY115" fmla="*/ 318665 h 318976"/>
                  <a:gd name="connsiteX116" fmla="*/ 180780 w 295904"/>
                  <a:gd name="connsiteY116" fmla="*/ 312728 h 318976"/>
                  <a:gd name="connsiteX117" fmla="*/ 155338 w 295904"/>
                  <a:gd name="connsiteY117" fmla="*/ 111951 h 318976"/>
                  <a:gd name="connsiteX118" fmla="*/ 173037 w 295904"/>
                  <a:gd name="connsiteY118" fmla="*/ 102236 h 318976"/>
                  <a:gd name="connsiteX119" fmla="*/ 178568 w 295904"/>
                  <a:gd name="connsiteY119" fmla="*/ 103315 h 318976"/>
                  <a:gd name="connsiteX120" fmla="*/ 180780 w 295904"/>
                  <a:gd name="connsiteY120" fmla="*/ 113031 h 318976"/>
                  <a:gd name="connsiteX121" fmla="*/ 170825 w 295904"/>
                  <a:gd name="connsiteY121" fmla="*/ 123825 h 318976"/>
                  <a:gd name="connsiteX122" fmla="*/ 150360 w 295904"/>
                  <a:gd name="connsiteY122" fmla="*/ 118967 h 318976"/>
                  <a:gd name="connsiteX123" fmla="*/ 155338 w 295904"/>
                  <a:gd name="connsiteY123" fmla="*/ 111951 h 318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295904" h="318976">
                    <a:moveTo>
                      <a:pt x="63525" y="232309"/>
                    </a:moveTo>
                    <a:cubicBezTo>
                      <a:pt x="62419" y="232309"/>
                      <a:pt x="53569" y="229071"/>
                      <a:pt x="50804" y="229611"/>
                    </a:cubicBezTo>
                    <a:cubicBezTo>
                      <a:pt x="49145" y="229611"/>
                      <a:pt x="46379" y="232309"/>
                      <a:pt x="44167" y="232849"/>
                    </a:cubicBezTo>
                    <a:cubicBezTo>
                      <a:pt x="43060" y="232849"/>
                      <a:pt x="39742" y="232309"/>
                      <a:pt x="38636" y="231770"/>
                    </a:cubicBezTo>
                    <a:cubicBezTo>
                      <a:pt x="37530" y="231770"/>
                      <a:pt x="36423" y="230150"/>
                      <a:pt x="35317" y="229611"/>
                    </a:cubicBezTo>
                    <a:cubicBezTo>
                      <a:pt x="30339" y="227452"/>
                      <a:pt x="24255" y="226912"/>
                      <a:pt x="19831" y="224753"/>
                    </a:cubicBezTo>
                    <a:cubicBezTo>
                      <a:pt x="15959" y="222594"/>
                      <a:pt x="13194" y="216657"/>
                      <a:pt x="18724" y="213959"/>
                    </a:cubicBezTo>
                    <a:cubicBezTo>
                      <a:pt x="23702" y="211800"/>
                      <a:pt x="35870" y="209101"/>
                      <a:pt x="40295" y="213419"/>
                    </a:cubicBezTo>
                    <a:cubicBezTo>
                      <a:pt x="41401" y="214498"/>
                      <a:pt x="41954" y="218816"/>
                      <a:pt x="43614" y="219896"/>
                    </a:cubicBezTo>
                    <a:cubicBezTo>
                      <a:pt x="46932" y="222594"/>
                      <a:pt x="54675" y="220975"/>
                      <a:pt x="59653" y="225293"/>
                    </a:cubicBezTo>
                    <a:cubicBezTo>
                      <a:pt x="60759" y="226372"/>
                      <a:pt x="62419" y="228531"/>
                      <a:pt x="62972" y="229611"/>
                    </a:cubicBezTo>
                    <a:cubicBezTo>
                      <a:pt x="62972" y="229611"/>
                      <a:pt x="64078" y="231770"/>
                      <a:pt x="63525" y="232309"/>
                    </a:cubicBezTo>
                    <a:close/>
                    <a:moveTo>
                      <a:pt x="180780" y="312728"/>
                    </a:moveTo>
                    <a:cubicBezTo>
                      <a:pt x="180780" y="305172"/>
                      <a:pt x="181334" y="277106"/>
                      <a:pt x="186864" y="272789"/>
                    </a:cubicBezTo>
                    <a:lnTo>
                      <a:pt x="187418" y="268471"/>
                    </a:lnTo>
                    <a:lnTo>
                      <a:pt x="175803" y="263074"/>
                    </a:lnTo>
                    <a:lnTo>
                      <a:pt x="174143" y="258756"/>
                    </a:lnTo>
                    <a:lnTo>
                      <a:pt x="170272" y="251739"/>
                    </a:lnTo>
                    <a:lnTo>
                      <a:pt x="151467" y="256597"/>
                    </a:lnTo>
                    <a:lnTo>
                      <a:pt x="147042" y="256057"/>
                    </a:lnTo>
                    <a:lnTo>
                      <a:pt x="137086" y="243104"/>
                    </a:lnTo>
                    <a:lnTo>
                      <a:pt x="119940" y="238786"/>
                    </a:lnTo>
                    <a:lnTo>
                      <a:pt x="115516" y="233389"/>
                    </a:lnTo>
                    <a:lnTo>
                      <a:pt x="103901" y="235548"/>
                    </a:lnTo>
                    <a:lnTo>
                      <a:pt x="96710" y="232309"/>
                    </a:lnTo>
                    <a:lnTo>
                      <a:pt x="85649" y="233389"/>
                    </a:lnTo>
                    <a:lnTo>
                      <a:pt x="86755" y="254978"/>
                    </a:lnTo>
                    <a:lnTo>
                      <a:pt x="77905" y="253359"/>
                    </a:lnTo>
                    <a:lnTo>
                      <a:pt x="43060" y="261454"/>
                    </a:lnTo>
                    <a:lnTo>
                      <a:pt x="32552" y="253359"/>
                    </a:lnTo>
                    <a:lnTo>
                      <a:pt x="22043" y="250120"/>
                    </a:lnTo>
                    <a:lnTo>
                      <a:pt x="16512" y="252279"/>
                    </a:lnTo>
                    <a:lnTo>
                      <a:pt x="10981" y="251200"/>
                    </a:lnTo>
                    <a:lnTo>
                      <a:pt x="7110" y="246342"/>
                    </a:lnTo>
                    <a:lnTo>
                      <a:pt x="-634" y="236627"/>
                    </a:lnTo>
                    <a:cubicBezTo>
                      <a:pt x="2132" y="236627"/>
                      <a:pt x="21490" y="233389"/>
                      <a:pt x="24255" y="235008"/>
                    </a:cubicBezTo>
                    <a:cubicBezTo>
                      <a:pt x="25362" y="235548"/>
                      <a:pt x="25915" y="237167"/>
                      <a:pt x="27021" y="238246"/>
                    </a:cubicBezTo>
                    <a:cubicBezTo>
                      <a:pt x="28680" y="239326"/>
                      <a:pt x="37530" y="242564"/>
                      <a:pt x="39742" y="243104"/>
                    </a:cubicBezTo>
                    <a:cubicBezTo>
                      <a:pt x="45273" y="244723"/>
                      <a:pt x="49698" y="237707"/>
                      <a:pt x="56335" y="238246"/>
                    </a:cubicBezTo>
                    <a:cubicBezTo>
                      <a:pt x="66843" y="239326"/>
                      <a:pt x="67397" y="256057"/>
                      <a:pt x="78458" y="252819"/>
                    </a:cubicBezTo>
                    <a:cubicBezTo>
                      <a:pt x="79011" y="252279"/>
                      <a:pt x="80118" y="251200"/>
                      <a:pt x="80118" y="250120"/>
                    </a:cubicBezTo>
                    <a:cubicBezTo>
                      <a:pt x="80118" y="249041"/>
                      <a:pt x="76799" y="240405"/>
                      <a:pt x="76246" y="238786"/>
                    </a:cubicBezTo>
                    <a:cubicBezTo>
                      <a:pt x="75693" y="237707"/>
                      <a:pt x="73481" y="235008"/>
                      <a:pt x="73481" y="233929"/>
                    </a:cubicBezTo>
                    <a:cubicBezTo>
                      <a:pt x="74034" y="231770"/>
                      <a:pt x="79011" y="230690"/>
                      <a:pt x="76799" y="227452"/>
                    </a:cubicBezTo>
                    <a:cubicBezTo>
                      <a:pt x="74587" y="222594"/>
                      <a:pt x="60759" y="220435"/>
                      <a:pt x="57994" y="217737"/>
                    </a:cubicBezTo>
                    <a:cubicBezTo>
                      <a:pt x="57994" y="217737"/>
                      <a:pt x="57441" y="216118"/>
                      <a:pt x="57441" y="215578"/>
                    </a:cubicBezTo>
                    <a:cubicBezTo>
                      <a:pt x="58547" y="214498"/>
                      <a:pt x="62972" y="215038"/>
                      <a:pt x="64078" y="215038"/>
                    </a:cubicBezTo>
                    <a:cubicBezTo>
                      <a:pt x="69609" y="213419"/>
                      <a:pt x="88967" y="204783"/>
                      <a:pt x="93392" y="202085"/>
                    </a:cubicBezTo>
                    <a:cubicBezTo>
                      <a:pt x="93945" y="201545"/>
                      <a:pt x="93945" y="200466"/>
                      <a:pt x="94498" y="199926"/>
                    </a:cubicBezTo>
                    <a:cubicBezTo>
                      <a:pt x="93392" y="198307"/>
                      <a:pt x="91733" y="196148"/>
                      <a:pt x="90626" y="195608"/>
                    </a:cubicBezTo>
                    <a:cubicBezTo>
                      <a:pt x="85649" y="192370"/>
                      <a:pt x="65184" y="186433"/>
                      <a:pt x="62419" y="183734"/>
                    </a:cubicBezTo>
                    <a:cubicBezTo>
                      <a:pt x="60206" y="182115"/>
                      <a:pt x="61866" y="169701"/>
                      <a:pt x="61866" y="167003"/>
                    </a:cubicBezTo>
                    <a:cubicBezTo>
                      <a:pt x="66290" y="164844"/>
                      <a:pt x="72927" y="163225"/>
                      <a:pt x="76799" y="160526"/>
                    </a:cubicBezTo>
                    <a:cubicBezTo>
                      <a:pt x="80118" y="158367"/>
                      <a:pt x="94498" y="132461"/>
                      <a:pt x="97264" y="127063"/>
                    </a:cubicBezTo>
                    <a:cubicBezTo>
                      <a:pt x="98370" y="125444"/>
                      <a:pt x="98923" y="123825"/>
                      <a:pt x="100582" y="122746"/>
                    </a:cubicBezTo>
                    <a:cubicBezTo>
                      <a:pt x="102794" y="118428"/>
                      <a:pt x="104454" y="113570"/>
                      <a:pt x="105560" y="108713"/>
                    </a:cubicBezTo>
                    <a:cubicBezTo>
                      <a:pt x="107772" y="101157"/>
                      <a:pt x="114962" y="62836"/>
                      <a:pt x="116622" y="59598"/>
                    </a:cubicBezTo>
                    <a:cubicBezTo>
                      <a:pt x="117728" y="56899"/>
                      <a:pt x="121600" y="62836"/>
                      <a:pt x="126024" y="62297"/>
                    </a:cubicBezTo>
                    <a:cubicBezTo>
                      <a:pt x="127684" y="61757"/>
                      <a:pt x="133214" y="57979"/>
                      <a:pt x="134874" y="58518"/>
                    </a:cubicBezTo>
                    <a:cubicBezTo>
                      <a:pt x="137086" y="59598"/>
                      <a:pt x="133768" y="67154"/>
                      <a:pt x="138745" y="70932"/>
                    </a:cubicBezTo>
                    <a:cubicBezTo>
                      <a:pt x="140405" y="72551"/>
                      <a:pt x="143723" y="72551"/>
                      <a:pt x="145936" y="74170"/>
                    </a:cubicBezTo>
                    <a:cubicBezTo>
                      <a:pt x="147595" y="75250"/>
                      <a:pt x="151467" y="79028"/>
                      <a:pt x="152020" y="80647"/>
                    </a:cubicBezTo>
                    <a:cubicBezTo>
                      <a:pt x="152573" y="82266"/>
                      <a:pt x="152020" y="87664"/>
                      <a:pt x="150913" y="88743"/>
                    </a:cubicBezTo>
                    <a:cubicBezTo>
                      <a:pt x="147595" y="91981"/>
                      <a:pt x="139299" y="93600"/>
                      <a:pt x="135427" y="96299"/>
                    </a:cubicBezTo>
                    <a:cubicBezTo>
                      <a:pt x="133214" y="98458"/>
                      <a:pt x="132108" y="106014"/>
                      <a:pt x="132661" y="109252"/>
                    </a:cubicBezTo>
                    <a:cubicBezTo>
                      <a:pt x="132661" y="111411"/>
                      <a:pt x="135427" y="116809"/>
                      <a:pt x="135427" y="118967"/>
                    </a:cubicBezTo>
                    <a:cubicBezTo>
                      <a:pt x="134874" y="122206"/>
                      <a:pt x="131555" y="124904"/>
                      <a:pt x="130449" y="127603"/>
                    </a:cubicBezTo>
                    <a:cubicBezTo>
                      <a:pt x="129896" y="128143"/>
                      <a:pt x="130449" y="129222"/>
                      <a:pt x="130449" y="130302"/>
                    </a:cubicBezTo>
                    <a:cubicBezTo>
                      <a:pt x="130449" y="131921"/>
                      <a:pt x="135427" y="136778"/>
                      <a:pt x="137086" y="137858"/>
                    </a:cubicBezTo>
                    <a:cubicBezTo>
                      <a:pt x="140405" y="138937"/>
                      <a:pt x="150913" y="142176"/>
                      <a:pt x="154232" y="142715"/>
                    </a:cubicBezTo>
                    <a:cubicBezTo>
                      <a:pt x="156444" y="143255"/>
                      <a:pt x="163635" y="142715"/>
                      <a:pt x="165847" y="142176"/>
                    </a:cubicBezTo>
                    <a:cubicBezTo>
                      <a:pt x="166953" y="141636"/>
                      <a:pt x="171378" y="140017"/>
                      <a:pt x="172484" y="139477"/>
                    </a:cubicBezTo>
                    <a:cubicBezTo>
                      <a:pt x="174696" y="137318"/>
                      <a:pt x="179674" y="130302"/>
                      <a:pt x="181334" y="128682"/>
                    </a:cubicBezTo>
                    <a:cubicBezTo>
                      <a:pt x="183546" y="126524"/>
                      <a:pt x="190183" y="121126"/>
                      <a:pt x="191842" y="118967"/>
                    </a:cubicBezTo>
                    <a:cubicBezTo>
                      <a:pt x="192395" y="117348"/>
                      <a:pt x="194055" y="113031"/>
                      <a:pt x="194055" y="111411"/>
                    </a:cubicBezTo>
                    <a:cubicBezTo>
                      <a:pt x="195161" y="109792"/>
                      <a:pt x="196820" y="104935"/>
                      <a:pt x="196820" y="103315"/>
                    </a:cubicBezTo>
                    <a:cubicBezTo>
                      <a:pt x="196820" y="102236"/>
                      <a:pt x="194608" y="98998"/>
                      <a:pt x="193502" y="97918"/>
                    </a:cubicBezTo>
                    <a:cubicBezTo>
                      <a:pt x="191842" y="94140"/>
                      <a:pt x="184099" y="92521"/>
                      <a:pt x="182440" y="88743"/>
                    </a:cubicBezTo>
                    <a:cubicBezTo>
                      <a:pt x="181334" y="85505"/>
                      <a:pt x="182440" y="73631"/>
                      <a:pt x="182993" y="70392"/>
                    </a:cubicBezTo>
                    <a:cubicBezTo>
                      <a:pt x="179121" y="65535"/>
                      <a:pt x="168059" y="68233"/>
                      <a:pt x="164188" y="64455"/>
                    </a:cubicBezTo>
                    <a:cubicBezTo>
                      <a:pt x="160869" y="60677"/>
                      <a:pt x="165294" y="50423"/>
                      <a:pt x="161422" y="45025"/>
                    </a:cubicBezTo>
                    <a:cubicBezTo>
                      <a:pt x="160316" y="43946"/>
                      <a:pt x="160316" y="42327"/>
                      <a:pt x="160869" y="41247"/>
                    </a:cubicBezTo>
                    <a:cubicBezTo>
                      <a:pt x="161422" y="39628"/>
                      <a:pt x="168612" y="30453"/>
                      <a:pt x="170272" y="28834"/>
                    </a:cubicBezTo>
                    <a:cubicBezTo>
                      <a:pt x="175249" y="23976"/>
                      <a:pt x="194055" y="10483"/>
                      <a:pt x="200139" y="7784"/>
                    </a:cubicBezTo>
                    <a:cubicBezTo>
                      <a:pt x="202351" y="6705"/>
                      <a:pt x="208435" y="5086"/>
                      <a:pt x="210647" y="5086"/>
                    </a:cubicBezTo>
                    <a:cubicBezTo>
                      <a:pt x="215625" y="5086"/>
                      <a:pt x="222262" y="7245"/>
                      <a:pt x="227240" y="8324"/>
                    </a:cubicBezTo>
                    <a:cubicBezTo>
                      <a:pt x="233877" y="5086"/>
                      <a:pt x="242727" y="228"/>
                      <a:pt x="250470" y="-311"/>
                    </a:cubicBezTo>
                    <a:cubicBezTo>
                      <a:pt x="252682" y="-311"/>
                      <a:pt x="263744" y="228"/>
                      <a:pt x="265403" y="768"/>
                    </a:cubicBezTo>
                    <a:cubicBezTo>
                      <a:pt x="268169" y="1848"/>
                      <a:pt x="271488" y="11563"/>
                      <a:pt x="273700" y="14801"/>
                    </a:cubicBezTo>
                    <a:cubicBezTo>
                      <a:pt x="275359" y="16420"/>
                      <a:pt x="285315" y="23436"/>
                      <a:pt x="287527" y="23976"/>
                    </a:cubicBezTo>
                    <a:cubicBezTo>
                      <a:pt x="288080" y="24516"/>
                      <a:pt x="290293" y="24516"/>
                      <a:pt x="291399" y="24516"/>
                    </a:cubicBezTo>
                    <a:lnTo>
                      <a:pt x="295270" y="54201"/>
                    </a:lnTo>
                    <a:lnTo>
                      <a:pt x="289740" y="66075"/>
                    </a:lnTo>
                    <a:lnTo>
                      <a:pt x="279231" y="99537"/>
                    </a:lnTo>
                    <a:lnTo>
                      <a:pt x="260979" y="95759"/>
                    </a:lnTo>
                    <a:lnTo>
                      <a:pt x="257107" y="117888"/>
                    </a:lnTo>
                    <a:lnTo>
                      <a:pt x="280890" y="122746"/>
                    </a:lnTo>
                    <a:lnTo>
                      <a:pt x="278678" y="143255"/>
                    </a:lnTo>
                    <a:lnTo>
                      <a:pt x="276465" y="148652"/>
                    </a:lnTo>
                    <a:lnTo>
                      <a:pt x="261532" y="160526"/>
                    </a:lnTo>
                    <a:lnTo>
                      <a:pt x="258213" y="165923"/>
                    </a:lnTo>
                    <a:lnTo>
                      <a:pt x="265957" y="172940"/>
                    </a:lnTo>
                    <a:lnTo>
                      <a:pt x="261532" y="185353"/>
                    </a:lnTo>
                    <a:lnTo>
                      <a:pt x="250470" y="183734"/>
                    </a:lnTo>
                    <a:lnTo>
                      <a:pt x="241621" y="187512"/>
                    </a:lnTo>
                    <a:lnTo>
                      <a:pt x="232218" y="191290"/>
                    </a:lnTo>
                    <a:lnTo>
                      <a:pt x="213413" y="184274"/>
                    </a:lnTo>
                    <a:lnTo>
                      <a:pt x="199586" y="197227"/>
                    </a:lnTo>
                    <a:lnTo>
                      <a:pt x="207882" y="198847"/>
                    </a:lnTo>
                    <a:lnTo>
                      <a:pt x="220603" y="242564"/>
                    </a:lnTo>
                    <a:lnTo>
                      <a:pt x="213966" y="265232"/>
                    </a:lnTo>
                    <a:lnTo>
                      <a:pt x="215072" y="275487"/>
                    </a:lnTo>
                    <a:lnTo>
                      <a:pt x="202351" y="284123"/>
                    </a:lnTo>
                    <a:lnTo>
                      <a:pt x="199032" y="292758"/>
                    </a:lnTo>
                    <a:lnTo>
                      <a:pt x="210094" y="297076"/>
                    </a:lnTo>
                    <a:lnTo>
                      <a:pt x="203457" y="318665"/>
                    </a:lnTo>
                    <a:lnTo>
                      <a:pt x="180780" y="312728"/>
                    </a:lnTo>
                    <a:close/>
                    <a:moveTo>
                      <a:pt x="155338" y="111951"/>
                    </a:moveTo>
                    <a:cubicBezTo>
                      <a:pt x="157551" y="109792"/>
                      <a:pt x="169719" y="103315"/>
                      <a:pt x="173037" y="102236"/>
                    </a:cubicBezTo>
                    <a:cubicBezTo>
                      <a:pt x="174143" y="101696"/>
                      <a:pt x="177462" y="102776"/>
                      <a:pt x="178568" y="103315"/>
                    </a:cubicBezTo>
                    <a:cubicBezTo>
                      <a:pt x="181887" y="104935"/>
                      <a:pt x="182440" y="109792"/>
                      <a:pt x="180780" y="113031"/>
                    </a:cubicBezTo>
                    <a:cubicBezTo>
                      <a:pt x="179674" y="114650"/>
                      <a:pt x="172484" y="122206"/>
                      <a:pt x="170825" y="123825"/>
                    </a:cubicBezTo>
                    <a:cubicBezTo>
                      <a:pt x="164741" y="128143"/>
                      <a:pt x="148148" y="127603"/>
                      <a:pt x="150360" y="118967"/>
                    </a:cubicBezTo>
                    <a:cubicBezTo>
                      <a:pt x="150913" y="117348"/>
                      <a:pt x="153679" y="112491"/>
                      <a:pt x="155338" y="111951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1" name="Freeform 1063">
                <a:extLst>
                  <a:ext uri="{FF2B5EF4-FFF2-40B4-BE49-F238E27FC236}">
                    <a16:creationId xmlns:a16="http://schemas.microsoft.com/office/drawing/2014/main" id="{7068C154-EA3C-4A3D-910D-F44CE99116AA}"/>
                  </a:ext>
                </a:extLst>
              </p:cNvPr>
              <p:cNvSpPr/>
              <p:nvPr/>
            </p:nvSpPr>
            <p:spPr>
              <a:xfrm>
                <a:off x="6845445" y="5522512"/>
                <a:ext cx="38716" cy="30224"/>
              </a:xfrm>
              <a:custGeom>
                <a:avLst/>
                <a:gdLst>
                  <a:gd name="connsiteX0" fmla="*/ -741 w 38716"/>
                  <a:gd name="connsiteY0" fmla="*/ -550 h 30224"/>
                  <a:gd name="connsiteX1" fmla="*/ 2024 w 38716"/>
                  <a:gd name="connsiteY1" fmla="*/ 5927 h 30224"/>
                  <a:gd name="connsiteX2" fmla="*/ 8661 w 38716"/>
                  <a:gd name="connsiteY2" fmla="*/ 3229 h 30224"/>
                  <a:gd name="connsiteX3" fmla="*/ -741 w 38716"/>
                  <a:gd name="connsiteY3" fmla="*/ -550 h 30224"/>
                  <a:gd name="connsiteX4" fmla="*/ 13639 w 38716"/>
                  <a:gd name="connsiteY4" fmla="*/ 17801 h 30224"/>
                  <a:gd name="connsiteX5" fmla="*/ 23595 w 38716"/>
                  <a:gd name="connsiteY5" fmla="*/ 22659 h 30224"/>
                  <a:gd name="connsiteX6" fmla="*/ 31891 w 38716"/>
                  <a:gd name="connsiteY6" fmla="*/ 29675 h 30224"/>
                  <a:gd name="connsiteX7" fmla="*/ 37975 w 38716"/>
                  <a:gd name="connsiteY7" fmla="*/ 22659 h 30224"/>
                  <a:gd name="connsiteX8" fmla="*/ 34103 w 38716"/>
                  <a:gd name="connsiteY8" fmla="*/ 11324 h 30224"/>
                  <a:gd name="connsiteX9" fmla="*/ 26360 w 38716"/>
                  <a:gd name="connsiteY9" fmla="*/ 5387 h 30224"/>
                  <a:gd name="connsiteX10" fmla="*/ 18064 w 38716"/>
                  <a:gd name="connsiteY10" fmla="*/ 3229 h 30224"/>
                  <a:gd name="connsiteX11" fmla="*/ 10320 w 38716"/>
                  <a:gd name="connsiteY11" fmla="*/ 8626 h 30224"/>
                  <a:gd name="connsiteX12" fmla="*/ 13639 w 38716"/>
                  <a:gd name="connsiteY12" fmla="*/ 17801 h 30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716" h="30224">
                    <a:moveTo>
                      <a:pt x="-741" y="-550"/>
                    </a:moveTo>
                    <a:lnTo>
                      <a:pt x="2024" y="5927"/>
                    </a:lnTo>
                    <a:lnTo>
                      <a:pt x="8661" y="3229"/>
                    </a:lnTo>
                    <a:lnTo>
                      <a:pt x="-741" y="-550"/>
                    </a:lnTo>
                    <a:close/>
                    <a:moveTo>
                      <a:pt x="13639" y="17801"/>
                    </a:moveTo>
                    <a:lnTo>
                      <a:pt x="23595" y="22659"/>
                    </a:lnTo>
                    <a:lnTo>
                      <a:pt x="31891" y="29675"/>
                    </a:lnTo>
                    <a:lnTo>
                      <a:pt x="37975" y="22659"/>
                    </a:lnTo>
                    <a:lnTo>
                      <a:pt x="34103" y="11324"/>
                    </a:lnTo>
                    <a:lnTo>
                      <a:pt x="26360" y="5387"/>
                    </a:lnTo>
                    <a:lnTo>
                      <a:pt x="18064" y="3229"/>
                    </a:lnTo>
                    <a:lnTo>
                      <a:pt x="10320" y="8626"/>
                    </a:lnTo>
                    <a:lnTo>
                      <a:pt x="13639" y="17801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2" name="Freeform 1064">
                <a:extLst>
                  <a:ext uri="{FF2B5EF4-FFF2-40B4-BE49-F238E27FC236}">
                    <a16:creationId xmlns:a16="http://schemas.microsoft.com/office/drawing/2014/main" id="{06D3D22C-B643-49BE-BD98-8626F3C4C1FE}"/>
                  </a:ext>
                </a:extLst>
              </p:cNvPr>
              <p:cNvSpPr/>
              <p:nvPr/>
            </p:nvSpPr>
            <p:spPr>
              <a:xfrm>
                <a:off x="7342675" y="4708609"/>
                <a:ext cx="226767" cy="198078"/>
              </a:xfrm>
              <a:custGeom>
                <a:avLst/>
                <a:gdLst>
                  <a:gd name="connsiteX0" fmla="*/ 225952 w 226767"/>
                  <a:gd name="connsiteY0" fmla="*/ 109647 h 198078"/>
                  <a:gd name="connsiteX1" fmla="*/ 206594 w 226767"/>
                  <a:gd name="connsiteY1" fmla="*/ 115045 h 198078"/>
                  <a:gd name="connsiteX2" fmla="*/ 206041 w 226767"/>
                  <a:gd name="connsiteY2" fmla="*/ 131236 h 198078"/>
                  <a:gd name="connsiteX3" fmla="*/ 176174 w 226767"/>
                  <a:gd name="connsiteY3" fmla="*/ 144730 h 198078"/>
                  <a:gd name="connsiteX4" fmla="*/ 143542 w 226767"/>
                  <a:gd name="connsiteY4" fmla="*/ 145809 h 198078"/>
                  <a:gd name="connsiteX5" fmla="*/ 124184 w 226767"/>
                  <a:gd name="connsiteY5" fmla="*/ 176033 h 198078"/>
                  <a:gd name="connsiteX6" fmla="*/ 108144 w 226767"/>
                  <a:gd name="connsiteY6" fmla="*/ 185748 h 198078"/>
                  <a:gd name="connsiteX7" fmla="*/ 89892 w 226767"/>
                  <a:gd name="connsiteY7" fmla="*/ 186288 h 198078"/>
                  <a:gd name="connsiteX8" fmla="*/ 57259 w 226767"/>
                  <a:gd name="connsiteY8" fmla="*/ 197622 h 198078"/>
                  <a:gd name="connsiteX9" fmla="*/ 48963 w 226767"/>
                  <a:gd name="connsiteY9" fmla="*/ 191146 h 198078"/>
                  <a:gd name="connsiteX10" fmla="*/ 40667 w 226767"/>
                  <a:gd name="connsiteY10" fmla="*/ 190606 h 198078"/>
                  <a:gd name="connsiteX11" fmla="*/ 31264 w 226767"/>
                  <a:gd name="connsiteY11" fmla="*/ 176573 h 198078"/>
                  <a:gd name="connsiteX12" fmla="*/ 25733 w 226767"/>
                  <a:gd name="connsiteY12" fmla="*/ 178192 h 198078"/>
                  <a:gd name="connsiteX13" fmla="*/ 14671 w 226767"/>
                  <a:gd name="connsiteY13" fmla="*/ 169557 h 198078"/>
                  <a:gd name="connsiteX14" fmla="*/ 4163 w 226767"/>
                  <a:gd name="connsiteY14" fmla="*/ 146349 h 198078"/>
                  <a:gd name="connsiteX15" fmla="*/ 10247 w 226767"/>
                  <a:gd name="connsiteY15" fmla="*/ 131236 h 198078"/>
                  <a:gd name="connsiteX16" fmla="*/ -815 w 226767"/>
                  <a:gd name="connsiteY16" fmla="*/ 94535 h 198078"/>
                  <a:gd name="connsiteX17" fmla="*/ 8034 w 226767"/>
                  <a:gd name="connsiteY17" fmla="*/ 95075 h 198078"/>
                  <a:gd name="connsiteX18" fmla="*/ 22415 w 226767"/>
                  <a:gd name="connsiteY18" fmla="*/ 90757 h 198078"/>
                  <a:gd name="connsiteX19" fmla="*/ 32923 w 226767"/>
                  <a:gd name="connsiteY19" fmla="*/ 85900 h 198078"/>
                  <a:gd name="connsiteX20" fmla="*/ 47304 w 226767"/>
                  <a:gd name="connsiteY20" fmla="*/ 49198 h 198078"/>
                  <a:gd name="connsiteX21" fmla="*/ 54494 w 226767"/>
                  <a:gd name="connsiteY21" fmla="*/ 46500 h 198078"/>
                  <a:gd name="connsiteX22" fmla="*/ 82702 w 226767"/>
                  <a:gd name="connsiteY22" fmla="*/ 28689 h 198078"/>
                  <a:gd name="connsiteX23" fmla="*/ 83808 w 226767"/>
                  <a:gd name="connsiteY23" fmla="*/ 11958 h 198078"/>
                  <a:gd name="connsiteX24" fmla="*/ 95976 w 226767"/>
                  <a:gd name="connsiteY24" fmla="*/ 6560 h 198078"/>
                  <a:gd name="connsiteX25" fmla="*/ 123077 w 226767"/>
                  <a:gd name="connsiteY25" fmla="*/ 9799 h 198078"/>
                  <a:gd name="connsiteX26" fmla="*/ 144095 w 226767"/>
                  <a:gd name="connsiteY26" fmla="*/ -456 h 198078"/>
                  <a:gd name="connsiteX27" fmla="*/ 151838 w 226767"/>
                  <a:gd name="connsiteY27" fmla="*/ 1163 h 198078"/>
                  <a:gd name="connsiteX28" fmla="*/ 156263 w 226767"/>
                  <a:gd name="connsiteY28" fmla="*/ 13037 h 198078"/>
                  <a:gd name="connsiteX29" fmla="*/ 162900 w 226767"/>
                  <a:gd name="connsiteY29" fmla="*/ 17355 h 198078"/>
                  <a:gd name="connsiteX30" fmla="*/ 197745 w 226767"/>
                  <a:gd name="connsiteY30" fmla="*/ 29768 h 198078"/>
                  <a:gd name="connsiteX31" fmla="*/ 217656 w 226767"/>
                  <a:gd name="connsiteY31" fmla="*/ 63231 h 198078"/>
                  <a:gd name="connsiteX32" fmla="*/ 225952 w 226767"/>
                  <a:gd name="connsiteY32" fmla="*/ 109647 h 198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26767" h="198078">
                    <a:moveTo>
                      <a:pt x="225952" y="109647"/>
                    </a:moveTo>
                    <a:lnTo>
                      <a:pt x="206594" y="115045"/>
                    </a:lnTo>
                    <a:lnTo>
                      <a:pt x="206041" y="131236"/>
                    </a:lnTo>
                    <a:lnTo>
                      <a:pt x="176174" y="144730"/>
                    </a:lnTo>
                    <a:lnTo>
                      <a:pt x="143542" y="145809"/>
                    </a:lnTo>
                    <a:lnTo>
                      <a:pt x="124184" y="176033"/>
                    </a:lnTo>
                    <a:lnTo>
                      <a:pt x="108144" y="185748"/>
                    </a:lnTo>
                    <a:lnTo>
                      <a:pt x="89892" y="186288"/>
                    </a:lnTo>
                    <a:lnTo>
                      <a:pt x="57259" y="197622"/>
                    </a:lnTo>
                    <a:lnTo>
                      <a:pt x="48963" y="191146"/>
                    </a:lnTo>
                    <a:lnTo>
                      <a:pt x="40667" y="190606"/>
                    </a:lnTo>
                    <a:lnTo>
                      <a:pt x="31264" y="176573"/>
                    </a:lnTo>
                    <a:lnTo>
                      <a:pt x="25733" y="178192"/>
                    </a:lnTo>
                    <a:lnTo>
                      <a:pt x="14671" y="169557"/>
                    </a:lnTo>
                    <a:lnTo>
                      <a:pt x="4163" y="146349"/>
                    </a:lnTo>
                    <a:lnTo>
                      <a:pt x="10247" y="131236"/>
                    </a:lnTo>
                    <a:lnTo>
                      <a:pt x="-815" y="94535"/>
                    </a:lnTo>
                    <a:lnTo>
                      <a:pt x="8034" y="95075"/>
                    </a:lnTo>
                    <a:lnTo>
                      <a:pt x="22415" y="90757"/>
                    </a:lnTo>
                    <a:lnTo>
                      <a:pt x="32923" y="85900"/>
                    </a:lnTo>
                    <a:lnTo>
                      <a:pt x="47304" y="49198"/>
                    </a:lnTo>
                    <a:lnTo>
                      <a:pt x="54494" y="46500"/>
                    </a:lnTo>
                    <a:lnTo>
                      <a:pt x="82702" y="28689"/>
                    </a:lnTo>
                    <a:lnTo>
                      <a:pt x="83808" y="11958"/>
                    </a:lnTo>
                    <a:lnTo>
                      <a:pt x="95976" y="6560"/>
                    </a:lnTo>
                    <a:lnTo>
                      <a:pt x="123077" y="9799"/>
                    </a:lnTo>
                    <a:lnTo>
                      <a:pt x="144095" y="-456"/>
                    </a:lnTo>
                    <a:lnTo>
                      <a:pt x="151838" y="1163"/>
                    </a:lnTo>
                    <a:lnTo>
                      <a:pt x="156263" y="13037"/>
                    </a:lnTo>
                    <a:lnTo>
                      <a:pt x="162900" y="17355"/>
                    </a:lnTo>
                    <a:lnTo>
                      <a:pt x="197745" y="29768"/>
                    </a:lnTo>
                    <a:lnTo>
                      <a:pt x="217656" y="63231"/>
                    </a:lnTo>
                    <a:lnTo>
                      <a:pt x="225952" y="109647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3" name="Freeform 1065">
                <a:extLst>
                  <a:ext uri="{FF2B5EF4-FFF2-40B4-BE49-F238E27FC236}">
                    <a16:creationId xmlns:a16="http://schemas.microsoft.com/office/drawing/2014/main" id="{824B1EBE-3B9D-42D9-8CC1-462555CD6310}"/>
                  </a:ext>
                </a:extLst>
              </p:cNvPr>
              <p:cNvSpPr/>
              <p:nvPr/>
            </p:nvSpPr>
            <p:spPr>
              <a:xfrm>
                <a:off x="7694995" y="3896325"/>
                <a:ext cx="325771" cy="336787"/>
              </a:xfrm>
              <a:custGeom>
                <a:avLst/>
                <a:gdLst>
                  <a:gd name="connsiteX0" fmla="*/ 298910 w 325771"/>
                  <a:gd name="connsiteY0" fmla="*/ 161556 h 336787"/>
                  <a:gd name="connsiteX1" fmla="*/ 324906 w 325771"/>
                  <a:gd name="connsiteY1" fmla="*/ 172890 h 336787"/>
                  <a:gd name="connsiteX2" fmla="*/ 318822 w 325771"/>
                  <a:gd name="connsiteY2" fmla="*/ 185304 h 336787"/>
                  <a:gd name="connsiteX3" fmla="*/ 304441 w 325771"/>
                  <a:gd name="connsiteY3" fmla="*/ 193939 h 336787"/>
                  <a:gd name="connsiteX4" fmla="*/ 272362 w 325771"/>
                  <a:gd name="connsiteY4" fmla="*/ 187463 h 336787"/>
                  <a:gd name="connsiteX5" fmla="*/ 264619 w 325771"/>
                  <a:gd name="connsiteY5" fmla="*/ 201496 h 336787"/>
                  <a:gd name="connsiteX6" fmla="*/ 253557 w 325771"/>
                  <a:gd name="connsiteY6" fmla="*/ 196638 h 336787"/>
                  <a:gd name="connsiteX7" fmla="*/ 247473 w 325771"/>
                  <a:gd name="connsiteY7" fmla="*/ 189622 h 336787"/>
                  <a:gd name="connsiteX8" fmla="*/ 236964 w 325771"/>
                  <a:gd name="connsiteY8" fmla="*/ 196638 h 336787"/>
                  <a:gd name="connsiteX9" fmla="*/ 236411 w 325771"/>
                  <a:gd name="connsiteY9" fmla="*/ 211750 h 336787"/>
                  <a:gd name="connsiteX10" fmla="*/ 243601 w 325771"/>
                  <a:gd name="connsiteY10" fmla="*/ 228482 h 336787"/>
                  <a:gd name="connsiteX11" fmla="*/ 222584 w 325771"/>
                  <a:gd name="connsiteY11" fmla="*/ 302964 h 336787"/>
                  <a:gd name="connsiteX12" fmla="*/ 224243 w 325771"/>
                  <a:gd name="connsiteY12" fmla="*/ 314837 h 336787"/>
                  <a:gd name="connsiteX13" fmla="*/ 208756 w 325771"/>
                  <a:gd name="connsiteY13" fmla="*/ 336426 h 336787"/>
                  <a:gd name="connsiteX14" fmla="*/ 203779 w 325771"/>
                  <a:gd name="connsiteY14" fmla="*/ 331569 h 336787"/>
                  <a:gd name="connsiteX15" fmla="*/ 190504 w 325771"/>
                  <a:gd name="connsiteY15" fmla="*/ 321854 h 336787"/>
                  <a:gd name="connsiteX16" fmla="*/ 186633 w 325771"/>
                  <a:gd name="connsiteY16" fmla="*/ 297566 h 336787"/>
                  <a:gd name="connsiteX17" fmla="*/ 173912 w 325771"/>
                  <a:gd name="connsiteY17" fmla="*/ 253309 h 336787"/>
                  <a:gd name="connsiteX18" fmla="*/ 171699 w 325771"/>
                  <a:gd name="connsiteY18" fmla="*/ 211750 h 336787"/>
                  <a:gd name="connsiteX19" fmla="*/ 163403 w 325771"/>
                  <a:gd name="connsiteY19" fmla="*/ 180446 h 336787"/>
                  <a:gd name="connsiteX20" fmla="*/ 161744 w 325771"/>
                  <a:gd name="connsiteY20" fmla="*/ 173430 h 336787"/>
                  <a:gd name="connsiteX21" fmla="*/ 119156 w 325771"/>
                  <a:gd name="connsiteY21" fmla="*/ 145904 h 336787"/>
                  <a:gd name="connsiteX22" fmla="*/ 111965 w 325771"/>
                  <a:gd name="connsiteY22" fmla="*/ 135649 h 336787"/>
                  <a:gd name="connsiteX23" fmla="*/ 92054 w 325771"/>
                  <a:gd name="connsiteY23" fmla="*/ 115680 h 336787"/>
                  <a:gd name="connsiteX24" fmla="*/ 88735 w 325771"/>
                  <a:gd name="connsiteY24" fmla="*/ 104885 h 336787"/>
                  <a:gd name="connsiteX25" fmla="*/ 69377 w 325771"/>
                  <a:gd name="connsiteY25" fmla="*/ 87074 h 336787"/>
                  <a:gd name="connsiteX26" fmla="*/ 25130 w 325771"/>
                  <a:gd name="connsiteY26" fmla="*/ 38499 h 336787"/>
                  <a:gd name="connsiteX27" fmla="*/ 14621 w 325771"/>
                  <a:gd name="connsiteY27" fmla="*/ 35801 h 336787"/>
                  <a:gd name="connsiteX28" fmla="*/ -865 w 325771"/>
                  <a:gd name="connsiteY28" fmla="*/ 35801 h 336787"/>
                  <a:gd name="connsiteX29" fmla="*/ 1347 w 325771"/>
                  <a:gd name="connsiteY29" fmla="*/ 28244 h 336787"/>
                  <a:gd name="connsiteX30" fmla="*/ 19046 w 325771"/>
                  <a:gd name="connsiteY30" fmla="*/ 14212 h 336787"/>
                  <a:gd name="connsiteX31" fmla="*/ 53891 w 325771"/>
                  <a:gd name="connsiteY31" fmla="*/ -361 h 336787"/>
                  <a:gd name="connsiteX32" fmla="*/ 67165 w 325771"/>
                  <a:gd name="connsiteY32" fmla="*/ -361 h 336787"/>
                  <a:gd name="connsiteX33" fmla="*/ 100350 w 325771"/>
                  <a:gd name="connsiteY33" fmla="*/ 8275 h 336787"/>
                  <a:gd name="connsiteX34" fmla="*/ 111965 w 325771"/>
                  <a:gd name="connsiteY34" fmla="*/ 17990 h 336787"/>
                  <a:gd name="connsiteX35" fmla="*/ 145151 w 325771"/>
                  <a:gd name="connsiteY35" fmla="*/ 21228 h 336787"/>
                  <a:gd name="connsiteX36" fmla="*/ 156766 w 325771"/>
                  <a:gd name="connsiteY36" fmla="*/ 16370 h 336787"/>
                  <a:gd name="connsiteX37" fmla="*/ 166721 w 325771"/>
                  <a:gd name="connsiteY37" fmla="*/ 13132 h 336787"/>
                  <a:gd name="connsiteX38" fmla="*/ 174465 w 325771"/>
                  <a:gd name="connsiteY38" fmla="*/ 15291 h 336787"/>
                  <a:gd name="connsiteX39" fmla="*/ 182208 w 325771"/>
                  <a:gd name="connsiteY39" fmla="*/ 22307 h 336787"/>
                  <a:gd name="connsiteX40" fmla="*/ 194929 w 325771"/>
                  <a:gd name="connsiteY40" fmla="*/ 29324 h 336787"/>
                  <a:gd name="connsiteX41" fmla="*/ 204885 w 325771"/>
                  <a:gd name="connsiteY41" fmla="*/ 32562 h 336787"/>
                  <a:gd name="connsiteX42" fmla="*/ 215947 w 325771"/>
                  <a:gd name="connsiteY42" fmla="*/ 56310 h 336787"/>
                  <a:gd name="connsiteX43" fmla="*/ 225902 w 325771"/>
                  <a:gd name="connsiteY43" fmla="*/ 87614 h 336787"/>
                  <a:gd name="connsiteX44" fmla="*/ 248579 w 325771"/>
                  <a:gd name="connsiteY44" fmla="*/ 90852 h 336787"/>
                  <a:gd name="connsiteX45" fmla="*/ 255216 w 325771"/>
                  <a:gd name="connsiteY45" fmla="*/ 106504 h 336787"/>
                  <a:gd name="connsiteX46" fmla="*/ 291167 w 325771"/>
                  <a:gd name="connsiteY46" fmla="*/ 139967 h 336787"/>
                  <a:gd name="connsiteX47" fmla="*/ 298910 w 325771"/>
                  <a:gd name="connsiteY47" fmla="*/ 161556 h 33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325771" h="336787">
                    <a:moveTo>
                      <a:pt x="298910" y="161556"/>
                    </a:moveTo>
                    <a:cubicBezTo>
                      <a:pt x="311078" y="163715"/>
                      <a:pt x="314950" y="165334"/>
                      <a:pt x="324906" y="172890"/>
                    </a:cubicBezTo>
                    <a:lnTo>
                      <a:pt x="318822" y="185304"/>
                    </a:lnTo>
                    <a:lnTo>
                      <a:pt x="304441" y="193939"/>
                    </a:lnTo>
                    <a:lnTo>
                      <a:pt x="272362" y="187463"/>
                    </a:lnTo>
                    <a:lnTo>
                      <a:pt x="264619" y="201496"/>
                    </a:lnTo>
                    <a:lnTo>
                      <a:pt x="253557" y="196638"/>
                    </a:lnTo>
                    <a:lnTo>
                      <a:pt x="247473" y="189622"/>
                    </a:lnTo>
                    <a:lnTo>
                      <a:pt x="236964" y="196638"/>
                    </a:lnTo>
                    <a:lnTo>
                      <a:pt x="236411" y="211750"/>
                    </a:lnTo>
                    <a:lnTo>
                      <a:pt x="243601" y="228482"/>
                    </a:lnTo>
                    <a:lnTo>
                      <a:pt x="222584" y="302964"/>
                    </a:lnTo>
                    <a:lnTo>
                      <a:pt x="224243" y="314837"/>
                    </a:lnTo>
                    <a:lnTo>
                      <a:pt x="208756" y="336426"/>
                    </a:lnTo>
                    <a:cubicBezTo>
                      <a:pt x="207097" y="334807"/>
                      <a:pt x="205438" y="331029"/>
                      <a:pt x="203779" y="331569"/>
                    </a:cubicBezTo>
                    <a:cubicBezTo>
                      <a:pt x="200460" y="329410"/>
                      <a:pt x="192717" y="324552"/>
                      <a:pt x="190504" y="321854"/>
                    </a:cubicBezTo>
                    <a:cubicBezTo>
                      <a:pt x="184973" y="314837"/>
                      <a:pt x="188292" y="305122"/>
                      <a:pt x="186633" y="297566"/>
                    </a:cubicBezTo>
                    <a:cubicBezTo>
                      <a:pt x="183867" y="282454"/>
                      <a:pt x="176677" y="267882"/>
                      <a:pt x="173912" y="253309"/>
                    </a:cubicBezTo>
                    <a:cubicBezTo>
                      <a:pt x="171146" y="239816"/>
                      <a:pt x="173359" y="225783"/>
                      <a:pt x="171699" y="211750"/>
                    </a:cubicBezTo>
                    <a:cubicBezTo>
                      <a:pt x="170040" y="198257"/>
                      <a:pt x="165062" y="192320"/>
                      <a:pt x="163403" y="180446"/>
                    </a:cubicBezTo>
                    <a:cubicBezTo>
                      <a:pt x="163403" y="178287"/>
                      <a:pt x="162850" y="175589"/>
                      <a:pt x="161744" y="173430"/>
                    </a:cubicBezTo>
                    <a:cubicBezTo>
                      <a:pt x="147916" y="141586"/>
                      <a:pt x="126346" y="153460"/>
                      <a:pt x="119156" y="145904"/>
                    </a:cubicBezTo>
                    <a:cubicBezTo>
                      <a:pt x="116390" y="142666"/>
                      <a:pt x="114731" y="138348"/>
                      <a:pt x="111965" y="135649"/>
                    </a:cubicBezTo>
                    <a:cubicBezTo>
                      <a:pt x="104775" y="128093"/>
                      <a:pt x="97585" y="125934"/>
                      <a:pt x="92054" y="115680"/>
                    </a:cubicBezTo>
                    <a:cubicBezTo>
                      <a:pt x="90395" y="111901"/>
                      <a:pt x="90395" y="108123"/>
                      <a:pt x="88735" y="104885"/>
                    </a:cubicBezTo>
                    <a:cubicBezTo>
                      <a:pt x="84311" y="96789"/>
                      <a:pt x="75461" y="93551"/>
                      <a:pt x="69377" y="87074"/>
                    </a:cubicBezTo>
                    <a:cubicBezTo>
                      <a:pt x="57209" y="74661"/>
                      <a:pt x="41170" y="44976"/>
                      <a:pt x="25130" y="38499"/>
                    </a:cubicBezTo>
                    <a:cubicBezTo>
                      <a:pt x="21811" y="36880"/>
                      <a:pt x="17940" y="36880"/>
                      <a:pt x="14621" y="35801"/>
                    </a:cubicBezTo>
                    <a:cubicBezTo>
                      <a:pt x="9643" y="34721"/>
                      <a:pt x="4112" y="33102"/>
                      <a:pt x="-865" y="35801"/>
                    </a:cubicBezTo>
                    <a:lnTo>
                      <a:pt x="1347" y="28244"/>
                    </a:lnTo>
                    <a:lnTo>
                      <a:pt x="19046" y="14212"/>
                    </a:lnTo>
                    <a:lnTo>
                      <a:pt x="53891" y="-361"/>
                    </a:lnTo>
                    <a:lnTo>
                      <a:pt x="67165" y="-361"/>
                    </a:lnTo>
                    <a:lnTo>
                      <a:pt x="100350" y="8275"/>
                    </a:lnTo>
                    <a:lnTo>
                      <a:pt x="111965" y="17990"/>
                    </a:lnTo>
                    <a:lnTo>
                      <a:pt x="145151" y="21228"/>
                    </a:lnTo>
                    <a:lnTo>
                      <a:pt x="156766" y="16370"/>
                    </a:lnTo>
                    <a:cubicBezTo>
                      <a:pt x="159531" y="16910"/>
                      <a:pt x="163956" y="13672"/>
                      <a:pt x="166721" y="13132"/>
                    </a:cubicBezTo>
                    <a:cubicBezTo>
                      <a:pt x="168934" y="13132"/>
                      <a:pt x="172805" y="14212"/>
                      <a:pt x="174465" y="15291"/>
                    </a:cubicBezTo>
                    <a:cubicBezTo>
                      <a:pt x="177230" y="16910"/>
                      <a:pt x="179996" y="20688"/>
                      <a:pt x="182208" y="22307"/>
                    </a:cubicBezTo>
                    <a:cubicBezTo>
                      <a:pt x="185527" y="25006"/>
                      <a:pt x="191611" y="27165"/>
                      <a:pt x="194929" y="29324"/>
                    </a:cubicBezTo>
                    <a:lnTo>
                      <a:pt x="204885" y="32562"/>
                    </a:lnTo>
                    <a:lnTo>
                      <a:pt x="215947" y="56310"/>
                    </a:lnTo>
                    <a:lnTo>
                      <a:pt x="225902" y="87614"/>
                    </a:lnTo>
                    <a:lnTo>
                      <a:pt x="248579" y="90852"/>
                    </a:lnTo>
                    <a:lnTo>
                      <a:pt x="255216" y="106504"/>
                    </a:lnTo>
                    <a:lnTo>
                      <a:pt x="291167" y="139967"/>
                    </a:lnTo>
                    <a:lnTo>
                      <a:pt x="298910" y="161556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4" name="Freeform 1066">
                <a:extLst>
                  <a:ext uri="{FF2B5EF4-FFF2-40B4-BE49-F238E27FC236}">
                    <a16:creationId xmlns:a16="http://schemas.microsoft.com/office/drawing/2014/main" id="{B8E21E7B-F410-4738-97E9-8A23ED51CE9B}"/>
                  </a:ext>
                </a:extLst>
              </p:cNvPr>
              <p:cNvSpPr/>
              <p:nvPr/>
            </p:nvSpPr>
            <p:spPr>
              <a:xfrm>
                <a:off x="6160717" y="4659494"/>
                <a:ext cx="8849" cy="11873"/>
              </a:xfrm>
              <a:custGeom>
                <a:avLst/>
                <a:gdLst>
                  <a:gd name="connsiteX0" fmla="*/ 1005 w 8849"/>
                  <a:gd name="connsiteY0" fmla="*/ 11436 h 11873"/>
                  <a:gd name="connsiteX1" fmla="*/ -654 w 8849"/>
                  <a:gd name="connsiteY1" fmla="*/ 3880 h 11873"/>
                  <a:gd name="connsiteX2" fmla="*/ 4324 w 8849"/>
                  <a:gd name="connsiteY2" fmla="*/ -438 h 11873"/>
                  <a:gd name="connsiteX3" fmla="*/ 8195 w 8849"/>
                  <a:gd name="connsiteY3" fmla="*/ 2800 h 11873"/>
                  <a:gd name="connsiteX4" fmla="*/ 1005 w 8849"/>
                  <a:gd name="connsiteY4" fmla="*/ 11436 h 11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49" h="11873">
                    <a:moveTo>
                      <a:pt x="1005" y="11436"/>
                    </a:moveTo>
                    <a:lnTo>
                      <a:pt x="-654" y="3880"/>
                    </a:lnTo>
                    <a:lnTo>
                      <a:pt x="4324" y="-438"/>
                    </a:lnTo>
                    <a:lnTo>
                      <a:pt x="8195" y="2800"/>
                    </a:lnTo>
                    <a:cubicBezTo>
                      <a:pt x="5983" y="6039"/>
                      <a:pt x="4877" y="9817"/>
                      <a:pt x="1005" y="11436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5" name="Freeform 1067">
                <a:extLst>
                  <a:ext uri="{FF2B5EF4-FFF2-40B4-BE49-F238E27FC236}">
                    <a16:creationId xmlns:a16="http://schemas.microsoft.com/office/drawing/2014/main" id="{2636C302-8264-4814-A293-4A7923D7143F}"/>
                  </a:ext>
                </a:extLst>
              </p:cNvPr>
              <p:cNvSpPr/>
              <p:nvPr/>
            </p:nvSpPr>
            <p:spPr>
              <a:xfrm>
                <a:off x="7063363" y="2835229"/>
                <a:ext cx="481743" cy="293069"/>
              </a:xfrm>
              <a:custGeom>
                <a:avLst/>
                <a:gdLst>
                  <a:gd name="connsiteX0" fmla="*/ 433934 w 481743"/>
                  <a:gd name="connsiteY0" fmla="*/ 212968 h 293069"/>
                  <a:gd name="connsiteX1" fmla="*/ 450527 w 481743"/>
                  <a:gd name="connsiteY1" fmla="*/ 216207 h 293069"/>
                  <a:gd name="connsiteX2" fmla="*/ 457164 w 481743"/>
                  <a:gd name="connsiteY2" fmla="*/ 211889 h 293069"/>
                  <a:gd name="connsiteX3" fmla="*/ 453292 w 481743"/>
                  <a:gd name="connsiteY3" fmla="*/ 193538 h 293069"/>
                  <a:gd name="connsiteX4" fmla="*/ 480947 w 481743"/>
                  <a:gd name="connsiteY4" fmla="*/ 169251 h 293069"/>
                  <a:gd name="connsiteX5" fmla="*/ 480947 w 481743"/>
                  <a:gd name="connsiteY5" fmla="*/ 148741 h 293069"/>
                  <a:gd name="connsiteX6" fmla="*/ 467673 w 481743"/>
                  <a:gd name="connsiteY6" fmla="*/ 133089 h 293069"/>
                  <a:gd name="connsiteX7" fmla="*/ 452739 w 481743"/>
                  <a:gd name="connsiteY7" fmla="*/ 126613 h 293069"/>
                  <a:gd name="connsiteX8" fmla="*/ 443337 w 481743"/>
                  <a:gd name="connsiteY8" fmla="*/ 101246 h 293069"/>
                  <a:gd name="connsiteX9" fmla="*/ 436700 w 481743"/>
                  <a:gd name="connsiteY9" fmla="*/ 92610 h 293069"/>
                  <a:gd name="connsiteX10" fmla="*/ 421213 w 481743"/>
                  <a:gd name="connsiteY10" fmla="*/ 99087 h 293069"/>
                  <a:gd name="connsiteX11" fmla="*/ 411257 w 481743"/>
                  <a:gd name="connsiteY11" fmla="*/ 86673 h 293069"/>
                  <a:gd name="connsiteX12" fmla="*/ 422872 w 481743"/>
                  <a:gd name="connsiteY12" fmla="*/ 64005 h 293069"/>
                  <a:gd name="connsiteX13" fmla="*/ 425638 w 481743"/>
                  <a:gd name="connsiteY13" fmla="*/ 47813 h 293069"/>
                  <a:gd name="connsiteX14" fmla="*/ 401302 w 481743"/>
                  <a:gd name="connsiteY14" fmla="*/ 45114 h 293069"/>
                  <a:gd name="connsiteX15" fmla="*/ 396877 w 481743"/>
                  <a:gd name="connsiteY15" fmla="*/ 27304 h 293069"/>
                  <a:gd name="connsiteX16" fmla="*/ 376966 w 481743"/>
                  <a:gd name="connsiteY16" fmla="*/ 23525 h 293069"/>
                  <a:gd name="connsiteX17" fmla="*/ 348758 w 481743"/>
                  <a:gd name="connsiteY17" fmla="*/ 22446 h 293069"/>
                  <a:gd name="connsiteX18" fmla="*/ 335484 w 481743"/>
                  <a:gd name="connsiteY18" fmla="*/ 38098 h 293069"/>
                  <a:gd name="connsiteX19" fmla="*/ 298980 w 481743"/>
                  <a:gd name="connsiteY19" fmla="*/ 26764 h 293069"/>
                  <a:gd name="connsiteX20" fmla="*/ 290683 w 481743"/>
                  <a:gd name="connsiteY20" fmla="*/ 7334 h 293069"/>
                  <a:gd name="connsiteX21" fmla="*/ 216016 w 481743"/>
                  <a:gd name="connsiteY21" fmla="*/ -222 h 293069"/>
                  <a:gd name="connsiteX22" fmla="*/ 209379 w 481743"/>
                  <a:gd name="connsiteY22" fmla="*/ 12731 h 293069"/>
                  <a:gd name="connsiteX23" fmla="*/ 194445 w 481743"/>
                  <a:gd name="connsiteY23" fmla="*/ 17589 h 293069"/>
                  <a:gd name="connsiteX24" fmla="*/ 177299 w 481743"/>
                  <a:gd name="connsiteY24" fmla="*/ 43495 h 293069"/>
                  <a:gd name="connsiteX25" fmla="*/ 183936 w 481743"/>
                  <a:gd name="connsiteY25" fmla="*/ 59147 h 293069"/>
                  <a:gd name="connsiteX26" fmla="*/ 188361 w 481743"/>
                  <a:gd name="connsiteY26" fmla="*/ 68323 h 293069"/>
                  <a:gd name="connsiteX27" fmla="*/ 198870 w 481743"/>
                  <a:gd name="connsiteY27" fmla="*/ 83435 h 293069"/>
                  <a:gd name="connsiteX28" fmla="*/ 200529 w 481743"/>
                  <a:gd name="connsiteY28" fmla="*/ 95848 h 293069"/>
                  <a:gd name="connsiteX29" fmla="*/ 191127 w 481743"/>
                  <a:gd name="connsiteY29" fmla="*/ 127692 h 293069"/>
                  <a:gd name="connsiteX30" fmla="*/ 170109 w 481743"/>
                  <a:gd name="connsiteY30" fmla="*/ 143344 h 293069"/>
                  <a:gd name="connsiteX31" fmla="*/ 145773 w 481743"/>
                  <a:gd name="connsiteY31" fmla="*/ 146043 h 293069"/>
                  <a:gd name="connsiteX32" fmla="*/ 135264 w 481743"/>
                  <a:gd name="connsiteY32" fmla="*/ 141185 h 293069"/>
                  <a:gd name="connsiteX33" fmla="*/ 128627 w 481743"/>
                  <a:gd name="connsiteY33" fmla="*/ 117977 h 293069"/>
                  <a:gd name="connsiteX34" fmla="*/ 89358 w 481743"/>
                  <a:gd name="connsiteY34" fmla="*/ 91531 h 293069"/>
                  <a:gd name="connsiteX35" fmla="*/ 83827 w 481743"/>
                  <a:gd name="connsiteY35" fmla="*/ 88292 h 293069"/>
                  <a:gd name="connsiteX36" fmla="*/ 78849 w 481743"/>
                  <a:gd name="connsiteY36" fmla="*/ 72640 h 293069"/>
                  <a:gd name="connsiteX37" fmla="*/ 72212 w 481743"/>
                  <a:gd name="connsiteY37" fmla="*/ 72101 h 293069"/>
                  <a:gd name="connsiteX38" fmla="*/ 60597 w 481743"/>
                  <a:gd name="connsiteY38" fmla="*/ 78038 h 293069"/>
                  <a:gd name="connsiteX39" fmla="*/ 52854 w 481743"/>
                  <a:gd name="connsiteY39" fmla="*/ 87213 h 293069"/>
                  <a:gd name="connsiteX40" fmla="*/ 13031 w 481743"/>
                  <a:gd name="connsiteY40" fmla="*/ 130391 h 293069"/>
                  <a:gd name="connsiteX41" fmla="*/ 14137 w 481743"/>
                  <a:gd name="connsiteY41" fmla="*/ 163854 h 293069"/>
                  <a:gd name="connsiteX42" fmla="*/ -796 w 481743"/>
                  <a:gd name="connsiteY42" fmla="*/ 203793 h 293069"/>
                  <a:gd name="connsiteX43" fmla="*/ 863 w 481743"/>
                  <a:gd name="connsiteY43" fmla="*/ 210809 h 293069"/>
                  <a:gd name="connsiteX44" fmla="*/ 3075 w 481743"/>
                  <a:gd name="connsiteY44" fmla="*/ 244812 h 293069"/>
                  <a:gd name="connsiteX45" fmla="*/ 19668 w 481743"/>
                  <a:gd name="connsiteY45" fmla="*/ 292847 h 293069"/>
                  <a:gd name="connsiteX46" fmla="*/ 61150 w 481743"/>
                  <a:gd name="connsiteY46" fmla="*/ 239955 h 293069"/>
                  <a:gd name="connsiteX47" fmla="*/ 110375 w 481743"/>
                  <a:gd name="connsiteY47" fmla="*/ 223223 h 293069"/>
                  <a:gd name="connsiteX48" fmla="*/ 171768 w 481743"/>
                  <a:gd name="connsiteY48" fmla="*/ 210270 h 293069"/>
                  <a:gd name="connsiteX49" fmla="*/ 231502 w 481743"/>
                  <a:gd name="connsiteY49" fmla="*/ 214588 h 293069"/>
                  <a:gd name="connsiteX50" fmla="*/ 269113 w 481743"/>
                  <a:gd name="connsiteY50" fmla="*/ 185982 h 293069"/>
                  <a:gd name="connsiteX51" fmla="*/ 285705 w 481743"/>
                  <a:gd name="connsiteY51" fmla="*/ 201094 h 293069"/>
                  <a:gd name="connsiteX52" fmla="*/ 305617 w 481743"/>
                  <a:gd name="connsiteY52" fmla="*/ 206492 h 293069"/>
                  <a:gd name="connsiteX53" fmla="*/ 322763 w 481743"/>
                  <a:gd name="connsiteY53" fmla="*/ 201094 h 293069"/>
                  <a:gd name="connsiteX54" fmla="*/ 330506 w 481743"/>
                  <a:gd name="connsiteY54" fmla="*/ 211889 h 293069"/>
                  <a:gd name="connsiteX55" fmla="*/ 393558 w 481743"/>
                  <a:gd name="connsiteY55" fmla="*/ 252908 h 293069"/>
                  <a:gd name="connsiteX56" fmla="*/ 433934 w 481743"/>
                  <a:gd name="connsiteY56" fmla="*/ 212968 h 293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481743" h="293069">
                    <a:moveTo>
                      <a:pt x="433934" y="212968"/>
                    </a:moveTo>
                    <a:cubicBezTo>
                      <a:pt x="438359" y="214048"/>
                      <a:pt x="446102" y="216207"/>
                      <a:pt x="450527" y="216207"/>
                    </a:cubicBezTo>
                    <a:cubicBezTo>
                      <a:pt x="452739" y="216207"/>
                      <a:pt x="455505" y="212968"/>
                      <a:pt x="457164" y="211889"/>
                    </a:cubicBezTo>
                    <a:lnTo>
                      <a:pt x="453292" y="193538"/>
                    </a:lnTo>
                    <a:lnTo>
                      <a:pt x="480947" y="169251"/>
                    </a:lnTo>
                    <a:lnTo>
                      <a:pt x="480947" y="148741"/>
                    </a:lnTo>
                    <a:lnTo>
                      <a:pt x="467673" y="133089"/>
                    </a:lnTo>
                    <a:lnTo>
                      <a:pt x="452739" y="126613"/>
                    </a:lnTo>
                    <a:lnTo>
                      <a:pt x="443337" y="101246"/>
                    </a:lnTo>
                    <a:lnTo>
                      <a:pt x="436700" y="92610"/>
                    </a:lnTo>
                    <a:lnTo>
                      <a:pt x="421213" y="99087"/>
                    </a:lnTo>
                    <a:lnTo>
                      <a:pt x="411257" y="86673"/>
                    </a:lnTo>
                    <a:lnTo>
                      <a:pt x="422872" y="64005"/>
                    </a:lnTo>
                    <a:lnTo>
                      <a:pt x="425638" y="47813"/>
                    </a:lnTo>
                    <a:lnTo>
                      <a:pt x="401302" y="45114"/>
                    </a:lnTo>
                    <a:lnTo>
                      <a:pt x="396877" y="27304"/>
                    </a:lnTo>
                    <a:lnTo>
                      <a:pt x="376966" y="23525"/>
                    </a:lnTo>
                    <a:lnTo>
                      <a:pt x="348758" y="22446"/>
                    </a:lnTo>
                    <a:lnTo>
                      <a:pt x="335484" y="38098"/>
                    </a:lnTo>
                    <a:lnTo>
                      <a:pt x="298980" y="26764"/>
                    </a:lnTo>
                    <a:lnTo>
                      <a:pt x="290683" y="7334"/>
                    </a:lnTo>
                    <a:lnTo>
                      <a:pt x="216016" y="-222"/>
                    </a:lnTo>
                    <a:lnTo>
                      <a:pt x="209379" y="12731"/>
                    </a:lnTo>
                    <a:lnTo>
                      <a:pt x="194445" y="17589"/>
                    </a:lnTo>
                    <a:lnTo>
                      <a:pt x="177299" y="43495"/>
                    </a:lnTo>
                    <a:cubicBezTo>
                      <a:pt x="178959" y="48892"/>
                      <a:pt x="180065" y="55369"/>
                      <a:pt x="183936" y="59147"/>
                    </a:cubicBezTo>
                    <a:cubicBezTo>
                      <a:pt x="184490" y="60227"/>
                      <a:pt x="187808" y="66703"/>
                      <a:pt x="188361" y="68323"/>
                    </a:cubicBezTo>
                    <a:cubicBezTo>
                      <a:pt x="191680" y="73720"/>
                      <a:pt x="196104" y="78038"/>
                      <a:pt x="198870" y="83435"/>
                    </a:cubicBezTo>
                    <a:cubicBezTo>
                      <a:pt x="199976" y="86133"/>
                      <a:pt x="201082" y="93150"/>
                      <a:pt x="200529" y="95848"/>
                    </a:cubicBezTo>
                    <a:cubicBezTo>
                      <a:pt x="200529" y="103405"/>
                      <a:pt x="196104" y="121755"/>
                      <a:pt x="191127" y="127692"/>
                    </a:cubicBezTo>
                    <a:cubicBezTo>
                      <a:pt x="187808" y="132550"/>
                      <a:pt x="175640" y="141725"/>
                      <a:pt x="170109" y="143344"/>
                    </a:cubicBezTo>
                    <a:cubicBezTo>
                      <a:pt x="162919" y="145503"/>
                      <a:pt x="152963" y="148202"/>
                      <a:pt x="145773" y="146043"/>
                    </a:cubicBezTo>
                    <a:cubicBezTo>
                      <a:pt x="143561" y="144963"/>
                      <a:pt x="136924" y="142265"/>
                      <a:pt x="135264" y="141185"/>
                    </a:cubicBezTo>
                    <a:cubicBezTo>
                      <a:pt x="130287" y="136867"/>
                      <a:pt x="131393" y="124454"/>
                      <a:pt x="128627" y="117977"/>
                    </a:cubicBezTo>
                    <a:cubicBezTo>
                      <a:pt x="121437" y="99087"/>
                      <a:pt x="105950" y="99087"/>
                      <a:pt x="89358" y="91531"/>
                    </a:cubicBezTo>
                    <a:cubicBezTo>
                      <a:pt x="87698" y="90991"/>
                      <a:pt x="84933" y="89372"/>
                      <a:pt x="83827" y="88292"/>
                    </a:cubicBezTo>
                    <a:cubicBezTo>
                      <a:pt x="79402" y="84514"/>
                      <a:pt x="78849" y="72640"/>
                      <a:pt x="78849" y="72640"/>
                    </a:cubicBezTo>
                    <a:cubicBezTo>
                      <a:pt x="78296" y="72101"/>
                      <a:pt x="72765" y="71561"/>
                      <a:pt x="72212" y="72101"/>
                    </a:cubicBezTo>
                    <a:cubicBezTo>
                      <a:pt x="69446" y="72640"/>
                      <a:pt x="62256" y="76418"/>
                      <a:pt x="60597" y="78038"/>
                    </a:cubicBezTo>
                    <a:cubicBezTo>
                      <a:pt x="57278" y="80736"/>
                      <a:pt x="56172" y="85054"/>
                      <a:pt x="52854" y="87213"/>
                    </a:cubicBezTo>
                    <a:cubicBezTo>
                      <a:pt x="32942" y="102325"/>
                      <a:pt x="13584" y="99626"/>
                      <a:pt x="13031" y="130391"/>
                    </a:cubicBezTo>
                    <a:cubicBezTo>
                      <a:pt x="12478" y="139026"/>
                      <a:pt x="16350" y="156297"/>
                      <a:pt x="14137" y="163854"/>
                    </a:cubicBezTo>
                    <a:cubicBezTo>
                      <a:pt x="11372" y="174108"/>
                      <a:pt x="-243" y="194078"/>
                      <a:pt x="-796" y="203793"/>
                    </a:cubicBezTo>
                    <a:cubicBezTo>
                      <a:pt x="-796" y="205952"/>
                      <a:pt x="310" y="208651"/>
                      <a:pt x="863" y="210809"/>
                    </a:cubicBezTo>
                    <a:cubicBezTo>
                      <a:pt x="1969" y="222144"/>
                      <a:pt x="1416" y="233478"/>
                      <a:pt x="3075" y="244812"/>
                    </a:cubicBezTo>
                    <a:cubicBezTo>
                      <a:pt x="5288" y="262623"/>
                      <a:pt x="11925" y="277195"/>
                      <a:pt x="19668" y="292847"/>
                    </a:cubicBezTo>
                    <a:lnTo>
                      <a:pt x="61150" y="239955"/>
                    </a:lnTo>
                    <a:lnTo>
                      <a:pt x="110375" y="223223"/>
                    </a:lnTo>
                    <a:lnTo>
                      <a:pt x="171768" y="210270"/>
                    </a:lnTo>
                    <a:lnTo>
                      <a:pt x="231502" y="214588"/>
                    </a:lnTo>
                    <a:lnTo>
                      <a:pt x="269113" y="185982"/>
                    </a:lnTo>
                    <a:lnTo>
                      <a:pt x="285705" y="201094"/>
                    </a:lnTo>
                    <a:lnTo>
                      <a:pt x="305617" y="206492"/>
                    </a:lnTo>
                    <a:lnTo>
                      <a:pt x="322763" y="201094"/>
                    </a:lnTo>
                    <a:lnTo>
                      <a:pt x="330506" y="211889"/>
                    </a:lnTo>
                    <a:lnTo>
                      <a:pt x="393558" y="252908"/>
                    </a:lnTo>
                    <a:lnTo>
                      <a:pt x="433934" y="212968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6" name="Freeform 1068">
                <a:extLst>
                  <a:ext uri="{FF2B5EF4-FFF2-40B4-BE49-F238E27FC236}">
                    <a16:creationId xmlns:a16="http://schemas.microsoft.com/office/drawing/2014/main" id="{4F04DCFA-2F2D-4BD1-8411-B1F93D7FF2A8}"/>
                  </a:ext>
                </a:extLst>
              </p:cNvPr>
              <p:cNvSpPr/>
              <p:nvPr/>
            </p:nvSpPr>
            <p:spPr>
              <a:xfrm>
                <a:off x="6034059" y="3906040"/>
                <a:ext cx="61393" cy="84736"/>
              </a:xfrm>
              <a:custGeom>
                <a:avLst/>
                <a:gdLst>
                  <a:gd name="connsiteX0" fmla="*/ 59646 w 61393"/>
                  <a:gd name="connsiteY0" fmla="*/ 54166 h 84736"/>
                  <a:gd name="connsiteX1" fmla="*/ 60752 w 61393"/>
                  <a:gd name="connsiteY1" fmla="*/ 44451 h 84736"/>
                  <a:gd name="connsiteX2" fmla="*/ 45265 w 61393"/>
                  <a:gd name="connsiteY2" fmla="*/ 40133 h 84736"/>
                  <a:gd name="connsiteX3" fmla="*/ 36416 w 61393"/>
                  <a:gd name="connsiteY3" fmla="*/ 31498 h 84736"/>
                  <a:gd name="connsiteX4" fmla="*/ 30885 w 61393"/>
                  <a:gd name="connsiteY4" fmla="*/ 19624 h 84736"/>
                  <a:gd name="connsiteX5" fmla="*/ 32544 w 61393"/>
                  <a:gd name="connsiteY5" fmla="*/ 3432 h 84736"/>
                  <a:gd name="connsiteX6" fmla="*/ 24248 w 61393"/>
                  <a:gd name="connsiteY6" fmla="*/ 194 h 84736"/>
                  <a:gd name="connsiteX7" fmla="*/ 22588 w 61393"/>
                  <a:gd name="connsiteY7" fmla="*/ -346 h 84736"/>
                  <a:gd name="connsiteX8" fmla="*/ 17057 w 61393"/>
                  <a:gd name="connsiteY8" fmla="*/ 3972 h 84736"/>
                  <a:gd name="connsiteX9" fmla="*/ -641 w 61393"/>
                  <a:gd name="connsiteY9" fmla="*/ 40673 h 84736"/>
                  <a:gd name="connsiteX10" fmla="*/ 11527 w 61393"/>
                  <a:gd name="connsiteY10" fmla="*/ 59563 h 84736"/>
                  <a:gd name="connsiteX11" fmla="*/ 4336 w 61393"/>
                  <a:gd name="connsiteY11" fmla="*/ 71977 h 84736"/>
                  <a:gd name="connsiteX12" fmla="*/ 17057 w 61393"/>
                  <a:gd name="connsiteY12" fmla="*/ 84390 h 84736"/>
                  <a:gd name="connsiteX13" fmla="*/ 38628 w 61393"/>
                  <a:gd name="connsiteY13" fmla="*/ 77914 h 84736"/>
                  <a:gd name="connsiteX14" fmla="*/ 45265 w 61393"/>
                  <a:gd name="connsiteY14" fmla="*/ 78993 h 84736"/>
                  <a:gd name="connsiteX15" fmla="*/ 50243 w 61393"/>
                  <a:gd name="connsiteY15" fmla="*/ 69278 h 84736"/>
                  <a:gd name="connsiteX16" fmla="*/ 59646 w 61393"/>
                  <a:gd name="connsiteY16" fmla="*/ 54166 h 84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1393" h="84736">
                    <a:moveTo>
                      <a:pt x="59646" y="54166"/>
                    </a:moveTo>
                    <a:lnTo>
                      <a:pt x="60752" y="44451"/>
                    </a:lnTo>
                    <a:lnTo>
                      <a:pt x="45265" y="40133"/>
                    </a:lnTo>
                    <a:lnTo>
                      <a:pt x="36416" y="31498"/>
                    </a:lnTo>
                    <a:lnTo>
                      <a:pt x="30885" y="19624"/>
                    </a:lnTo>
                    <a:lnTo>
                      <a:pt x="32544" y="3432"/>
                    </a:lnTo>
                    <a:lnTo>
                      <a:pt x="24248" y="194"/>
                    </a:lnTo>
                    <a:lnTo>
                      <a:pt x="22588" y="-346"/>
                    </a:lnTo>
                    <a:lnTo>
                      <a:pt x="17057" y="3972"/>
                    </a:lnTo>
                    <a:lnTo>
                      <a:pt x="-641" y="40673"/>
                    </a:lnTo>
                    <a:lnTo>
                      <a:pt x="11527" y="59563"/>
                    </a:lnTo>
                    <a:lnTo>
                      <a:pt x="4336" y="71977"/>
                    </a:lnTo>
                    <a:lnTo>
                      <a:pt x="17057" y="84390"/>
                    </a:lnTo>
                    <a:lnTo>
                      <a:pt x="38628" y="77914"/>
                    </a:lnTo>
                    <a:lnTo>
                      <a:pt x="45265" y="78993"/>
                    </a:lnTo>
                    <a:lnTo>
                      <a:pt x="50243" y="69278"/>
                    </a:lnTo>
                    <a:cubicBezTo>
                      <a:pt x="53008" y="63881"/>
                      <a:pt x="55774" y="58484"/>
                      <a:pt x="59646" y="54166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7" name="Freeform 1069">
                <a:extLst>
                  <a:ext uri="{FF2B5EF4-FFF2-40B4-BE49-F238E27FC236}">
                    <a16:creationId xmlns:a16="http://schemas.microsoft.com/office/drawing/2014/main" id="{16C243CD-62D8-4A6B-BFC9-86F808269B56}"/>
                  </a:ext>
                </a:extLst>
              </p:cNvPr>
              <p:cNvSpPr/>
              <p:nvPr/>
            </p:nvSpPr>
            <p:spPr>
              <a:xfrm>
                <a:off x="7083828" y="3021434"/>
                <a:ext cx="402097" cy="316817"/>
              </a:xfrm>
              <a:custGeom>
                <a:avLst/>
                <a:gdLst>
                  <a:gd name="connsiteX0" fmla="*/ 107612 w 402097"/>
                  <a:gd name="connsiteY0" fmla="*/ 199990 h 316817"/>
                  <a:gd name="connsiteX1" fmla="*/ 128077 w 402097"/>
                  <a:gd name="connsiteY1" fmla="*/ 202149 h 316817"/>
                  <a:gd name="connsiteX2" fmla="*/ 152413 w 402097"/>
                  <a:gd name="connsiteY2" fmla="*/ 217801 h 316817"/>
                  <a:gd name="connsiteX3" fmla="*/ 152966 w 402097"/>
                  <a:gd name="connsiteY3" fmla="*/ 225896 h 316817"/>
                  <a:gd name="connsiteX4" fmla="*/ 142457 w 402097"/>
                  <a:gd name="connsiteY4" fmla="*/ 243168 h 316817"/>
                  <a:gd name="connsiteX5" fmla="*/ 157944 w 402097"/>
                  <a:gd name="connsiteY5" fmla="*/ 270154 h 316817"/>
                  <a:gd name="connsiteX6" fmla="*/ 170665 w 402097"/>
                  <a:gd name="connsiteY6" fmla="*/ 269074 h 316817"/>
                  <a:gd name="connsiteX7" fmla="*/ 207722 w 402097"/>
                  <a:gd name="connsiteY7" fmla="*/ 283647 h 316817"/>
                  <a:gd name="connsiteX8" fmla="*/ 212147 w 402097"/>
                  <a:gd name="connsiteY8" fmla="*/ 291203 h 316817"/>
                  <a:gd name="connsiteX9" fmla="*/ 216571 w 402097"/>
                  <a:gd name="connsiteY9" fmla="*/ 316570 h 316817"/>
                  <a:gd name="connsiteX10" fmla="*/ 234823 w 402097"/>
                  <a:gd name="connsiteY10" fmla="*/ 312252 h 316817"/>
                  <a:gd name="connsiteX11" fmla="*/ 246991 w 402097"/>
                  <a:gd name="connsiteY11" fmla="*/ 298759 h 316817"/>
                  <a:gd name="connsiteX12" fmla="*/ 280730 w 402097"/>
                  <a:gd name="connsiteY12" fmla="*/ 305236 h 316817"/>
                  <a:gd name="connsiteX13" fmla="*/ 289579 w 402097"/>
                  <a:gd name="connsiteY13" fmla="*/ 300918 h 316817"/>
                  <a:gd name="connsiteX14" fmla="*/ 331061 w 402097"/>
                  <a:gd name="connsiteY14" fmla="*/ 247485 h 316817"/>
                  <a:gd name="connsiteX15" fmla="*/ 337698 w 402097"/>
                  <a:gd name="connsiteY15" fmla="*/ 248565 h 316817"/>
                  <a:gd name="connsiteX16" fmla="*/ 344336 w 402097"/>
                  <a:gd name="connsiteY16" fmla="*/ 260439 h 316817"/>
                  <a:gd name="connsiteX17" fmla="*/ 349866 w 402097"/>
                  <a:gd name="connsiteY17" fmla="*/ 264756 h 316817"/>
                  <a:gd name="connsiteX18" fmla="*/ 364800 w 402097"/>
                  <a:gd name="connsiteY18" fmla="*/ 249644 h 316817"/>
                  <a:gd name="connsiteX19" fmla="*/ 368672 w 402097"/>
                  <a:gd name="connsiteY19" fmla="*/ 238310 h 316817"/>
                  <a:gd name="connsiteX20" fmla="*/ 350420 w 402097"/>
                  <a:gd name="connsiteY20" fmla="*/ 222118 h 316817"/>
                  <a:gd name="connsiteX21" fmla="*/ 352079 w 402097"/>
                  <a:gd name="connsiteY21" fmla="*/ 166527 h 316817"/>
                  <a:gd name="connsiteX22" fmla="*/ 363141 w 402097"/>
                  <a:gd name="connsiteY22" fmla="*/ 147097 h 316817"/>
                  <a:gd name="connsiteX23" fmla="*/ 401304 w 402097"/>
                  <a:gd name="connsiteY23" fmla="*/ 105538 h 316817"/>
                  <a:gd name="connsiteX24" fmla="*/ 385264 w 402097"/>
                  <a:gd name="connsiteY24" fmla="*/ 101220 h 316817"/>
                  <a:gd name="connsiteX25" fmla="*/ 382499 w 402097"/>
                  <a:gd name="connsiteY25" fmla="*/ 80171 h 316817"/>
                  <a:gd name="connsiteX26" fmla="*/ 373096 w 402097"/>
                  <a:gd name="connsiteY26" fmla="*/ 66678 h 316817"/>
                  <a:gd name="connsiteX27" fmla="*/ 310044 w 402097"/>
                  <a:gd name="connsiteY27" fmla="*/ 25659 h 316817"/>
                  <a:gd name="connsiteX28" fmla="*/ 302301 w 402097"/>
                  <a:gd name="connsiteY28" fmla="*/ 14865 h 316817"/>
                  <a:gd name="connsiteX29" fmla="*/ 285155 w 402097"/>
                  <a:gd name="connsiteY29" fmla="*/ 20262 h 316817"/>
                  <a:gd name="connsiteX30" fmla="*/ 265243 w 402097"/>
                  <a:gd name="connsiteY30" fmla="*/ 14865 h 316817"/>
                  <a:gd name="connsiteX31" fmla="*/ 248651 w 402097"/>
                  <a:gd name="connsiteY31" fmla="*/ -248 h 316817"/>
                  <a:gd name="connsiteX32" fmla="*/ 211040 w 402097"/>
                  <a:gd name="connsiteY32" fmla="*/ 28358 h 316817"/>
                  <a:gd name="connsiteX33" fmla="*/ 151306 w 402097"/>
                  <a:gd name="connsiteY33" fmla="*/ 24040 h 316817"/>
                  <a:gd name="connsiteX34" fmla="*/ 89913 w 402097"/>
                  <a:gd name="connsiteY34" fmla="*/ 36993 h 316817"/>
                  <a:gd name="connsiteX35" fmla="*/ 40688 w 402097"/>
                  <a:gd name="connsiteY35" fmla="*/ 53725 h 316817"/>
                  <a:gd name="connsiteX36" fmla="*/ -794 w 402097"/>
                  <a:gd name="connsiteY36" fmla="*/ 106618 h 316817"/>
                  <a:gd name="connsiteX37" fmla="*/ 8609 w 402097"/>
                  <a:gd name="connsiteY37" fmla="*/ 139001 h 316817"/>
                  <a:gd name="connsiteX38" fmla="*/ 20777 w 402097"/>
                  <a:gd name="connsiteY38" fmla="*/ 164368 h 316817"/>
                  <a:gd name="connsiteX39" fmla="*/ 31285 w 402097"/>
                  <a:gd name="connsiteY39" fmla="*/ 186497 h 316817"/>
                  <a:gd name="connsiteX40" fmla="*/ 53409 w 402097"/>
                  <a:gd name="connsiteY40" fmla="*/ 190275 h 316817"/>
                  <a:gd name="connsiteX41" fmla="*/ 66683 w 402097"/>
                  <a:gd name="connsiteY41" fmla="*/ 198910 h 316817"/>
                  <a:gd name="connsiteX42" fmla="*/ 107612 w 402097"/>
                  <a:gd name="connsiteY42" fmla="*/ 199990 h 316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02097" h="316817">
                    <a:moveTo>
                      <a:pt x="107612" y="199990"/>
                    </a:moveTo>
                    <a:lnTo>
                      <a:pt x="128077" y="202149"/>
                    </a:lnTo>
                    <a:lnTo>
                      <a:pt x="152413" y="217801"/>
                    </a:lnTo>
                    <a:lnTo>
                      <a:pt x="152966" y="225896"/>
                    </a:lnTo>
                    <a:lnTo>
                      <a:pt x="142457" y="243168"/>
                    </a:lnTo>
                    <a:lnTo>
                      <a:pt x="157944" y="270154"/>
                    </a:lnTo>
                    <a:lnTo>
                      <a:pt x="170665" y="269074"/>
                    </a:lnTo>
                    <a:lnTo>
                      <a:pt x="207722" y="283647"/>
                    </a:lnTo>
                    <a:lnTo>
                      <a:pt x="212147" y="291203"/>
                    </a:lnTo>
                    <a:lnTo>
                      <a:pt x="216571" y="316570"/>
                    </a:lnTo>
                    <a:lnTo>
                      <a:pt x="234823" y="312252"/>
                    </a:lnTo>
                    <a:lnTo>
                      <a:pt x="246991" y="298759"/>
                    </a:lnTo>
                    <a:lnTo>
                      <a:pt x="280730" y="305236"/>
                    </a:lnTo>
                    <a:lnTo>
                      <a:pt x="289579" y="300918"/>
                    </a:lnTo>
                    <a:lnTo>
                      <a:pt x="331061" y="247485"/>
                    </a:lnTo>
                    <a:lnTo>
                      <a:pt x="337698" y="248565"/>
                    </a:lnTo>
                    <a:lnTo>
                      <a:pt x="344336" y="260439"/>
                    </a:lnTo>
                    <a:lnTo>
                      <a:pt x="349866" y="264756"/>
                    </a:lnTo>
                    <a:lnTo>
                      <a:pt x="364800" y="249644"/>
                    </a:lnTo>
                    <a:lnTo>
                      <a:pt x="368672" y="238310"/>
                    </a:lnTo>
                    <a:lnTo>
                      <a:pt x="350420" y="222118"/>
                    </a:lnTo>
                    <a:lnTo>
                      <a:pt x="352079" y="166527"/>
                    </a:lnTo>
                    <a:lnTo>
                      <a:pt x="363141" y="147097"/>
                    </a:lnTo>
                    <a:lnTo>
                      <a:pt x="401304" y="105538"/>
                    </a:lnTo>
                    <a:lnTo>
                      <a:pt x="385264" y="101220"/>
                    </a:lnTo>
                    <a:lnTo>
                      <a:pt x="382499" y="80171"/>
                    </a:lnTo>
                    <a:lnTo>
                      <a:pt x="373096" y="66678"/>
                    </a:lnTo>
                    <a:lnTo>
                      <a:pt x="310044" y="25659"/>
                    </a:lnTo>
                    <a:lnTo>
                      <a:pt x="302301" y="14865"/>
                    </a:lnTo>
                    <a:lnTo>
                      <a:pt x="285155" y="20262"/>
                    </a:lnTo>
                    <a:lnTo>
                      <a:pt x="265243" y="14865"/>
                    </a:lnTo>
                    <a:lnTo>
                      <a:pt x="248651" y="-248"/>
                    </a:lnTo>
                    <a:lnTo>
                      <a:pt x="211040" y="28358"/>
                    </a:lnTo>
                    <a:lnTo>
                      <a:pt x="151306" y="24040"/>
                    </a:lnTo>
                    <a:lnTo>
                      <a:pt x="89913" y="36993"/>
                    </a:lnTo>
                    <a:lnTo>
                      <a:pt x="40688" y="53725"/>
                    </a:lnTo>
                    <a:lnTo>
                      <a:pt x="-794" y="106618"/>
                    </a:lnTo>
                    <a:cubicBezTo>
                      <a:pt x="4184" y="116333"/>
                      <a:pt x="4737" y="128746"/>
                      <a:pt x="8609" y="139001"/>
                    </a:cubicBezTo>
                    <a:cubicBezTo>
                      <a:pt x="11927" y="147637"/>
                      <a:pt x="17458" y="155732"/>
                      <a:pt x="20777" y="164368"/>
                    </a:cubicBezTo>
                    <a:cubicBezTo>
                      <a:pt x="24648" y="175162"/>
                      <a:pt x="20224" y="177321"/>
                      <a:pt x="31285" y="186497"/>
                    </a:cubicBezTo>
                    <a:cubicBezTo>
                      <a:pt x="44007" y="188655"/>
                      <a:pt x="48984" y="188655"/>
                      <a:pt x="53409" y="190275"/>
                    </a:cubicBezTo>
                    <a:cubicBezTo>
                      <a:pt x="58387" y="192434"/>
                      <a:pt x="61706" y="197291"/>
                      <a:pt x="66683" y="198910"/>
                    </a:cubicBezTo>
                    <a:cubicBezTo>
                      <a:pt x="80511" y="203768"/>
                      <a:pt x="93785" y="203228"/>
                      <a:pt x="107612" y="199990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8" name="Freeform 1070">
                <a:extLst>
                  <a:ext uri="{FF2B5EF4-FFF2-40B4-BE49-F238E27FC236}">
                    <a16:creationId xmlns:a16="http://schemas.microsoft.com/office/drawing/2014/main" id="{8232A8AA-B7B5-4A65-8450-FD536BDDC7C0}"/>
                  </a:ext>
                </a:extLst>
              </p:cNvPr>
              <p:cNvSpPr/>
              <p:nvPr/>
            </p:nvSpPr>
            <p:spPr>
              <a:xfrm>
                <a:off x="6337966" y="4248225"/>
                <a:ext cx="13568" cy="26446"/>
              </a:xfrm>
              <a:custGeom>
                <a:avLst/>
                <a:gdLst>
                  <a:gd name="connsiteX0" fmla="*/ 2936 w 13568"/>
                  <a:gd name="connsiteY0" fmla="*/ -386 h 26446"/>
                  <a:gd name="connsiteX1" fmla="*/ 12892 w 13568"/>
                  <a:gd name="connsiteY1" fmla="*/ 10948 h 26446"/>
                  <a:gd name="connsiteX2" fmla="*/ 11233 w 13568"/>
                  <a:gd name="connsiteY2" fmla="*/ 26060 h 26446"/>
                  <a:gd name="connsiteX3" fmla="*/ -382 w 13568"/>
                  <a:gd name="connsiteY3" fmla="*/ 23901 h 26446"/>
                  <a:gd name="connsiteX4" fmla="*/ 2936 w 13568"/>
                  <a:gd name="connsiteY4" fmla="*/ -386 h 26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68" h="26446">
                    <a:moveTo>
                      <a:pt x="2936" y="-386"/>
                    </a:moveTo>
                    <a:lnTo>
                      <a:pt x="12892" y="10948"/>
                    </a:lnTo>
                    <a:lnTo>
                      <a:pt x="11233" y="26060"/>
                    </a:lnTo>
                    <a:lnTo>
                      <a:pt x="-382" y="23901"/>
                    </a:lnTo>
                    <a:cubicBezTo>
                      <a:pt x="-1488" y="14186"/>
                      <a:pt x="724" y="6630"/>
                      <a:pt x="2936" y="-386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9" name="Freeform 1071">
                <a:extLst>
                  <a:ext uri="{FF2B5EF4-FFF2-40B4-BE49-F238E27FC236}">
                    <a16:creationId xmlns:a16="http://schemas.microsoft.com/office/drawing/2014/main" id="{F8C0CDC4-0548-46B1-8A1A-C6C9CD6BEEC8}"/>
                  </a:ext>
                </a:extLst>
              </p:cNvPr>
              <p:cNvSpPr/>
              <p:nvPr/>
            </p:nvSpPr>
            <p:spPr>
              <a:xfrm>
                <a:off x="8903501" y="5238077"/>
                <a:ext cx="100109" cy="230461"/>
              </a:xfrm>
              <a:custGeom>
                <a:avLst/>
                <a:gdLst>
                  <a:gd name="connsiteX0" fmla="*/ 22781 w 100109"/>
                  <a:gd name="connsiteY0" fmla="*/ 18364 h 230461"/>
                  <a:gd name="connsiteX1" fmla="*/ 48776 w 100109"/>
                  <a:gd name="connsiteY1" fmla="*/ 10269 h 230461"/>
                  <a:gd name="connsiteX2" fmla="*/ 52095 w 100109"/>
                  <a:gd name="connsiteY2" fmla="*/ 14 h 230461"/>
                  <a:gd name="connsiteX3" fmla="*/ 68134 w 100109"/>
                  <a:gd name="connsiteY3" fmla="*/ -526 h 230461"/>
                  <a:gd name="connsiteX4" fmla="*/ 64263 w 100109"/>
                  <a:gd name="connsiteY4" fmla="*/ 15666 h 230461"/>
                  <a:gd name="connsiteX5" fmla="*/ 75324 w 100109"/>
                  <a:gd name="connsiteY5" fmla="*/ 16745 h 230461"/>
                  <a:gd name="connsiteX6" fmla="*/ 87492 w 100109"/>
                  <a:gd name="connsiteY6" fmla="*/ 23222 h 230461"/>
                  <a:gd name="connsiteX7" fmla="*/ 85833 w 100109"/>
                  <a:gd name="connsiteY7" fmla="*/ 28619 h 230461"/>
                  <a:gd name="connsiteX8" fmla="*/ 99107 w 100109"/>
                  <a:gd name="connsiteY8" fmla="*/ 46430 h 230461"/>
                  <a:gd name="connsiteX9" fmla="*/ 93576 w 100109"/>
                  <a:gd name="connsiteY9" fmla="*/ 65860 h 230461"/>
                  <a:gd name="connsiteX10" fmla="*/ 82515 w 100109"/>
                  <a:gd name="connsiteY10" fmla="*/ 71797 h 230461"/>
                  <a:gd name="connsiteX11" fmla="*/ 78090 w 100109"/>
                  <a:gd name="connsiteY11" fmla="*/ 87449 h 230461"/>
                  <a:gd name="connsiteX12" fmla="*/ 89705 w 100109"/>
                  <a:gd name="connsiteY12" fmla="*/ 96085 h 230461"/>
                  <a:gd name="connsiteX13" fmla="*/ 70347 w 100109"/>
                  <a:gd name="connsiteY13" fmla="*/ 102022 h 230461"/>
                  <a:gd name="connsiteX14" fmla="*/ 63709 w 100109"/>
                  <a:gd name="connsiteY14" fmla="*/ 106879 h 230461"/>
                  <a:gd name="connsiteX15" fmla="*/ 58732 w 100109"/>
                  <a:gd name="connsiteY15" fmla="*/ 133325 h 230461"/>
                  <a:gd name="connsiteX16" fmla="*/ 67581 w 100109"/>
                  <a:gd name="connsiteY16" fmla="*/ 137643 h 230461"/>
                  <a:gd name="connsiteX17" fmla="*/ 43245 w 100109"/>
                  <a:gd name="connsiteY17" fmla="*/ 191616 h 230461"/>
                  <a:gd name="connsiteX18" fmla="*/ 37161 w 100109"/>
                  <a:gd name="connsiteY18" fmla="*/ 192695 h 230461"/>
                  <a:gd name="connsiteX19" fmla="*/ 29971 w 100109"/>
                  <a:gd name="connsiteY19" fmla="*/ 215903 h 230461"/>
                  <a:gd name="connsiteX20" fmla="*/ -1002 w 100109"/>
                  <a:gd name="connsiteY20" fmla="*/ 229936 h 230461"/>
                  <a:gd name="connsiteX21" fmla="*/ 1763 w 100109"/>
                  <a:gd name="connsiteY21" fmla="*/ 213205 h 230461"/>
                  <a:gd name="connsiteX22" fmla="*/ 104 w 100109"/>
                  <a:gd name="connsiteY22" fmla="*/ 197553 h 230461"/>
                  <a:gd name="connsiteX23" fmla="*/ 6741 w 100109"/>
                  <a:gd name="connsiteY23" fmla="*/ 153835 h 230461"/>
                  <a:gd name="connsiteX24" fmla="*/ 7847 w 100109"/>
                  <a:gd name="connsiteY24" fmla="*/ 124150 h 230461"/>
                  <a:gd name="connsiteX25" fmla="*/ 13378 w 100109"/>
                  <a:gd name="connsiteY25" fmla="*/ 109578 h 230461"/>
                  <a:gd name="connsiteX26" fmla="*/ 10060 w 100109"/>
                  <a:gd name="connsiteY26" fmla="*/ 86909 h 230461"/>
                  <a:gd name="connsiteX27" fmla="*/ 11166 w 100109"/>
                  <a:gd name="connsiteY27" fmla="*/ 67479 h 230461"/>
                  <a:gd name="connsiteX28" fmla="*/ 15590 w 100109"/>
                  <a:gd name="connsiteY28" fmla="*/ 51288 h 230461"/>
                  <a:gd name="connsiteX29" fmla="*/ 27758 w 100109"/>
                  <a:gd name="connsiteY29" fmla="*/ 27540 h 230461"/>
                  <a:gd name="connsiteX30" fmla="*/ 22781 w 100109"/>
                  <a:gd name="connsiteY30" fmla="*/ 18364 h 23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00109" h="230461">
                    <a:moveTo>
                      <a:pt x="22781" y="18364"/>
                    </a:moveTo>
                    <a:lnTo>
                      <a:pt x="48776" y="10269"/>
                    </a:lnTo>
                    <a:lnTo>
                      <a:pt x="52095" y="14"/>
                    </a:lnTo>
                    <a:lnTo>
                      <a:pt x="68134" y="-526"/>
                    </a:lnTo>
                    <a:lnTo>
                      <a:pt x="64263" y="15666"/>
                    </a:lnTo>
                    <a:lnTo>
                      <a:pt x="75324" y="16745"/>
                    </a:lnTo>
                    <a:lnTo>
                      <a:pt x="87492" y="23222"/>
                    </a:lnTo>
                    <a:lnTo>
                      <a:pt x="85833" y="28619"/>
                    </a:lnTo>
                    <a:lnTo>
                      <a:pt x="99107" y="46430"/>
                    </a:lnTo>
                    <a:lnTo>
                      <a:pt x="93576" y="65860"/>
                    </a:lnTo>
                    <a:lnTo>
                      <a:pt x="82515" y="71797"/>
                    </a:lnTo>
                    <a:lnTo>
                      <a:pt x="78090" y="87449"/>
                    </a:lnTo>
                    <a:lnTo>
                      <a:pt x="89705" y="96085"/>
                    </a:lnTo>
                    <a:lnTo>
                      <a:pt x="70347" y="102022"/>
                    </a:lnTo>
                    <a:lnTo>
                      <a:pt x="63709" y="106879"/>
                    </a:lnTo>
                    <a:lnTo>
                      <a:pt x="58732" y="133325"/>
                    </a:lnTo>
                    <a:lnTo>
                      <a:pt x="67581" y="137643"/>
                    </a:lnTo>
                    <a:lnTo>
                      <a:pt x="43245" y="191616"/>
                    </a:lnTo>
                    <a:lnTo>
                      <a:pt x="37161" y="192695"/>
                    </a:lnTo>
                    <a:lnTo>
                      <a:pt x="29971" y="215903"/>
                    </a:lnTo>
                    <a:lnTo>
                      <a:pt x="-1002" y="229936"/>
                    </a:lnTo>
                    <a:cubicBezTo>
                      <a:pt x="104" y="224539"/>
                      <a:pt x="1210" y="218602"/>
                      <a:pt x="1763" y="213205"/>
                    </a:cubicBezTo>
                    <a:cubicBezTo>
                      <a:pt x="1763" y="207807"/>
                      <a:pt x="104" y="202410"/>
                      <a:pt x="104" y="197553"/>
                    </a:cubicBezTo>
                    <a:cubicBezTo>
                      <a:pt x="657" y="183520"/>
                      <a:pt x="5635" y="167868"/>
                      <a:pt x="6741" y="153835"/>
                    </a:cubicBezTo>
                    <a:cubicBezTo>
                      <a:pt x="7847" y="144120"/>
                      <a:pt x="6188" y="133865"/>
                      <a:pt x="7847" y="124150"/>
                    </a:cubicBezTo>
                    <a:cubicBezTo>
                      <a:pt x="8953" y="119293"/>
                      <a:pt x="12825" y="114975"/>
                      <a:pt x="13378" y="109578"/>
                    </a:cubicBezTo>
                    <a:cubicBezTo>
                      <a:pt x="13931" y="102022"/>
                      <a:pt x="10613" y="94465"/>
                      <a:pt x="10060" y="86909"/>
                    </a:cubicBezTo>
                    <a:cubicBezTo>
                      <a:pt x="10060" y="80433"/>
                      <a:pt x="10060" y="73416"/>
                      <a:pt x="11166" y="67479"/>
                    </a:cubicBezTo>
                    <a:cubicBezTo>
                      <a:pt x="11719" y="62082"/>
                      <a:pt x="13931" y="56145"/>
                      <a:pt x="15590" y="51288"/>
                    </a:cubicBezTo>
                    <a:cubicBezTo>
                      <a:pt x="17803" y="46430"/>
                      <a:pt x="27758" y="31318"/>
                      <a:pt x="27758" y="27540"/>
                    </a:cubicBezTo>
                    <a:cubicBezTo>
                      <a:pt x="27758" y="23762"/>
                      <a:pt x="25546" y="20523"/>
                      <a:pt x="22781" y="18364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0" name="Freeform 1072">
                <a:extLst>
                  <a:ext uri="{FF2B5EF4-FFF2-40B4-BE49-F238E27FC236}">
                    <a16:creationId xmlns:a16="http://schemas.microsoft.com/office/drawing/2014/main" id="{CF58876F-9097-4F43-A9E5-A052D02F7E44}"/>
                  </a:ext>
                </a:extLst>
              </p:cNvPr>
              <p:cNvSpPr/>
              <p:nvPr/>
            </p:nvSpPr>
            <p:spPr>
              <a:xfrm>
                <a:off x="9062791" y="1514526"/>
                <a:ext cx="806408" cy="2111127"/>
              </a:xfrm>
              <a:custGeom>
                <a:avLst/>
                <a:gdLst>
                  <a:gd name="connsiteX0" fmla="*/ 518287 w 806408"/>
                  <a:gd name="connsiteY0" fmla="*/ 570858 h 2111127"/>
                  <a:gd name="connsiteX1" fmla="*/ 516628 w 806408"/>
                  <a:gd name="connsiteY1" fmla="*/ 588669 h 2111127"/>
                  <a:gd name="connsiteX2" fmla="*/ 532114 w 806408"/>
                  <a:gd name="connsiteY2" fmla="*/ 605400 h 2111127"/>
                  <a:gd name="connsiteX3" fmla="*/ 546495 w 806408"/>
                  <a:gd name="connsiteY3" fmla="*/ 611337 h 2111127"/>
                  <a:gd name="connsiteX4" fmla="*/ 625034 w 806408"/>
                  <a:gd name="connsiteY4" fmla="*/ 598923 h 2111127"/>
                  <a:gd name="connsiteX5" fmla="*/ 628352 w 806408"/>
                  <a:gd name="connsiteY5" fmla="*/ 610257 h 2111127"/>
                  <a:gd name="connsiteX6" fmla="*/ 623375 w 806408"/>
                  <a:gd name="connsiteY6" fmla="*/ 623751 h 2111127"/>
                  <a:gd name="connsiteX7" fmla="*/ 616738 w 806408"/>
                  <a:gd name="connsiteY7" fmla="*/ 631307 h 2111127"/>
                  <a:gd name="connsiteX8" fmla="*/ 595720 w 806408"/>
                  <a:gd name="connsiteY8" fmla="*/ 643181 h 2111127"/>
                  <a:gd name="connsiteX9" fmla="*/ 580787 w 806408"/>
                  <a:gd name="connsiteY9" fmla="*/ 694454 h 2111127"/>
                  <a:gd name="connsiteX10" fmla="*/ 629459 w 806408"/>
                  <a:gd name="connsiteY10" fmla="*/ 717662 h 2111127"/>
                  <a:gd name="connsiteX11" fmla="*/ 621162 w 806408"/>
                  <a:gd name="connsiteY11" fmla="*/ 762459 h 2111127"/>
                  <a:gd name="connsiteX12" fmla="*/ 622268 w 806408"/>
                  <a:gd name="connsiteY12" fmla="*/ 792144 h 2111127"/>
                  <a:gd name="connsiteX13" fmla="*/ 631118 w 806408"/>
                  <a:gd name="connsiteY13" fmla="*/ 789985 h 2111127"/>
                  <a:gd name="connsiteX14" fmla="*/ 653242 w 806408"/>
                  <a:gd name="connsiteY14" fmla="*/ 795922 h 2111127"/>
                  <a:gd name="connsiteX15" fmla="*/ 664857 w 806408"/>
                  <a:gd name="connsiteY15" fmla="*/ 790525 h 2111127"/>
                  <a:gd name="connsiteX16" fmla="*/ 701914 w 806408"/>
                  <a:gd name="connsiteY16" fmla="*/ 791065 h 2111127"/>
                  <a:gd name="connsiteX17" fmla="*/ 716847 w 806408"/>
                  <a:gd name="connsiteY17" fmla="*/ 783509 h 2111127"/>
                  <a:gd name="connsiteX18" fmla="*/ 758329 w 806408"/>
                  <a:gd name="connsiteY18" fmla="*/ 782969 h 2111127"/>
                  <a:gd name="connsiteX19" fmla="*/ 770497 w 806408"/>
                  <a:gd name="connsiteY19" fmla="*/ 800780 h 2111127"/>
                  <a:gd name="connsiteX20" fmla="*/ 777134 w 806408"/>
                  <a:gd name="connsiteY20" fmla="*/ 859070 h 2111127"/>
                  <a:gd name="connsiteX21" fmla="*/ 768285 w 806408"/>
                  <a:gd name="connsiteY21" fmla="*/ 877420 h 2111127"/>
                  <a:gd name="connsiteX22" fmla="*/ 727909 w 806408"/>
                  <a:gd name="connsiteY22" fmla="*/ 914122 h 2111127"/>
                  <a:gd name="connsiteX23" fmla="*/ 719060 w 806408"/>
                  <a:gd name="connsiteY23" fmla="*/ 918439 h 2111127"/>
                  <a:gd name="connsiteX24" fmla="*/ 710210 w 806408"/>
                  <a:gd name="connsiteY24" fmla="*/ 958919 h 2111127"/>
                  <a:gd name="connsiteX25" fmla="*/ 678684 w 806408"/>
                  <a:gd name="connsiteY25" fmla="*/ 967015 h 2111127"/>
                  <a:gd name="connsiteX26" fmla="*/ 620056 w 806408"/>
                  <a:gd name="connsiteY26" fmla="*/ 981047 h 2111127"/>
                  <a:gd name="connsiteX27" fmla="*/ 602357 w 806408"/>
                  <a:gd name="connsiteY27" fmla="*/ 969713 h 2111127"/>
                  <a:gd name="connsiteX28" fmla="*/ 556450 w 806408"/>
                  <a:gd name="connsiteY28" fmla="*/ 986984 h 2111127"/>
                  <a:gd name="connsiteX29" fmla="*/ 556450 w 806408"/>
                  <a:gd name="connsiteY29" fmla="*/ 996160 h 2111127"/>
                  <a:gd name="connsiteX30" fmla="*/ 566406 w 806408"/>
                  <a:gd name="connsiteY30" fmla="*/ 1015050 h 2111127"/>
                  <a:gd name="connsiteX31" fmla="*/ 565853 w 806408"/>
                  <a:gd name="connsiteY31" fmla="*/ 1028003 h 2111127"/>
                  <a:gd name="connsiteX32" fmla="*/ 550920 w 806408"/>
                  <a:gd name="connsiteY32" fmla="*/ 1036099 h 2111127"/>
                  <a:gd name="connsiteX33" fmla="*/ 530455 w 806408"/>
                  <a:gd name="connsiteY33" fmla="*/ 1032321 h 2111127"/>
                  <a:gd name="connsiteX34" fmla="*/ 506672 w 806408"/>
                  <a:gd name="connsiteY34" fmla="*/ 1068483 h 2111127"/>
                  <a:gd name="connsiteX35" fmla="*/ 497270 w 806408"/>
                  <a:gd name="connsiteY35" fmla="*/ 1073880 h 2111127"/>
                  <a:gd name="connsiteX36" fmla="*/ 481230 w 806408"/>
                  <a:gd name="connsiteY36" fmla="*/ 1144584 h 2111127"/>
                  <a:gd name="connsiteX37" fmla="*/ 471827 w 806408"/>
                  <a:gd name="connsiteY37" fmla="*/ 1152679 h 2111127"/>
                  <a:gd name="connsiteX38" fmla="*/ 451916 w 806408"/>
                  <a:gd name="connsiteY38" fmla="*/ 1150520 h 2111127"/>
                  <a:gd name="connsiteX39" fmla="*/ 406563 w 806408"/>
                  <a:gd name="connsiteY39" fmla="*/ 1163474 h 2111127"/>
                  <a:gd name="connsiteX40" fmla="*/ 429792 w 806408"/>
                  <a:gd name="connsiteY40" fmla="*/ 1215827 h 2111127"/>
                  <a:gd name="connsiteX41" fmla="*/ 424815 w 806408"/>
                  <a:gd name="connsiteY41" fmla="*/ 1217986 h 2111127"/>
                  <a:gd name="connsiteX42" fmla="*/ 407116 w 806408"/>
                  <a:gd name="connsiteY42" fmla="*/ 1213128 h 2111127"/>
                  <a:gd name="connsiteX43" fmla="*/ 397713 w 806408"/>
                  <a:gd name="connsiteY43" fmla="*/ 1204493 h 2111127"/>
                  <a:gd name="connsiteX44" fmla="*/ 389970 w 806408"/>
                  <a:gd name="connsiteY44" fmla="*/ 1186682 h 2111127"/>
                  <a:gd name="connsiteX45" fmla="*/ 342957 w 806408"/>
                  <a:gd name="connsiteY45" fmla="*/ 1174808 h 2111127"/>
                  <a:gd name="connsiteX46" fmla="*/ 289307 w 806408"/>
                  <a:gd name="connsiteY46" fmla="*/ 1175348 h 2111127"/>
                  <a:gd name="connsiteX47" fmla="*/ 284882 w 806408"/>
                  <a:gd name="connsiteY47" fmla="*/ 1172649 h 2111127"/>
                  <a:gd name="connsiteX48" fmla="*/ 282670 w 806408"/>
                  <a:gd name="connsiteY48" fmla="*/ 1165093 h 2111127"/>
                  <a:gd name="connsiteX49" fmla="*/ 225148 w 806408"/>
                  <a:gd name="connsiteY49" fmla="*/ 1194778 h 2111127"/>
                  <a:gd name="connsiteX50" fmla="*/ 214086 w 806408"/>
                  <a:gd name="connsiteY50" fmla="*/ 1191000 h 2111127"/>
                  <a:gd name="connsiteX51" fmla="*/ 206343 w 806408"/>
                  <a:gd name="connsiteY51" fmla="*/ 1181824 h 2111127"/>
                  <a:gd name="connsiteX52" fmla="*/ 177582 w 806408"/>
                  <a:gd name="connsiteY52" fmla="*/ 1212589 h 2111127"/>
                  <a:gd name="connsiteX53" fmla="*/ 172051 w 806408"/>
                  <a:gd name="connsiteY53" fmla="*/ 1229860 h 2111127"/>
                  <a:gd name="connsiteX54" fmla="*/ 160437 w 806408"/>
                  <a:gd name="connsiteY54" fmla="*/ 1242813 h 2111127"/>
                  <a:gd name="connsiteX55" fmla="*/ 147715 w 806408"/>
                  <a:gd name="connsiteY55" fmla="*/ 1246591 h 2111127"/>
                  <a:gd name="connsiteX56" fmla="*/ 141078 w 806408"/>
                  <a:gd name="connsiteY56" fmla="*/ 1241194 h 2111127"/>
                  <a:gd name="connsiteX57" fmla="*/ 122826 w 806408"/>
                  <a:gd name="connsiteY57" fmla="*/ 1253068 h 2111127"/>
                  <a:gd name="connsiteX58" fmla="*/ 101256 w 806408"/>
                  <a:gd name="connsiteY58" fmla="*/ 1254687 h 2111127"/>
                  <a:gd name="connsiteX59" fmla="*/ 102362 w 806408"/>
                  <a:gd name="connsiteY59" fmla="*/ 1280594 h 2111127"/>
                  <a:gd name="connsiteX60" fmla="*/ 96831 w 806408"/>
                  <a:gd name="connsiteY60" fmla="*/ 1296246 h 2111127"/>
                  <a:gd name="connsiteX61" fmla="*/ 104021 w 806408"/>
                  <a:gd name="connsiteY61" fmla="*/ 1338344 h 2111127"/>
                  <a:gd name="connsiteX62" fmla="*/ 87428 w 806408"/>
                  <a:gd name="connsiteY62" fmla="*/ 1380443 h 2111127"/>
                  <a:gd name="connsiteX63" fmla="*/ 76920 w 806408"/>
                  <a:gd name="connsiteY63" fmla="*/ 1452766 h 2111127"/>
                  <a:gd name="connsiteX64" fmla="*/ 69176 w 806408"/>
                  <a:gd name="connsiteY64" fmla="*/ 1464100 h 2111127"/>
                  <a:gd name="connsiteX65" fmla="*/ 67517 w 806408"/>
                  <a:gd name="connsiteY65" fmla="*/ 1470576 h 2111127"/>
                  <a:gd name="connsiteX66" fmla="*/ 109552 w 806408"/>
                  <a:gd name="connsiteY66" fmla="*/ 1533184 h 2111127"/>
                  <a:gd name="connsiteX67" fmla="*/ 109552 w 806408"/>
                  <a:gd name="connsiteY67" fmla="*/ 1539661 h 2111127"/>
                  <a:gd name="connsiteX68" fmla="*/ 103468 w 806408"/>
                  <a:gd name="connsiteY68" fmla="*/ 1549376 h 2111127"/>
                  <a:gd name="connsiteX69" fmla="*/ 88535 w 806408"/>
                  <a:gd name="connsiteY69" fmla="*/ 1558551 h 2111127"/>
                  <a:gd name="connsiteX70" fmla="*/ 40 w 806408"/>
                  <a:gd name="connsiteY70" fmla="*/ 1529946 h 2111127"/>
                  <a:gd name="connsiteX71" fmla="*/ -1066 w 806408"/>
                  <a:gd name="connsiteY71" fmla="*/ 1559091 h 2111127"/>
                  <a:gd name="connsiteX72" fmla="*/ 3912 w 806408"/>
                  <a:gd name="connsiteY72" fmla="*/ 1582299 h 2111127"/>
                  <a:gd name="connsiteX73" fmla="*/ 1146 w 806408"/>
                  <a:gd name="connsiteY73" fmla="*/ 1616302 h 2111127"/>
                  <a:gd name="connsiteX74" fmla="*/ 9442 w 806408"/>
                  <a:gd name="connsiteY74" fmla="*/ 1643828 h 2111127"/>
                  <a:gd name="connsiteX75" fmla="*/ 27694 w 806408"/>
                  <a:gd name="connsiteY75" fmla="*/ 1689164 h 2111127"/>
                  <a:gd name="connsiteX76" fmla="*/ 34332 w 806408"/>
                  <a:gd name="connsiteY76" fmla="*/ 1692942 h 2111127"/>
                  <a:gd name="connsiteX77" fmla="*/ 40416 w 806408"/>
                  <a:gd name="connsiteY77" fmla="*/ 1696720 h 2111127"/>
                  <a:gd name="connsiteX78" fmla="*/ 32672 w 806408"/>
                  <a:gd name="connsiteY78" fmla="*/ 1722087 h 2111127"/>
                  <a:gd name="connsiteX79" fmla="*/ 55902 w 806408"/>
                  <a:gd name="connsiteY79" fmla="*/ 1780378 h 2111127"/>
                  <a:gd name="connsiteX80" fmla="*/ 94619 w 806408"/>
                  <a:gd name="connsiteY80" fmla="*/ 1774980 h 2111127"/>
                  <a:gd name="connsiteX81" fmla="*/ 102362 w 806408"/>
                  <a:gd name="connsiteY81" fmla="*/ 1777139 h 2111127"/>
                  <a:gd name="connsiteX82" fmla="*/ 125039 w 806408"/>
                  <a:gd name="connsiteY82" fmla="*/ 1810602 h 2111127"/>
                  <a:gd name="connsiteX83" fmla="*/ 141631 w 806408"/>
                  <a:gd name="connsiteY83" fmla="*/ 1806284 h 2111127"/>
                  <a:gd name="connsiteX84" fmla="*/ 144397 w 806408"/>
                  <a:gd name="connsiteY84" fmla="*/ 1796030 h 2111127"/>
                  <a:gd name="connsiteX85" fmla="*/ 154906 w 806408"/>
                  <a:gd name="connsiteY85" fmla="*/ 1781997 h 2111127"/>
                  <a:gd name="connsiteX86" fmla="*/ 183666 w 806408"/>
                  <a:gd name="connsiteY86" fmla="*/ 1764726 h 2111127"/>
                  <a:gd name="connsiteX87" fmla="*/ 191963 w 806408"/>
                  <a:gd name="connsiteY87" fmla="*/ 1763106 h 2111127"/>
                  <a:gd name="connsiteX88" fmla="*/ 251697 w 806408"/>
                  <a:gd name="connsiteY88" fmla="*/ 1805745 h 2111127"/>
                  <a:gd name="connsiteX89" fmla="*/ 298710 w 806408"/>
                  <a:gd name="connsiteY89" fmla="*/ 1858637 h 2111127"/>
                  <a:gd name="connsiteX90" fmla="*/ 273820 w 806408"/>
                  <a:gd name="connsiteY90" fmla="*/ 1867813 h 2111127"/>
                  <a:gd name="connsiteX91" fmla="*/ 281011 w 806408"/>
                  <a:gd name="connsiteY91" fmla="*/ 1878607 h 2111127"/>
                  <a:gd name="connsiteX92" fmla="*/ 296497 w 806408"/>
                  <a:gd name="connsiteY92" fmla="*/ 1869972 h 2111127"/>
                  <a:gd name="connsiteX93" fmla="*/ 305900 w 806408"/>
                  <a:gd name="connsiteY93" fmla="*/ 1866733 h 2111127"/>
                  <a:gd name="connsiteX94" fmla="*/ 320833 w 806408"/>
                  <a:gd name="connsiteY94" fmla="*/ 1860257 h 2111127"/>
                  <a:gd name="connsiteX95" fmla="*/ 355125 w 806408"/>
                  <a:gd name="connsiteY95" fmla="*/ 1858098 h 2111127"/>
                  <a:gd name="connsiteX96" fmla="*/ 356231 w 806408"/>
                  <a:gd name="connsiteY96" fmla="*/ 1851081 h 2111127"/>
                  <a:gd name="connsiteX97" fmla="*/ 366187 w 806408"/>
                  <a:gd name="connsiteY97" fmla="*/ 1842985 h 2111127"/>
                  <a:gd name="connsiteX98" fmla="*/ 371165 w 806408"/>
                  <a:gd name="connsiteY98" fmla="*/ 1837049 h 2111127"/>
                  <a:gd name="connsiteX99" fmla="*/ 388864 w 806408"/>
                  <a:gd name="connsiteY99" fmla="*/ 1821397 h 2111127"/>
                  <a:gd name="connsiteX100" fmla="*/ 399925 w 806408"/>
                  <a:gd name="connsiteY100" fmla="*/ 1790632 h 2111127"/>
                  <a:gd name="connsiteX101" fmla="*/ 407669 w 806408"/>
                  <a:gd name="connsiteY101" fmla="*/ 1761487 h 2111127"/>
                  <a:gd name="connsiteX102" fmla="*/ 419284 w 806408"/>
                  <a:gd name="connsiteY102" fmla="*/ 1745296 h 2111127"/>
                  <a:gd name="connsiteX103" fmla="*/ 451916 w 806408"/>
                  <a:gd name="connsiteY103" fmla="*/ 1695641 h 2111127"/>
                  <a:gd name="connsiteX104" fmla="*/ 482889 w 806408"/>
                  <a:gd name="connsiteY104" fmla="*/ 1692942 h 2111127"/>
                  <a:gd name="connsiteX105" fmla="*/ 498376 w 806408"/>
                  <a:gd name="connsiteY105" fmla="*/ 1689164 h 2111127"/>
                  <a:gd name="connsiteX106" fmla="*/ 515522 w 806408"/>
                  <a:gd name="connsiteY106" fmla="*/ 1688625 h 2111127"/>
                  <a:gd name="connsiteX107" fmla="*/ 518287 w 806408"/>
                  <a:gd name="connsiteY107" fmla="*/ 1687005 h 2111127"/>
                  <a:gd name="connsiteX108" fmla="*/ 534327 w 806408"/>
                  <a:gd name="connsiteY108" fmla="*/ 1655162 h 2111127"/>
                  <a:gd name="connsiteX109" fmla="*/ 547048 w 806408"/>
                  <a:gd name="connsiteY109" fmla="*/ 1645447 h 2111127"/>
                  <a:gd name="connsiteX110" fmla="*/ 561428 w 806408"/>
                  <a:gd name="connsiteY110" fmla="*/ 1635192 h 2111127"/>
                  <a:gd name="connsiteX111" fmla="*/ 582999 w 806408"/>
                  <a:gd name="connsiteY111" fmla="*/ 1635192 h 2111127"/>
                  <a:gd name="connsiteX112" fmla="*/ 586871 w 806408"/>
                  <a:gd name="connsiteY112" fmla="*/ 1639510 h 2111127"/>
                  <a:gd name="connsiteX113" fmla="*/ 599039 w 806408"/>
                  <a:gd name="connsiteY113" fmla="*/ 1646526 h 2111127"/>
                  <a:gd name="connsiteX114" fmla="*/ 601804 w 806408"/>
                  <a:gd name="connsiteY114" fmla="*/ 1663797 h 2111127"/>
                  <a:gd name="connsiteX115" fmla="*/ 629459 w 806408"/>
                  <a:gd name="connsiteY115" fmla="*/ 1694022 h 2111127"/>
                  <a:gd name="connsiteX116" fmla="*/ 636096 w 806408"/>
                  <a:gd name="connsiteY116" fmla="*/ 1726405 h 2111127"/>
                  <a:gd name="connsiteX117" fmla="*/ 641627 w 806408"/>
                  <a:gd name="connsiteY117" fmla="*/ 1777139 h 2111127"/>
                  <a:gd name="connsiteX118" fmla="*/ 644392 w 806408"/>
                  <a:gd name="connsiteY118" fmla="*/ 1782536 h 2111127"/>
                  <a:gd name="connsiteX119" fmla="*/ 684768 w 806408"/>
                  <a:gd name="connsiteY119" fmla="*/ 1778219 h 2111127"/>
                  <a:gd name="connsiteX120" fmla="*/ 686980 w 806408"/>
                  <a:gd name="connsiteY120" fmla="*/ 1780917 h 2111127"/>
                  <a:gd name="connsiteX121" fmla="*/ 657666 w 806408"/>
                  <a:gd name="connsiteY121" fmla="*/ 1812221 h 2111127"/>
                  <a:gd name="connsiteX122" fmla="*/ 628352 w 806408"/>
                  <a:gd name="connsiteY122" fmla="*/ 1823016 h 2111127"/>
                  <a:gd name="connsiteX123" fmla="*/ 606782 w 806408"/>
                  <a:gd name="connsiteY123" fmla="*/ 1836509 h 2111127"/>
                  <a:gd name="connsiteX124" fmla="*/ 596826 w 806408"/>
                  <a:gd name="connsiteY124" fmla="*/ 1844605 h 2111127"/>
                  <a:gd name="connsiteX125" fmla="*/ 582446 w 806408"/>
                  <a:gd name="connsiteY125" fmla="*/ 1853780 h 2111127"/>
                  <a:gd name="connsiteX126" fmla="*/ 573596 w 806408"/>
                  <a:gd name="connsiteY126" fmla="*/ 1867273 h 2111127"/>
                  <a:gd name="connsiteX127" fmla="*/ 564194 w 806408"/>
                  <a:gd name="connsiteY127" fmla="*/ 1879147 h 2111127"/>
                  <a:gd name="connsiteX128" fmla="*/ 569172 w 806408"/>
                  <a:gd name="connsiteY128" fmla="*/ 1899117 h 2111127"/>
                  <a:gd name="connsiteX129" fmla="*/ 575256 w 806408"/>
                  <a:gd name="connsiteY129" fmla="*/ 1910451 h 2111127"/>
                  <a:gd name="connsiteX130" fmla="*/ 568618 w 806408"/>
                  <a:gd name="connsiteY130" fmla="*/ 1923404 h 2111127"/>
                  <a:gd name="connsiteX131" fmla="*/ 574149 w 806408"/>
                  <a:gd name="connsiteY131" fmla="*/ 1948232 h 2111127"/>
                  <a:gd name="connsiteX132" fmla="*/ 593508 w 806408"/>
                  <a:gd name="connsiteY132" fmla="*/ 1954168 h 2111127"/>
                  <a:gd name="connsiteX133" fmla="*/ 605123 w 806408"/>
                  <a:gd name="connsiteY133" fmla="*/ 1958486 h 2111127"/>
                  <a:gd name="connsiteX134" fmla="*/ 623928 w 806408"/>
                  <a:gd name="connsiteY134" fmla="*/ 1949851 h 2111127"/>
                  <a:gd name="connsiteX135" fmla="*/ 625034 w 806408"/>
                  <a:gd name="connsiteY135" fmla="*/ 1952010 h 2111127"/>
                  <a:gd name="connsiteX136" fmla="*/ 622268 w 806408"/>
                  <a:gd name="connsiteY136" fmla="*/ 1957947 h 2111127"/>
                  <a:gd name="connsiteX137" fmla="*/ 612313 w 806408"/>
                  <a:gd name="connsiteY137" fmla="*/ 1962804 h 2111127"/>
                  <a:gd name="connsiteX138" fmla="*/ 596826 w 806408"/>
                  <a:gd name="connsiteY138" fmla="*/ 1977377 h 2111127"/>
                  <a:gd name="connsiteX139" fmla="*/ 576362 w 806408"/>
                  <a:gd name="connsiteY139" fmla="*/ 1977916 h 2111127"/>
                  <a:gd name="connsiteX140" fmla="*/ 569725 w 806408"/>
                  <a:gd name="connsiteY140" fmla="*/ 1981694 h 2111127"/>
                  <a:gd name="connsiteX141" fmla="*/ 553685 w 806408"/>
                  <a:gd name="connsiteY141" fmla="*/ 1993029 h 2111127"/>
                  <a:gd name="connsiteX142" fmla="*/ 537645 w 806408"/>
                  <a:gd name="connsiteY142" fmla="*/ 1997886 h 2111127"/>
                  <a:gd name="connsiteX143" fmla="*/ 534327 w 806408"/>
                  <a:gd name="connsiteY143" fmla="*/ 2002204 h 2111127"/>
                  <a:gd name="connsiteX144" fmla="*/ 544282 w 806408"/>
                  <a:gd name="connsiteY144" fmla="*/ 2031889 h 2111127"/>
                  <a:gd name="connsiteX145" fmla="*/ 596826 w 806408"/>
                  <a:gd name="connsiteY145" fmla="*/ 2025412 h 2111127"/>
                  <a:gd name="connsiteX146" fmla="*/ 613972 w 806408"/>
                  <a:gd name="connsiteY146" fmla="*/ 2045382 h 2111127"/>
                  <a:gd name="connsiteX147" fmla="*/ 632224 w 806408"/>
                  <a:gd name="connsiteY147" fmla="*/ 2054557 h 2111127"/>
                  <a:gd name="connsiteX148" fmla="*/ 648264 w 806408"/>
                  <a:gd name="connsiteY148" fmla="*/ 2064812 h 2111127"/>
                  <a:gd name="connsiteX149" fmla="*/ 666516 w 806408"/>
                  <a:gd name="connsiteY149" fmla="*/ 2069669 h 2111127"/>
                  <a:gd name="connsiteX150" fmla="*/ 670387 w 806408"/>
                  <a:gd name="connsiteY150" fmla="*/ 2071828 h 2111127"/>
                  <a:gd name="connsiteX151" fmla="*/ 680896 w 806408"/>
                  <a:gd name="connsiteY151" fmla="*/ 2085861 h 2111127"/>
                  <a:gd name="connsiteX152" fmla="*/ 686980 w 806408"/>
                  <a:gd name="connsiteY152" fmla="*/ 2110688 h 2111127"/>
                  <a:gd name="connsiteX153" fmla="*/ 716294 w 806408"/>
                  <a:gd name="connsiteY153" fmla="*/ 2090179 h 2111127"/>
                  <a:gd name="connsiteX154" fmla="*/ 721825 w 806408"/>
                  <a:gd name="connsiteY154" fmla="*/ 2094497 h 2111127"/>
                  <a:gd name="connsiteX155" fmla="*/ 734546 w 806408"/>
                  <a:gd name="connsiteY155" fmla="*/ 2099354 h 2111127"/>
                  <a:gd name="connsiteX156" fmla="*/ 748373 w 806408"/>
                  <a:gd name="connsiteY156" fmla="*/ 2107990 h 2111127"/>
                  <a:gd name="connsiteX157" fmla="*/ 755011 w 806408"/>
                  <a:gd name="connsiteY157" fmla="*/ 2110149 h 2111127"/>
                  <a:gd name="connsiteX158" fmla="*/ 768285 w 806408"/>
                  <a:gd name="connsiteY158" fmla="*/ 2093957 h 2111127"/>
                  <a:gd name="connsiteX159" fmla="*/ 777134 w 806408"/>
                  <a:gd name="connsiteY159" fmla="*/ 2096655 h 2111127"/>
                  <a:gd name="connsiteX160" fmla="*/ 784877 w 806408"/>
                  <a:gd name="connsiteY160" fmla="*/ 2088560 h 2111127"/>
                  <a:gd name="connsiteX161" fmla="*/ 805342 w 806408"/>
                  <a:gd name="connsiteY161" fmla="*/ 2077765 h 2111127"/>
                  <a:gd name="connsiteX162" fmla="*/ 805342 w 806408"/>
                  <a:gd name="connsiteY162" fmla="*/ -170 h 2111127"/>
                  <a:gd name="connsiteX163" fmla="*/ 782665 w 806408"/>
                  <a:gd name="connsiteY163" fmla="*/ 5767 h 2111127"/>
                  <a:gd name="connsiteX164" fmla="*/ 763860 w 806408"/>
                  <a:gd name="connsiteY164" fmla="*/ 15482 h 2111127"/>
                  <a:gd name="connsiteX165" fmla="*/ 752798 w 806408"/>
                  <a:gd name="connsiteY165" fmla="*/ 16562 h 2111127"/>
                  <a:gd name="connsiteX166" fmla="*/ 751139 w 806408"/>
                  <a:gd name="connsiteY166" fmla="*/ 34912 h 2111127"/>
                  <a:gd name="connsiteX167" fmla="*/ 753351 w 806408"/>
                  <a:gd name="connsiteY167" fmla="*/ 45167 h 2111127"/>
                  <a:gd name="connsiteX168" fmla="*/ 741736 w 806408"/>
                  <a:gd name="connsiteY168" fmla="*/ 79709 h 2111127"/>
                  <a:gd name="connsiteX169" fmla="*/ 745608 w 806408"/>
                  <a:gd name="connsiteY169" fmla="*/ 105616 h 2111127"/>
                  <a:gd name="connsiteX170" fmla="*/ 760541 w 806408"/>
                  <a:gd name="connsiteY170" fmla="*/ 125586 h 2111127"/>
                  <a:gd name="connsiteX171" fmla="*/ 753351 w 806408"/>
                  <a:gd name="connsiteY171" fmla="*/ 141238 h 2111127"/>
                  <a:gd name="connsiteX172" fmla="*/ 744502 w 806408"/>
                  <a:gd name="connsiteY172" fmla="*/ 148254 h 2111127"/>
                  <a:gd name="connsiteX173" fmla="*/ 705232 w 806408"/>
                  <a:gd name="connsiteY173" fmla="*/ 243785 h 2111127"/>
                  <a:gd name="connsiteX174" fmla="*/ 696383 w 806408"/>
                  <a:gd name="connsiteY174" fmla="*/ 253500 h 2111127"/>
                  <a:gd name="connsiteX175" fmla="*/ 683109 w 806408"/>
                  <a:gd name="connsiteY175" fmla="*/ 292900 h 2111127"/>
                  <a:gd name="connsiteX176" fmla="*/ 674259 w 806408"/>
                  <a:gd name="connsiteY176" fmla="*/ 309632 h 2111127"/>
                  <a:gd name="connsiteX177" fmla="*/ 670941 w 806408"/>
                  <a:gd name="connsiteY177" fmla="*/ 329062 h 2111127"/>
                  <a:gd name="connsiteX178" fmla="*/ 656007 w 806408"/>
                  <a:gd name="connsiteY178" fmla="*/ 340396 h 2111127"/>
                  <a:gd name="connsiteX179" fmla="*/ 635543 w 806408"/>
                  <a:gd name="connsiteY179" fmla="*/ 393828 h 2111127"/>
                  <a:gd name="connsiteX180" fmla="*/ 627799 w 806408"/>
                  <a:gd name="connsiteY180" fmla="*/ 407321 h 2111127"/>
                  <a:gd name="connsiteX181" fmla="*/ 622822 w 806408"/>
                  <a:gd name="connsiteY181" fmla="*/ 422973 h 2111127"/>
                  <a:gd name="connsiteX182" fmla="*/ 599592 w 806408"/>
                  <a:gd name="connsiteY182" fmla="*/ 452658 h 2111127"/>
                  <a:gd name="connsiteX183" fmla="*/ 591848 w 806408"/>
                  <a:gd name="connsiteY183" fmla="*/ 470469 h 2111127"/>
                  <a:gd name="connsiteX184" fmla="*/ 587424 w 806408"/>
                  <a:gd name="connsiteY184" fmla="*/ 476406 h 2111127"/>
                  <a:gd name="connsiteX185" fmla="*/ 574703 w 806408"/>
                  <a:gd name="connsiteY185" fmla="*/ 494757 h 2111127"/>
                  <a:gd name="connsiteX186" fmla="*/ 561981 w 806408"/>
                  <a:gd name="connsiteY186" fmla="*/ 507710 h 2111127"/>
                  <a:gd name="connsiteX187" fmla="*/ 548154 w 806408"/>
                  <a:gd name="connsiteY187" fmla="*/ 518504 h 2111127"/>
                  <a:gd name="connsiteX188" fmla="*/ 539305 w 806408"/>
                  <a:gd name="connsiteY188" fmla="*/ 529839 h 2111127"/>
                  <a:gd name="connsiteX189" fmla="*/ 522712 w 806408"/>
                  <a:gd name="connsiteY189" fmla="*/ 547110 h 2111127"/>
                  <a:gd name="connsiteX190" fmla="*/ 518287 w 806408"/>
                  <a:gd name="connsiteY190" fmla="*/ 570858 h 2111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</a:cxnLst>
                <a:rect l="l" t="t" r="r" b="b"/>
                <a:pathLst>
                  <a:path w="806408" h="2111127">
                    <a:moveTo>
                      <a:pt x="518287" y="570858"/>
                    </a:moveTo>
                    <a:lnTo>
                      <a:pt x="516628" y="588669"/>
                    </a:lnTo>
                    <a:lnTo>
                      <a:pt x="532114" y="605400"/>
                    </a:lnTo>
                    <a:lnTo>
                      <a:pt x="546495" y="611337"/>
                    </a:lnTo>
                    <a:lnTo>
                      <a:pt x="625034" y="598923"/>
                    </a:lnTo>
                    <a:lnTo>
                      <a:pt x="628352" y="610257"/>
                    </a:lnTo>
                    <a:lnTo>
                      <a:pt x="623375" y="623751"/>
                    </a:lnTo>
                    <a:lnTo>
                      <a:pt x="616738" y="631307"/>
                    </a:lnTo>
                    <a:lnTo>
                      <a:pt x="595720" y="643181"/>
                    </a:lnTo>
                    <a:lnTo>
                      <a:pt x="580787" y="694454"/>
                    </a:lnTo>
                    <a:lnTo>
                      <a:pt x="629459" y="717662"/>
                    </a:lnTo>
                    <a:lnTo>
                      <a:pt x="621162" y="762459"/>
                    </a:lnTo>
                    <a:lnTo>
                      <a:pt x="622268" y="792144"/>
                    </a:lnTo>
                    <a:lnTo>
                      <a:pt x="631118" y="789985"/>
                    </a:lnTo>
                    <a:lnTo>
                      <a:pt x="653242" y="795922"/>
                    </a:lnTo>
                    <a:lnTo>
                      <a:pt x="664857" y="790525"/>
                    </a:lnTo>
                    <a:lnTo>
                      <a:pt x="701914" y="791065"/>
                    </a:lnTo>
                    <a:lnTo>
                      <a:pt x="716847" y="783509"/>
                    </a:lnTo>
                    <a:lnTo>
                      <a:pt x="758329" y="782969"/>
                    </a:lnTo>
                    <a:lnTo>
                      <a:pt x="770497" y="800780"/>
                    </a:lnTo>
                    <a:lnTo>
                      <a:pt x="777134" y="859070"/>
                    </a:lnTo>
                    <a:lnTo>
                      <a:pt x="768285" y="877420"/>
                    </a:lnTo>
                    <a:lnTo>
                      <a:pt x="727909" y="914122"/>
                    </a:lnTo>
                    <a:lnTo>
                      <a:pt x="719060" y="918439"/>
                    </a:lnTo>
                    <a:lnTo>
                      <a:pt x="710210" y="958919"/>
                    </a:lnTo>
                    <a:lnTo>
                      <a:pt x="678684" y="967015"/>
                    </a:lnTo>
                    <a:lnTo>
                      <a:pt x="620056" y="981047"/>
                    </a:lnTo>
                    <a:lnTo>
                      <a:pt x="602357" y="969713"/>
                    </a:lnTo>
                    <a:lnTo>
                      <a:pt x="556450" y="986984"/>
                    </a:lnTo>
                    <a:lnTo>
                      <a:pt x="556450" y="996160"/>
                    </a:lnTo>
                    <a:lnTo>
                      <a:pt x="566406" y="1015050"/>
                    </a:lnTo>
                    <a:lnTo>
                      <a:pt x="565853" y="1028003"/>
                    </a:lnTo>
                    <a:lnTo>
                      <a:pt x="550920" y="1036099"/>
                    </a:lnTo>
                    <a:lnTo>
                      <a:pt x="530455" y="1032321"/>
                    </a:lnTo>
                    <a:lnTo>
                      <a:pt x="506672" y="1068483"/>
                    </a:lnTo>
                    <a:lnTo>
                      <a:pt x="497270" y="1073880"/>
                    </a:lnTo>
                    <a:lnTo>
                      <a:pt x="481230" y="1144584"/>
                    </a:lnTo>
                    <a:lnTo>
                      <a:pt x="471827" y="1152679"/>
                    </a:lnTo>
                    <a:lnTo>
                      <a:pt x="451916" y="1150520"/>
                    </a:lnTo>
                    <a:lnTo>
                      <a:pt x="406563" y="1163474"/>
                    </a:lnTo>
                    <a:lnTo>
                      <a:pt x="429792" y="1215827"/>
                    </a:lnTo>
                    <a:lnTo>
                      <a:pt x="424815" y="1217986"/>
                    </a:lnTo>
                    <a:lnTo>
                      <a:pt x="407116" y="1213128"/>
                    </a:lnTo>
                    <a:lnTo>
                      <a:pt x="397713" y="1204493"/>
                    </a:lnTo>
                    <a:lnTo>
                      <a:pt x="389970" y="1186682"/>
                    </a:lnTo>
                    <a:lnTo>
                      <a:pt x="342957" y="1174808"/>
                    </a:lnTo>
                    <a:lnTo>
                      <a:pt x="289307" y="1175348"/>
                    </a:lnTo>
                    <a:lnTo>
                      <a:pt x="284882" y="1172649"/>
                    </a:lnTo>
                    <a:lnTo>
                      <a:pt x="282670" y="1165093"/>
                    </a:lnTo>
                    <a:lnTo>
                      <a:pt x="225148" y="1194778"/>
                    </a:lnTo>
                    <a:lnTo>
                      <a:pt x="214086" y="1191000"/>
                    </a:lnTo>
                    <a:lnTo>
                      <a:pt x="206343" y="1181824"/>
                    </a:lnTo>
                    <a:lnTo>
                      <a:pt x="177582" y="1212589"/>
                    </a:lnTo>
                    <a:lnTo>
                      <a:pt x="172051" y="1229860"/>
                    </a:lnTo>
                    <a:lnTo>
                      <a:pt x="160437" y="1242813"/>
                    </a:lnTo>
                    <a:lnTo>
                      <a:pt x="147715" y="1246591"/>
                    </a:lnTo>
                    <a:lnTo>
                      <a:pt x="141078" y="1241194"/>
                    </a:lnTo>
                    <a:lnTo>
                      <a:pt x="122826" y="1253068"/>
                    </a:lnTo>
                    <a:lnTo>
                      <a:pt x="101256" y="1254687"/>
                    </a:lnTo>
                    <a:lnTo>
                      <a:pt x="102362" y="1280594"/>
                    </a:lnTo>
                    <a:lnTo>
                      <a:pt x="96831" y="1296246"/>
                    </a:lnTo>
                    <a:lnTo>
                      <a:pt x="104021" y="1338344"/>
                    </a:lnTo>
                    <a:lnTo>
                      <a:pt x="87428" y="1380443"/>
                    </a:lnTo>
                    <a:lnTo>
                      <a:pt x="76920" y="1452766"/>
                    </a:lnTo>
                    <a:lnTo>
                      <a:pt x="69176" y="1464100"/>
                    </a:lnTo>
                    <a:lnTo>
                      <a:pt x="67517" y="1470576"/>
                    </a:lnTo>
                    <a:lnTo>
                      <a:pt x="109552" y="1533184"/>
                    </a:lnTo>
                    <a:lnTo>
                      <a:pt x="109552" y="1539661"/>
                    </a:lnTo>
                    <a:lnTo>
                      <a:pt x="103468" y="1549376"/>
                    </a:lnTo>
                    <a:lnTo>
                      <a:pt x="88535" y="1558551"/>
                    </a:lnTo>
                    <a:lnTo>
                      <a:pt x="40" y="1529946"/>
                    </a:lnTo>
                    <a:lnTo>
                      <a:pt x="-1066" y="1559091"/>
                    </a:lnTo>
                    <a:lnTo>
                      <a:pt x="3912" y="1582299"/>
                    </a:lnTo>
                    <a:lnTo>
                      <a:pt x="1146" y="1616302"/>
                    </a:lnTo>
                    <a:lnTo>
                      <a:pt x="9442" y="1643828"/>
                    </a:lnTo>
                    <a:lnTo>
                      <a:pt x="27694" y="1689164"/>
                    </a:lnTo>
                    <a:lnTo>
                      <a:pt x="34332" y="1692942"/>
                    </a:lnTo>
                    <a:lnTo>
                      <a:pt x="40416" y="1696720"/>
                    </a:lnTo>
                    <a:lnTo>
                      <a:pt x="32672" y="1722087"/>
                    </a:lnTo>
                    <a:lnTo>
                      <a:pt x="55902" y="1780378"/>
                    </a:lnTo>
                    <a:lnTo>
                      <a:pt x="94619" y="1774980"/>
                    </a:lnTo>
                    <a:lnTo>
                      <a:pt x="102362" y="1777139"/>
                    </a:lnTo>
                    <a:lnTo>
                      <a:pt x="125039" y="1810602"/>
                    </a:lnTo>
                    <a:lnTo>
                      <a:pt x="141631" y="1806284"/>
                    </a:lnTo>
                    <a:lnTo>
                      <a:pt x="144397" y="1796030"/>
                    </a:lnTo>
                    <a:lnTo>
                      <a:pt x="154906" y="1781997"/>
                    </a:lnTo>
                    <a:lnTo>
                      <a:pt x="183666" y="1764726"/>
                    </a:lnTo>
                    <a:lnTo>
                      <a:pt x="191963" y="1763106"/>
                    </a:lnTo>
                    <a:lnTo>
                      <a:pt x="251697" y="1805745"/>
                    </a:lnTo>
                    <a:lnTo>
                      <a:pt x="298710" y="1858637"/>
                    </a:lnTo>
                    <a:lnTo>
                      <a:pt x="273820" y="1867813"/>
                    </a:lnTo>
                    <a:lnTo>
                      <a:pt x="281011" y="1878607"/>
                    </a:lnTo>
                    <a:cubicBezTo>
                      <a:pt x="288201" y="1874829"/>
                      <a:pt x="288754" y="1873750"/>
                      <a:pt x="296497" y="1869972"/>
                    </a:cubicBezTo>
                    <a:cubicBezTo>
                      <a:pt x="298710" y="1868352"/>
                      <a:pt x="303134" y="1867813"/>
                      <a:pt x="305900" y="1866733"/>
                    </a:cubicBezTo>
                    <a:cubicBezTo>
                      <a:pt x="309771" y="1865114"/>
                      <a:pt x="316409" y="1861336"/>
                      <a:pt x="320833" y="1860257"/>
                    </a:cubicBezTo>
                    <a:cubicBezTo>
                      <a:pt x="329683" y="1858637"/>
                      <a:pt x="345722" y="1858637"/>
                      <a:pt x="355125" y="1858098"/>
                    </a:cubicBezTo>
                    <a:cubicBezTo>
                      <a:pt x="354572" y="1855939"/>
                      <a:pt x="354019" y="1853780"/>
                      <a:pt x="356231" y="1851081"/>
                    </a:cubicBezTo>
                    <a:cubicBezTo>
                      <a:pt x="357337" y="1849462"/>
                      <a:pt x="363974" y="1845144"/>
                      <a:pt x="366187" y="1842985"/>
                    </a:cubicBezTo>
                    <a:cubicBezTo>
                      <a:pt x="367846" y="1841366"/>
                      <a:pt x="368952" y="1838668"/>
                      <a:pt x="371165" y="1837049"/>
                    </a:cubicBezTo>
                    <a:cubicBezTo>
                      <a:pt x="377249" y="1831651"/>
                      <a:pt x="384992" y="1830572"/>
                      <a:pt x="388864" y="1821397"/>
                    </a:cubicBezTo>
                    <a:cubicBezTo>
                      <a:pt x="393841" y="1812221"/>
                      <a:pt x="396607" y="1800347"/>
                      <a:pt x="399925" y="1790632"/>
                    </a:cubicBezTo>
                    <a:cubicBezTo>
                      <a:pt x="402691" y="1780917"/>
                      <a:pt x="403797" y="1770123"/>
                      <a:pt x="407669" y="1761487"/>
                    </a:cubicBezTo>
                    <a:cubicBezTo>
                      <a:pt x="410434" y="1755550"/>
                      <a:pt x="415965" y="1751233"/>
                      <a:pt x="419284" y="1745296"/>
                    </a:cubicBezTo>
                    <a:cubicBezTo>
                      <a:pt x="432558" y="1723167"/>
                      <a:pt x="431452" y="1715611"/>
                      <a:pt x="451916" y="1695641"/>
                    </a:cubicBezTo>
                    <a:cubicBezTo>
                      <a:pt x="463531" y="1683767"/>
                      <a:pt x="474593" y="1693482"/>
                      <a:pt x="482889" y="1692942"/>
                    </a:cubicBezTo>
                    <a:cubicBezTo>
                      <a:pt x="488420" y="1692403"/>
                      <a:pt x="493398" y="1689704"/>
                      <a:pt x="498376" y="1689164"/>
                    </a:cubicBezTo>
                    <a:cubicBezTo>
                      <a:pt x="501694" y="1688625"/>
                      <a:pt x="514415" y="1688625"/>
                      <a:pt x="515522" y="1688625"/>
                    </a:cubicBezTo>
                    <a:lnTo>
                      <a:pt x="518287" y="1687005"/>
                    </a:lnTo>
                    <a:cubicBezTo>
                      <a:pt x="522712" y="1685386"/>
                      <a:pt x="531008" y="1660559"/>
                      <a:pt x="534327" y="1655162"/>
                    </a:cubicBezTo>
                    <a:cubicBezTo>
                      <a:pt x="536539" y="1650844"/>
                      <a:pt x="543176" y="1647606"/>
                      <a:pt x="547048" y="1645447"/>
                    </a:cubicBezTo>
                    <a:cubicBezTo>
                      <a:pt x="550366" y="1642748"/>
                      <a:pt x="557557" y="1636271"/>
                      <a:pt x="561428" y="1635192"/>
                    </a:cubicBezTo>
                    <a:cubicBezTo>
                      <a:pt x="565300" y="1634113"/>
                      <a:pt x="578021" y="1635192"/>
                      <a:pt x="582999" y="1635192"/>
                    </a:cubicBezTo>
                    <a:cubicBezTo>
                      <a:pt x="583552" y="1635192"/>
                      <a:pt x="586317" y="1638970"/>
                      <a:pt x="586871" y="1639510"/>
                    </a:cubicBezTo>
                    <a:cubicBezTo>
                      <a:pt x="590189" y="1641669"/>
                      <a:pt x="596826" y="1643828"/>
                      <a:pt x="599039" y="1646526"/>
                    </a:cubicBezTo>
                    <a:cubicBezTo>
                      <a:pt x="601251" y="1649765"/>
                      <a:pt x="600698" y="1659480"/>
                      <a:pt x="601804" y="1663797"/>
                    </a:cubicBezTo>
                    <a:cubicBezTo>
                      <a:pt x="607335" y="1681608"/>
                      <a:pt x="622268" y="1672973"/>
                      <a:pt x="629459" y="1694022"/>
                    </a:cubicBezTo>
                    <a:cubicBezTo>
                      <a:pt x="632777" y="1703737"/>
                      <a:pt x="634990" y="1716151"/>
                      <a:pt x="636096" y="1726405"/>
                    </a:cubicBezTo>
                    <a:cubicBezTo>
                      <a:pt x="638861" y="1743137"/>
                      <a:pt x="638308" y="1760948"/>
                      <a:pt x="641627" y="1777139"/>
                    </a:cubicBezTo>
                    <a:cubicBezTo>
                      <a:pt x="641627" y="1778758"/>
                      <a:pt x="643286" y="1781457"/>
                      <a:pt x="644392" y="1782536"/>
                    </a:cubicBezTo>
                    <a:cubicBezTo>
                      <a:pt x="655454" y="1798728"/>
                      <a:pt x="671494" y="1774441"/>
                      <a:pt x="684768" y="1778219"/>
                    </a:cubicBezTo>
                    <a:lnTo>
                      <a:pt x="686980" y="1780917"/>
                    </a:lnTo>
                    <a:cubicBezTo>
                      <a:pt x="684768" y="1794950"/>
                      <a:pt x="669834" y="1806284"/>
                      <a:pt x="657666" y="1812221"/>
                    </a:cubicBezTo>
                    <a:cubicBezTo>
                      <a:pt x="648264" y="1817079"/>
                      <a:pt x="637755" y="1818158"/>
                      <a:pt x="628352" y="1823016"/>
                    </a:cubicBezTo>
                    <a:cubicBezTo>
                      <a:pt x="620609" y="1826254"/>
                      <a:pt x="612866" y="1831651"/>
                      <a:pt x="606782" y="1836509"/>
                    </a:cubicBezTo>
                    <a:cubicBezTo>
                      <a:pt x="602910" y="1838668"/>
                      <a:pt x="600698" y="1841906"/>
                      <a:pt x="596826" y="1844605"/>
                    </a:cubicBezTo>
                    <a:cubicBezTo>
                      <a:pt x="592401" y="1847843"/>
                      <a:pt x="586317" y="1850002"/>
                      <a:pt x="582446" y="1853780"/>
                    </a:cubicBezTo>
                    <a:cubicBezTo>
                      <a:pt x="578574" y="1857558"/>
                      <a:pt x="576915" y="1863495"/>
                      <a:pt x="573596" y="1867273"/>
                    </a:cubicBezTo>
                    <a:cubicBezTo>
                      <a:pt x="570278" y="1871591"/>
                      <a:pt x="563641" y="1872670"/>
                      <a:pt x="564194" y="1879147"/>
                    </a:cubicBezTo>
                    <a:cubicBezTo>
                      <a:pt x="564747" y="1885084"/>
                      <a:pt x="566959" y="1893719"/>
                      <a:pt x="569172" y="1899117"/>
                    </a:cubicBezTo>
                    <a:cubicBezTo>
                      <a:pt x="570278" y="1902355"/>
                      <a:pt x="575256" y="1907752"/>
                      <a:pt x="575256" y="1910451"/>
                    </a:cubicBezTo>
                    <a:cubicBezTo>
                      <a:pt x="576362" y="1915308"/>
                      <a:pt x="570278" y="1919086"/>
                      <a:pt x="568618" y="1923404"/>
                    </a:cubicBezTo>
                    <a:cubicBezTo>
                      <a:pt x="565300" y="1930960"/>
                      <a:pt x="565300" y="1944993"/>
                      <a:pt x="574149" y="1948232"/>
                    </a:cubicBezTo>
                    <a:cubicBezTo>
                      <a:pt x="580233" y="1950930"/>
                      <a:pt x="587424" y="1951470"/>
                      <a:pt x="593508" y="1954168"/>
                    </a:cubicBezTo>
                    <a:cubicBezTo>
                      <a:pt x="596826" y="1955248"/>
                      <a:pt x="600145" y="1960105"/>
                      <a:pt x="605123" y="1958486"/>
                    </a:cubicBezTo>
                    <a:cubicBezTo>
                      <a:pt x="612313" y="1955788"/>
                      <a:pt x="613419" y="1946612"/>
                      <a:pt x="623928" y="1949851"/>
                    </a:cubicBezTo>
                    <a:lnTo>
                      <a:pt x="625034" y="1952010"/>
                    </a:lnTo>
                    <a:cubicBezTo>
                      <a:pt x="625034" y="1953629"/>
                      <a:pt x="623928" y="1956867"/>
                      <a:pt x="622268" y="1957947"/>
                    </a:cubicBezTo>
                    <a:cubicBezTo>
                      <a:pt x="620056" y="1960105"/>
                      <a:pt x="615078" y="1960645"/>
                      <a:pt x="612313" y="1962804"/>
                    </a:cubicBezTo>
                    <a:cubicBezTo>
                      <a:pt x="608994" y="1965503"/>
                      <a:pt x="605123" y="1975218"/>
                      <a:pt x="596826" y="1977377"/>
                    </a:cubicBezTo>
                    <a:cubicBezTo>
                      <a:pt x="590742" y="1979535"/>
                      <a:pt x="582999" y="1976837"/>
                      <a:pt x="576362" y="1977916"/>
                    </a:cubicBezTo>
                    <a:cubicBezTo>
                      <a:pt x="574703" y="1978456"/>
                      <a:pt x="571384" y="1980615"/>
                      <a:pt x="569725" y="1981694"/>
                    </a:cubicBezTo>
                    <a:cubicBezTo>
                      <a:pt x="564747" y="1984933"/>
                      <a:pt x="559769" y="1990870"/>
                      <a:pt x="553685" y="1993029"/>
                    </a:cubicBezTo>
                    <a:cubicBezTo>
                      <a:pt x="549260" y="1995187"/>
                      <a:pt x="545942" y="1991409"/>
                      <a:pt x="537645" y="1997886"/>
                    </a:cubicBezTo>
                    <a:cubicBezTo>
                      <a:pt x="536539" y="1998966"/>
                      <a:pt x="534880" y="2000585"/>
                      <a:pt x="534327" y="2002204"/>
                    </a:cubicBezTo>
                    <a:cubicBezTo>
                      <a:pt x="531561" y="2010839"/>
                      <a:pt x="534880" y="2027571"/>
                      <a:pt x="544282" y="2031889"/>
                    </a:cubicBezTo>
                    <a:cubicBezTo>
                      <a:pt x="564194" y="2040524"/>
                      <a:pt x="583552" y="2018935"/>
                      <a:pt x="596826" y="2025412"/>
                    </a:cubicBezTo>
                    <a:cubicBezTo>
                      <a:pt x="606229" y="2029730"/>
                      <a:pt x="603463" y="2038905"/>
                      <a:pt x="613972" y="2045382"/>
                    </a:cubicBezTo>
                    <a:cubicBezTo>
                      <a:pt x="619503" y="2049160"/>
                      <a:pt x="626140" y="2051319"/>
                      <a:pt x="632224" y="2054557"/>
                    </a:cubicBezTo>
                    <a:cubicBezTo>
                      <a:pt x="637755" y="2057795"/>
                      <a:pt x="642733" y="2062113"/>
                      <a:pt x="648264" y="2064812"/>
                    </a:cubicBezTo>
                    <a:cubicBezTo>
                      <a:pt x="654348" y="2066971"/>
                      <a:pt x="660432" y="2067510"/>
                      <a:pt x="666516" y="2069669"/>
                    </a:cubicBezTo>
                    <a:cubicBezTo>
                      <a:pt x="667622" y="2070209"/>
                      <a:pt x="669281" y="2070749"/>
                      <a:pt x="670387" y="2071828"/>
                    </a:cubicBezTo>
                    <a:cubicBezTo>
                      <a:pt x="672600" y="2073987"/>
                      <a:pt x="679237" y="2083162"/>
                      <a:pt x="680896" y="2085861"/>
                    </a:cubicBezTo>
                    <a:cubicBezTo>
                      <a:pt x="683662" y="2091798"/>
                      <a:pt x="685874" y="2109609"/>
                      <a:pt x="686980" y="2110688"/>
                    </a:cubicBezTo>
                    <a:cubicBezTo>
                      <a:pt x="700807" y="2113387"/>
                      <a:pt x="706892" y="2095036"/>
                      <a:pt x="716294" y="2090179"/>
                    </a:cubicBezTo>
                    <a:cubicBezTo>
                      <a:pt x="719613" y="2090718"/>
                      <a:pt x="719613" y="2092877"/>
                      <a:pt x="721825" y="2094497"/>
                    </a:cubicBezTo>
                    <a:cubicBezTo>
                      <a:pt x="725697" y="2096655"/>
                      <a:pt x="730674" y="2097195"/>
                      <a:pt x="734546" y="2099354"/>
                    </a:cubicBezTo>
                    <a:cubicBezTo>
                      <a:pt x="739524" y="2102053"/>
                      <a:pt x="743396" y="2105831"/>
                      <a:pt x="748373" y="2107990"/>
                    </a:cubicBezTo>
                    <a:cubicBezTo>
                      <a:pt x="750033" y="2109069"/>
                      <a:pt x="753351" y="2110149"/>
                      <a:pt x="755011" y="2110149"/>
                    </a:cubicBezTo>
                    <a:cubicBezTo>
                      <a:pt x="762201" y="2106910"/>
                      <a:pt x="760541" y="2097195"/>
                      <a:pt x="768285" y="2093957"/>
                    </a:cubicBezTo>
                    <a:cubicBezTo>
                      <a:pt x="771050" y="2094497"/>
                      <a:pt x="774369" y="2096655"/>
                      <a:pt x="777134" y="2096655"/>
                    </a:cubicBezTo>
                    <a:cubicBezTo>
                      <a:pt x="782112" y="2093957"/>
                      <a:pt x="781559" y="2091798"/>
                      <a:pt x="784877" y="2088560"/>
                    </a:cubicBezTo>
                    <a:cubicBezTo>
                      <a:pt x="788749" y="2084242"/>
                      <a:pt x="798152" y="2077225"/>
                      <a:pt x="805342" y="2077765"/>
                    </a:cubicBezTo>
                    <a:lnTo>
                      <a:pt x="805342" y="-170"/>
                    </a:lnTo>
                    <a:lnTo>
                      <a:pt x="782665" y="5767"/>
                    </a:lnTo>
                    <a:lnTo>
                      <a:pt x="763860" y="15482"/>
                    </a:lnTo>
                    <a:lnTo>
                      <a:pt x="752798" y="16562"/>
                    </a:lnTo>
                    <a:lnTo>
                      <a:pt x="751139" y="34912"/>
                    </a:lnTo>
                    <a:lnTo>
                      <a:pt x="753351" y="45167"/>
                    </a:lnTo>
                    <a:lnTo>
                      <a:pt x="741736" y="79709"/>
                    </a:lnTo>
                    <a:lnTo>
                      <a:pt x="745608" y="105616"/>
                    </a:lnTo>
                    <a:lnTo>
                      <a:pt x="760541" y="125586"/>
                    </a:lnTo>
                    <a:lnTo>
                      <a:pt x="753351" y="141238"/>
                    </a:lnTo>
                    <a:lnTo>
                      <a:pt x="744502" y="148254"/>
                    </a:lnTo>
                    <a:lnTo>
                      <a:pt x="705232" y="243785"/>
                    </a:lnTo>
                    <a:lnTo>
                      <a:pt x="696383" y="253500"/>
                    </a:lnTo>
                    <a:lnTo>
                      <a:pt x="683109" y="292900"/>
                    </a:lnTo>
                    <a:lnTo>
                      <a:pt x="674259" y="309632"/>
                    </a:lnTo>
                    <a:lnTo>
                      <a:pt x="670941" y="329062"/>
                    </a:lnTo>
                    <a:lnTo>
                      <a:pt x="656007" y="340396"/>
                    </a:lnTo>
                    <a:cubicBezTo>
                      <a:pt x="655454" y="353349"/>
                      <a:pt x="638308" y="378716"/>
                      <a:pt x="635543" y="393828"/>
                    </a:cubicBezTo>
                    <a:cubicBezTo>
                      <a:pt x="633330" y="398146"/>
                      <a:pt x="630012" y="402464"/>
                      <a:pt x="627799" y="407321"/>
                    </a:cubicBezTo>
                    <a:cubicBezTo>
                      <a:pt x="625587" y="412179"/>
                      <a:pt x="625587" y="418116"/>
                      <a:pt x="622822" y="422973"/>
                    </a:cubicBezTo>
                    <a:cubicBezTo>
                      <a:pt x="616738" y="433768"/>
                      <a:pt x="606229" y="441864"/>
                      <a:pt x="599592" y="452658"/>
                    </a:cubicBezTo>
                    <a:cubicBezTo>
                      <a:pt x="595720" y="458055"/>
                      <a:pt x="594614" y="465072"/>
                      <a:pt x="591848" y="470469"/>
                    </a:cubicBezTo>
                    <a:cubicBezTo>
                      <a:pt x="590189" y="472628"/>
                      <a:pt x="588530" y="474247"/>
                      <a:pt x="587424" y="476406"/>
                    </a:cubicBezTo>
                    <a:cubicBezTo>
                      <a:pt x="584658" y="480184"/>
                      <a:pt x="577468" y="492598"/>
                      <a:pt x="574703" y="494757"/>
                    </a:cubicBezTo>
                    <a:cubicBezTo>
                      <a:pt x="569725" y="498535"/>
                      <a:pt x="566959" y="503392"/>
                      <a:pt x="561981" y="507710"/>
                    </a:cubicBezTo>
                    <a:cubicBezTo>
                      <a:pt x="558110" y="511488"/>
                      <a:pt x="552579" y="514726"/>
                      <a:pt x="548154" y="518504"/>
                    </a:cubicBezTo>
                    <a:cubicBezTo>
                      <a:pt x="544836" y="521743"/>
                      <a:pt x="542623" y="526061"/>
                      <a:pt x="539305" y="529839"/>
                    </a:cubicBezTo>
                    <a:cubicBezTo>
                      <a:pt x="533774" y="535236"/>
                      <a:pt x="524924" y="539554"/>
                      <a:pt x="522712" y="547110"/>
                    </a:cubicBezTo>
                    <a:cubicBezTo>
                      <a:pt x="520499" y="554126"/>
                      <a:pt x="521606" y="564921"/>
                      <a:pt x="518287" y="570858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1" name="Freeform 1073">
                <a:extLst>
                  <a:ext uri="{FF2B5EF4-FFF2-40B4-BE49-F238E27FC236}">
                    <a16:creationId xmlns:a16="http://schemas.microsoft.com/office/drawing/2014/main" id="{FAF4C89D-9B12-471A-9812-9E532005CC94}"/>
                  </a:ext>
                </a:extLst>
              </p:cNvPr>
              <p:cNvSpPr/>
              <p:nvPr/>
            </p:nvSpPr>
            <p:spPr>
              <a:xfrm>
                <a:off x="8958810" y="5295828"/>
                <a:ext cx="362275" cy="436096"/>
              </a:xfrm>
              <a:custGeom>
                <a:avLst/>
                <a:gdLst>
                  <a:gd name="connsiteX0" fmla="*/ -1026 w 362275"/>
                  <a:gd name="connsiteY0" fmla="*/ 201850 h 436096"/>
                  <a:gd name="connsiteX1" fmla="*/ -1026 w 362275"/>
                  <a:gd name="connsiteY1" fmla="*/ 205628 h 436096"/>
                  <a:gd name="connsiteX2" fmla="*/ 3952 w 362275"/>
                  <a:gd name="connsiteY2" fmla="*/ 215883 h 436096"/>
                  <a:gd name="connsiteX3" fmla="*/ 8377 w 362275"/>
                  <a:gd name="connsiteY3" fmla="*/ 236932 h 436096"/>
                  <a:gd name="connsiteX4" fmla="*/ 13355 w 362275"/>
                  <a:gd name="connsiteY4" fmla="*/ 265537 h 436096"/>
                  <a:gd name="connsiteX5" fmla="*/ 20545 w 362275"/>
                  <a:gd name="connsiteY5" fmla="*/ 299540 h 436096"/>
                  <a:gd name="connsiteX6" fmla="*/ 31054 w 362275"/>
                  <a:gd name="connsiteY6" fmla="*/ 348115 h 436096"/>
                  <a:gd name="connsiteX7" fmla="*/ 37138 w 362275"/>
                  <a:gd name="connsiteY7" fmla="*/ 388054 h 436096"/>
                  <a:gd name="connsiteX8" fmla="*/ 40456 w 362275"/>
                  <a:gd name="connsiteY8" fmla="*/ 405325 h 436096"/>
                  <a:gd name="connsiteX9" fmla="*/ 44881 w 362275"/>
                  <a:gd name="connsiteY9" fmla="*/ 422597 h 436096"/>
                  <a:gd name="connsiteX10" fmla="*/ 42669 w 362275"/>
                  <a:gd name="connsiteY10" fmla="*/ 435550 h 436096"/>
                  <a:gd name="connsiteX11" fmla="*/ 277733 w 362275"/>
                  <a:gd name="connsiteY11" fmla="*/ 435550 h 436096"/>
                  <a:gd name="connsiteX12" fmla="*/ 279945 w 362275"/>
                  <a:gd name="connsiteY12" fmla="*/ 400468 h 436096"/>
                  <a:gd name="connsiteX13" fmla="*/ 304281 w 362275"/>
                  <a:gd name="connsiteY13" fmla="*/ 367005 h 436096"/>
                  <a:gd name="connsiteX14" fmla="*/ 178729 w 362275"/>
                  <a:gd name="connsiteY14" fmla="*/ 288206 h 436096"/>
                  <a:gd name="connsiteX15" fmla="*/ 342445 w 362275"/>
                  <a:gd name="connsiteY15" fmla="*/ 154354 h 436096"/>
                  <a:gd name="connsiteX16" fmla="*/ 361250 w 362275"/>
                  <a:gd name="connsiteY16" fmla="*/ 113875 h 436096"/>
                  <a:gd name="connsiteX17" fmla="*/ 270543 w 362275"/>
                  <a:gd name="connsiteY17" fmla="*/ -546 h 436096"/>
                  <a:gd name="connsiteX18" fmla="*/ 131163 w 362275"/>
                  <a:gd name="connsiteY18" fmla="*/ 196992 h 436096"/>
                  <a:gd name="connsiteX19" fmla="*/ 86363 w 362275"/>
                  <a:gd name="connsiteY19" fmla="*/ 205628 h 436096"/>
                  <a:gd name="connsiteX20" fmla="*/ 64239 w 362275"/>
                  <a:gd name="connsiteY20" fmla="*/ 195913 h 436096"/>
                  <a:gd name="connsiteX21" fmla="*/ 55390 w 362275"/>
                  <a:gd name="connsiteY21" fmla="*/ 202390 h 436096"/>
                  <a:gd name="connsiteX22" fmla="*/ 45987 w 362275"/>
                  <a:gd name="connsiteY22" fmla="*/ 188896 h 436096"/>
                  <a:gd name="connsiteX23" fmla="*/ 21098 w 362275"/>
                  <a:gd name="connsiteY23" fmla="*/ 186738 h 436096"/>
                  <a:gd name="connsiteX24" fmla="*/ -1026 w 362275"/>
                  <a:gd name="connsiteY24" fmla="*/ 201850 h 436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62275" h="436096">
                    <a:moveTo>
                      <a:pt x="-1026" y="201850"/>
                    </a:moveTo>
                    <a:lnTo>
                      <a:pt x="-1026" y="205628"/>
                    </a:lnTo>
                    <a:cubicBezTo>
                      <a:pt x="81" y="208326"/>
                      <a:pt x="3399" y="212644"/>
                      <a:pt x="3952" y="215883"/>
                    </a:cubicBezTo>
                    <a:cubicBezTo>
                      <a:pt x="5612" y="221280"/>
                      <a:pt x="7271" y="230995"/>
                      <a:pt x="8377" y="236932"/>
                    </a:cubicBezTo>
                    <a:cubicBezTo>
                      <a:pt x="10589" y="246107"/>
                      <a:pt x="11696" y="255822"/>
                      <a:pt x="13355" y="265537"/>
                    </a:cubicBezTo>
                    <a:cubicBezTo>
                      <a:pt x="16120" y="276871"/>
                      <a:pt x="18886" y="287666"/>
                      <a:pt x="20545" y="299540"/>
                    </a:cubicBezTo>
                    <a:lnTo>
                      <a:pt x="31054" y="348115"/>
                    </a:lnTo>
                    <a:lnTo>
                      <a:pt x="37138" y="388054"/>
                    </a:lnTo>
                    <a:cubicBezTo>
                      <a:pt x="37691" y="393452"/>
                      <a:pt x="38797" y="400468"/>
                      <a:pt x="40456" y="405325"/>
                    </a:cubicBezTo>
                    <a:cubicBezTo>
                      <a:pt x="42116" y="410723"/>
                      <a:pt x="44881" y="416660"/>
                      <a:pt x="44881" y="422597"/>
                    </a:cubicBezTo>
                    <a:cubicBezTo>
                      <a:pt x="44328" y="426914"/>
                      <a:pt x="43775" y="431232"/>
                      <a:pt x="42669" y="435550"/>
                    </a:cubicBezTo>
                    <a:cubicBezTo>
                      <a:pt x="42116" y="435010"/>
                      <a:pt x="277733" y="435550"/>
                      <a:pt x="277733" y="435550"/>
                    </a:cubicBezTo>
                    <a:lnTo>
                      <a:pt x="279945" y="400468"/>
                    </a:lnTo>
                    <a:lnTo>
                      <a:pt x="304281" y="367005"/>
                    </a:lnTo>
                    <a:lnTo>
                      <a:pt x="178729" y="288206"/>
                    </a:lnTo>
                    <a:lnTo>
                      <a:pt x="342445" y="154354"/>
                    </a:lnTo>
                    <a:lnTo>
                      <a:pt x="361250" y="113875"/>
                    </a:lnTo>
                    <a:lnTo>
                      <a:pt x="270543" y="-546"/>
                    </a:lnTo>
                    <a:lnTo>
                      <a:pt x="131163" y="196992"/>
                    </a:lnTo>
                    <a:lnTo>
                      <a:pt x="86363" y="205628"/>
                    </a:lnTo>
                    <a:lnTo>
                      <a:pt x="64239" y="195913"/>
                    </a:lnTo>
                    <a:lnTo>
                      <a:pt x="55390" y="202390"/>
                    </a:lnTo>
                    <a:lnTo>
                      <a:pt x="45987" y="188896"/>
                    </a:lnTo>
                    <a:lnTo>
                      <a:pt x="21098" y="186738"/>
                    </a:lnTo>
                    <a:lnTo>
                      <a:pt x="-1026" y="201850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2" name="Freeform 1074">
                <a:extLst>
                  <a:ext uri="{FF2B5EF4-FFF2-40B4-BE49-F238E27FC236}">
                    <a16:creationId xmlns:a16="http://schemas.microsoft.com/office/drawing/2014/main" id="{B20CFD38-48B7-43E2-ADBE-44C86D240679}"/>
                  </a:ext>
                </a:extLst>
              </p:cNvPr>
              <p:cNvSpPr/>
              <p:nvPr/>
            </p:nvSpPr>
            <p:spPr>
              <a:xfrm>
                <a:off x="6099324" y="4256321"/>
                <a:ext cx="1086411" cy="1210599"/>
              </a:xfrm>
              <a:custGeom>
                <a:avLst/>
                <a:gdLst>
                  <a:gd name="connsiteX0" fmla="*/ 813991 w 1086411"/>
                  <a:gd name="connsiteY0" fmla="*/ 1210136 h 1210599"/>
                  <a:gd name="connsiteX1" fmla="*/ 799611 w 1086411"/>
                  <a:gd name="connsiteY1" fmla="*/ 1205819 h 1210599"/>
                  <a:gd name="connsiteX2" fmla="*/ 783571 w 1086411"/>
                  <a:gd name="connsiteY2" fmla="*/ 1209057 h 1210599"/>
                  <a:gd name="connsiteX3" fmla="*/ 761447 w 1086411"/>
                  <a:gd name="connsiteY3" fmla="*/ 1206898 h 1210599"/>
                  <a:gd name="connsiteX4" fmla="*/ 732133 w 1086411"/>
                  <a:gd name="connsiteY4" fmla="*/ 1173435 h 1210599"/>
                  <a:gd name="connsiteX5" fmla="*/ 711116 w 1086411"/>
                  <a:gd name="connsiteY5" fmla="*/ 1167498 h 1210599"/>
                  <a:gd name="connsiteX6" fmla="*/ 687886 w 1086411"/>
                  <a:gd name="connsiteY6" fmla="*/ 1165879 h 1210599"/>
                  <a:gd name="connsiteX7" fmla="*/ 685121 w 1086411"/>
                  <a:gd name="connsiteY7" fmla="*/ 1163720 h 1210599"/>
                  <a:gd name="connsiteX8" fmla="*/ 671293 w 1086411"/>
                  <a:gd name="connsiteY8" fmla="*/ 1158323 h 1210599"/>
                  <a:gd name="connsiteX9" fmla="*/ 665209 w 1086411"/>
                  <a:gd name="connsiteY9" fmla="*/ 1153465 h 1210599"/>
                  <a:gd name="connsiteX10" fmla="*/ 649723 w 1086411"/>
                  <a:gd name="connsiteY10" fmla="*/ 1146449 h 1210599"/>
                  <a:gd name="connsiteX11" fmla="*/ 625940 w 1086411"/>
                  <a:gd name="connsiteY11" fmla="*/ 1131877 h 1210599"/>
                  <a:gd name="connsiteX12" fmla="*/ 611006 w 1086411"/>
                  <a:gd name="connsiteY12" fmla="*/ 1127559 h 1210599"/>
                  <a:gd name="connsiteX13" fmla="*/ 599391 w 1086411"/>
                  <a:gd name="connsiteY13" fmla="*/ 1121082 h 1210599"/>
                  <a:gd name="connsiteX14" fmla="*/ 566206 w 1086411"/>
                  <a:gd name="connsiteY14" fmla="*/ 1117844 h 1210599"/>
                  <a:gd name="connsiteX15" fmla="*/ 561781 w 1086411"/>
                  <a:gd name="connsiteY15" fmla="*/ 1113526 h 1210599"/>
                  <a:gd name="connsiteX16" fmla="*/ 557356 w 1086411"/>
                  <a:gd name="connsiteY16" fmla="*/ 1110288 h 1210599"/>
                  <a:gd name="connsiteX17" fmla="*/ 550719 w 1086411"/>
                  <a:gd name="connsiteY17" fmla="*/ 1097334 h 1210599"/>
                  <a:gd name="connsiteX18" fmla="*/ 559016 w 1086411"/>
                  <a:gd name="connsiteY18" fmla="*/ 1064411 h 1210599"/>
                  <a:gd name="connsiteX19" fmla="*/ 567312 w 1086411"/>
                  <a:gd name="connsiteY19" fmla="*/ 1056855 h 1210599"/>
                  <a:gd name="connsiteX20" fmla="*/ 574502 w 1086411"/>
                  <a:gd name="connsiteY20" fmla="*/ 1053617 h 1210599"/>
                  <a:gd name="connsiteX21" fmla="*/ 585011 w 1086411"/>
                  <a:gd name="connsiteY21" fmla="*/ 1063332 h 1210599"/>
                  <a:gd name="connsiteX22" fmla="*/ 596626 w 1086411"/>
                  <a:gd name="connsiteY22" fmla="*/ 1064951 h 1210599"/>
                  <a:gd name="connsiteX23" fmla="*/ 605475 w 1086411"/>
                  <a:gd name="connsiteY23" fmla="*/ 1050378 h 1210599"/>
                  <a:gd name="connsiteX24" fmla="*/ 609900 w 1086411"/>
                  <a:gd name="connsiteY24" fmla="*/ 1048219 h 1210599"/>
                  <a:gd name="connsiteX25" fmla="*/ 620962 w 1086411"/>
                  <a:gd name="connsiteY25" fmla="*/ 1042822 h 1210599"/>
                  <a:gd name="connsiteX26" fmla="*/ 632577 w 1086411"/>
                  <a:gd name="connsiteY26" fmla="*/ 1044441 h 1210599"/>
                  <a:gd name="connsiteX27" fmla="*/ 640873 w 1086411"/>
                  <a:gd name="connsiteY27" fmla="*/ 1050918 h 1210599"/>
                  <a:gd name="connsiteX28" fmla="*/ 649723 w 1086411"/>
                  <a:gd name="connsiteY28" fmla="*/ 1055236 h 1210599"/>
                  <a:gd name="connsiteX29" fmla="*/ 651382 w 1086411"/>
                  <a:gd name="connsiteY29" fmla="*/ 1057934 h 1210599"/>
                  <a:gd name="connsiteX30" fmla="*/ 667975 w 1086411"/>
                  <a:gd name="connsiteY30" fmla="*/ 1066570 h 1210599"/>
                  <a:gd name="connsiteX31" fmla="*/ 697289 w 1086411"/>
                  <a:gd name="connsiteY31" fmla="*/ 1056315 h 1210599"/>
                  <a:gd name="connsiteX32" fmla="*/ 719412 w 1086411"/>
                  <a:gd name="connsiteY32" fmla="*/ 1057395 h 1210599"/>
                  <a:gd name="connsiteX33" fmla="*/ 743748 w 1086411"/>
                  <a:gd name="connsiteY33" fmla="*/ 1052537 h 1210599"/>
                  <a:gd name="connsiteX34" fmla="*/ 774721 w 1086411"/>
                  <a:gd name="connsiteY34" fmla="*/ 1034187 h 1210599"/>
                  <a:gd name="connsiteX35" fmla="*/ 797951 w 1086411"/>
                  <a:gd name="connsiteY35" fmla="*/ 1036885 h 1210599"/>
                  <a:gd name="connsiteX36" fmla="*/ 811225 w 1086411"/>
                  <a:gd name="connsiteY36" fmla="*/ 1025551 h 1210599"/>
                  <a:gd name="connsiteX37" fmla="*/ 820075 w 1086411"/>
                  <a:gd name="connsiteY37" fmla="*/ 1025551 h 1210599"/>
                  <a:gd name="connsiteX38" fmla="*/ 836668 w 1086411"/>
                  <a:gd name="connsiteY38" fmla="*/ 1015296 h 1210599"/>
                  <a:gd name="connsiteX39" fmla="*/ 843305 w 1086411"/>
                  <a:gd name="connsiteY39" fmla="*/ 1014217 h 1210599"/>
                  <a:gd name="connsiteX40" fmla="*/ 843858 w 1086411"/>
                  <a:gd name="connsiteY40" fmla="*/ 1017455 h 1210599"/>
                  <a:gd name="connsiteX41" fmla="*/ 828924 w 1086411"/>
                  <a:gd name="connsiteY41" fmla="*/ 1052537 h 1210599"/>
                  <a:gd name="connsiteX42" fmla="*/ 820628 w 1086411"/>
                  <a:gd name="connsiteY42" fmla="*/ 1066030 h 1210599"/>
                  <a:gd name="connsiteX43" fmla="*/ 806248 w 1086411"/>
                  <a:gd name="connsiteY43" fmla="*/ 1119463 h 1210599"/>
                  <a:gd name="connsiteX44" fmla="*/ 819522 w 1086411"/>
                  <a:gd name="connsiteY44" fmla="*/ 1139433 h 1210599"/>
                  <a:gd name="connsiteX45" fmla="*/ 820628 w 1086411"/>
                  <a:gd name="connsiteY45" fmla="*/ 1150767 h 1210599"/>
                  <a:gd name="connsiteX46" fmla="*/ 831137 w 1086411"/>
                  <a:gd name="connsiteY46" fmla="*/ 1166959 h 1210599"/>
                  <a:gd name="connsiteX47" fmla="*/ 821181 w 1086411"/>
                  <a:gd name="connsiteY47" fmla="*/ 1183690 h 1210599"/>
                  <a:gd name="connsiteX48" fmla="*/ 813991 w 1086411"/>
                  <a:gd name="connsiteY48" fmla="*/ 1210136 h 1210599"/>
                  <a:gd name="connsiteX49" fmla="*/ 141431 w 1086411"/>
                  <a:gd name="connsiteY49" fmla="*/ 737879 h 1210599"/>
                  <a:gd name="connsiteX50" fmla="*/ 161895 w 1086411"/>
                  <a:gd name="connsiteY50" fmla="*/ 749752 h 1210599"/>
                  <a:gd name="connsiteX51" fmla="*/ 181254 w 1086411"/>
                  <a:gd name="connsiteY51" fmla="*/ 739498 h 1210599"/>
                  <a:gd name="connsiteX52" fmla="*/ 190103 w 1086411"/>
                  <a:gd name="connsiteY52" fmla="*/ 737879 h 1210599"/>
                  <a:gd name="connsiteX53" fmla="*/ 210014 w 1086411"/>
                  <a:gd name="connsiteY53" fmla="*/ 718988 h 1210599"/>
                  <a:gd name="connsiteX54" fmla="*/ 219970 w 1086411"/>
                  <a:gd name="connsiteY54" fmla="*/ 713591 h 1210599"/>
                  <a:gd name="connsiteX55" fmla="*/ 229926 w 1086411"/>
                  <a:gd name="connsiteY55" fmla="*/ 701717 h 1210599"/>
                  <a:gd name="connsiteX56" fmla="*/ 243753 w 1086411"/>
                  <a:gd name="connsiteY56" fmla="*/ 704955 h 1210599"/>
                  <a:gd name="connsiteX57" fmla="*/ 248731 w 1086411"/>
                  <a:gd name="connsiteY57" fmla="*/ 712512 h 1210599"/>
                  <a:gd name="connsiteX58" fmla="*/ 258133 w 1086411"/>
                  <a:gd name="connsiteY58" fmla="*/ 715210 h 1210599"/>
                  <a:gd name="connsiteX59" fmla="*/ 264771 w 1086411"/>
                  <a:gd name="connsiteY59" fmla="*/ 734100 h 1210599"/>
                  <a:gd name="connsiteX60" fmla="*/ 276385 w 1086411"/>
                  <a:gd name="connsiteY60" fmla="*/ 746514 h 1210599"/>
                  <a:gd name="connsiteX61" fmla="*/ 276385 w 1086411"/>
                  <a:gd name="connsiteY61" fmla="*/ 749752 h 1210599"/>
                  <a:gd name="connsiteX62" fmla="*/ 278598 w 1086411"/>
                  <a:gd name="connsiteY62" fmla="*/ 767024 h 1210599"/>
                  <a:gd name="connsiteX63" fmla="*/ 283576 w 1086411"/>
                  <a:gd name="connsiteY63" fmla="*/ 781056 h 1210599"/>
                  <a:gd name="connsiteX64" fmla="*/ 271961 w 1086411"/>
                  <a:gd name="connsiteY64" fmla="*/ 822075 h 1210599"/>
                  <a:gd name="connsiteX65" fmla="*/ 278045 w 1086411"/>
                  <a:gd name="connsiteY65" fmla="*/ 837188 h 1210599"/>
                  <a:gd name="connsiteX66" fmla="*/ 285235 w 1086411"/>
                  <a:gd name="connsiteY66" fmla="*/ 847442 h 1210599"/>
                  <a:gd name="connsiteX67" fmla="*/ 278598 w 1086411"/>
                  <a:gd name="connsiteY67" fmla="*/ 886842 h 1210599"/>
                  <a:gd name="connsiteX68" fmla="*/ 271961 w 1086411"/>
                  <a:gd name="connsiteY68" fmla="*/ 940814 h 1210599"/>
                  <a:gd name="connsiteX69" fmla="*/ 261452 w 1086411"/>
                  <a:gd name="connsiteY69" fmla="*/ 953768 h 1210599"/>
                  <a:gd name="connsiteX70" fmla="*/ 251496 w 1086411"/>
                  <a:gd name="connsiteY70" fmla="*/ 949990 h 1210599"/>
                  <a:gd name="connsiteX71" fmla="*/ 250390 w 1086411"/>
                  <a:gd name="connsiteY71" fmla="*/ 947291 h 1210599"/>
                  <a:gd name="connsiteX72" fmla="*/ 242094 w 1086411"/>
                  <a:gd name="connsiteY72" fmla="*/ 939195 h 1210599"/>
                  <a:gd name="connsiteX73" fmla="*/ 228820 w 1086411"/>
                  <a:gd name="connsiteY73" fmla="*/ 940275 h 1210599"/>
                  <a:gd name="connsiteX74" fmla="*/ 217205 w 1086411"/>
                  <a:gd name="connsiteY74" fmla="*/ 938656 h 1210599"/>
                  <a:gd name="connsiteX75" fmla="*/ 221076 w 1086411"/>
                  <a:gd name="connsiteY75" fmla="*/ 954308 h 1210599"/>
                  <a:gd name="connsiteX76" fmla="*/ 212780 w 1086411"/>
                  <a:gd name="connsiteY76" fmla="*/ 980214 h 1210599"/>
                  <a:gd name="connsiteX77" fmla="*/ 195634 w 1086411"/>
                  <a:gd name="connsiteY77" fmla="*/ 976976 h 1210599"/>
                  <a:gd name="connsiteX78" fmla="*/ 182913 w 1086411"/>
                  <a:gd name="connsiteY78" fmla="*/ 980754 h 1210599"/>
                  <a:gd name="connsiteX79" fmla="*/ 171851 w 1086411"/>
                  <a:gd name="connsiteY79" fmla="*/ 958086 h 1210599"/>
                  <a:gd name="connsiteX80" fmla="*/ 169639 w 1086411"/>
                  <a:gd name="connsiteY80" fmla="*/ 958625 h 1210599"/>
                  <a:gd name="connsiteX81" fmla="*/ 164108 w 1086411"/>
                  <a:gd name="connsiteY81" fmla="*/ 967801 h 1210599"/>
                  <a:gd name="connsiteX82" fmla="*/ 155811 w 1086411"/>
                  <a:gd name="connsiteY82" fmla="*/ 958625 h 1210599"/>
                  <a:gd name="connsiteX83" fmla="*/ 161895 w 1086411"/>
                  <a:gd name="connsiteY83" fmla="*/ 947831 h 1210599"/>
                  <a:gd name="connsiteX84" fmla="*/ 159683 w 1086411"/>
                  <a:gd name="connsiteY84" fmla="*/ 931099 h 1210599"/>
                  <a:gd name="connsiteX85" fmla="*/ 161342 w 1086411"/>
                  <a:gd name="connsiteY85" fmla="*/ 885763 h 1210599"/>
                  <a:gd name="connsiteX86" fmla="*/ 167979 w 1086411"/>
                  <a:gd name="connsiteY86" fmla="*/ 878207 h 1210599"/>
                  <a:gd name="connsiteX87" fmla="*/ 170745 w 1086411"/>
                  <a:gd name="connsiteY87" fmla="*/ 864174 h 1210599"/>
                  <a:gd name="connsiteX88" fmla="*/ 158577 w 1086411"/>
                  <a:gd name="connsiteY88" fmla="*/ 854459 h 1210599"/>
                  <a:gd name="connsiteX89" fmla="*/ 161895 w 1086411"/>
                  <a:gd name="connsiteY89" fmla="*/ 816678 h 1210599"/>
                  <a:gd name="connsiteX90" fmla="*/ 156918 w 1086411"/>
                  <a:gd name="connsiteY90" fmla="*/ 809122 h 1210599"/>
                  <a:gd name="connsiteX91" fmla="*/ 144750 w 1086411"/>
                  <a:gd name="connsiteY91" fmla="*/ 782136 h 1210599"/>
                  <a:gd name="connsiteX92" fmla="*/ 132028 w 1086411"/>
                  <a:gd name="connsiteY92" fmla="*/ 771341 h 1210599"/>
                  <a:gd name="connsiteX93" fmla="*/ 131475 w 1086411"/>
                  <a:gd name="connsiteY93" fmla="*/ 767563 h 1210599"/>
                  <a:gd name="connsiteX94" fmla="*/ 137559 w 1086411"/>
                  <a:gd name="connsiteY94" fmla="*/ 755150 h 1210599"/>
                  <a:gd name="connsiteX95" fmla="*/ 141984 w 1086411"/>
                  <a:gd name="connsiteY95" fmla="*/ 749752 h 1210599"/>
                  <a:gd name="connsiteX96" fmla="*/ 141431 w 1086411"/>
                  <a:gd name="connsiteY96" fmla="*/ 737879 h 1210599"/>
                  <a:gd name="connsiteX97" fmla="*/ 500388 w 1086411"/>
                  <a:gd name="connsiteY97" fmla="*/ 371406 h 1210599"/>
                  <a:gd name="connsiteX98" fmla="*/ 502047 w 1086411"/>
                  <a:gd name="connsiteY98" fmla="*/ 377883 h 1210599"/>
                  <a:gd name="connsiteX99" fmla="*/ 508684 w 1086411"/>
                  <a:gd name="connsiteY99" fmla="*/ 379502 h 1210599"/>
                  <a:gd name="connsiteX100" fmla="*/ 511450 w 1086411"/>
                  <a:gd name="connsiteY100" fmla="*/ 374105 h 1210599"/>
                  <a:gd name="connsiteX101" fmla="*/ 510343 w 1086411"/>
                  <a:gd name="connsiteY101" fmla="*/ 366549 h 1210599"/>
                  <a:gd name="connsiteX102" fmla="*/ 500388 w 1086411"/>
                  <a:gd name="connsiteY102" fmla="*/ 371406 h 1210599"/>
                  <a:gd name="connsiteX103" fmla="*/ 456693 w 1086411"/>
                  <a:gd name="connsiteY103" fmla="*/ -463 h 1210599"/>
                  <a:gd name="connsiteX104" fmla="*/ 455587 w 1086411"/>
                  <a:gd name="connsiteY104" fmla="*/ 15189 h 1210599"/>
                  <a:gd name="connsiteX105" fmla="*/ 470521 w 1086411"/>
                  <a:gd name="connsiteY105" fmla="*/ 36778 h 1210599"/>
                  <a:gd name="connsiteX106" fmla="*/ 485454 w 1086411"/>
                  <a:gd name="connsiteY106" fmla="*/ 46493 h 1210599"/>
                  <a:gd name="connsiteX107" fmla="*/ 508684 w 1086411"/>
                  <a:gd name="connsiteY107" fmla="*/ 50271 h 1210599"/>
                  <a:gd name="connsiteX108" fmla="*/ 591095 w 1086411"/>
                  <a:gd name="connsiteY108" fmla="*/ 60526 h 1210599"/>
                  <a:gd name="connsiteX109" fmla="*/ 563440 w 1086411"/>
                  <a:gd name="connsiteY109" fmla="*/ 90750 h 1210599"/>
                  <a:gd name="connsiteX110" fmla="*/ 567312 w 1086411"/>
                  <a:gd name="connsiteY110" fmla="*/ 99386 h 1210599"/>
                  <a:gd name="connsiteX111" fmla="*/ 580033 w 1086411"/>
                  <a:gd name="connsiteY111" fmla="*/ 100465 h 1210599"/>
                  <a:gd name="connsiteX112" fmla="*/ 589989 w 1086411"/>
                  <a:gd name="connsiteY112" fmla="*/ 105863 h 1210599"/>
                  <a:gd name="connsiteX113" fmla="*/ 577268 w 1086411"/>
                  <a:gd name="connsiteY113" fmla="*/ 118276 h 1210599"/>
                  <a:gd name="connsiteX114" fmla="*/ 575608 w 1086411"/>
                  <a:gd name="connsiteY114" fmla="*/ 126372 h 1210599"/>
                  <a:gd name="connsiteX115" fmla="*/ 588883 w 1086411"/>
                  <a:gd name="connsiteY115" fmla="*/ 131769 h 1210599"/>
                  <a:gd name="connsiteX116" fmla="*/ 595520 w 1086411"/>
                  <a:gd name="connsiteY116" fmla="*/ 141484 h 1210599"/>
                  <a:gd name="connsiteX117" fmla="*/ 605475 w 1086411"/>
                  <a:gd name="connsiteY117" fmla="*/ 146882 h 1210599"/>
                  <a:gd name="connsiteX118" fmla="*/ 617643 w 1086411"/>
                  <a:gd name="connsiteY118" fmla="*/ 161454 h 1210599"/>
                  <a:gd name="connsiteX119" fmla="*/ 611559 w 1086411"/>
                  <a:gd name="connsiteY119" fmla="*/ 167391 h 1210599"/>
                  <a:gd name="connsiteX120" fmla="*/ 605475 w 1086411"/>
                  <a:gd name="connsiteY120" fmla="*/ 166312 h 1210599"/>
                  <a:gd name="connsiteX121" fmla="*/ 603263 w 1086411"/>
                  <a:gd name="connsiteY121" fmla="*/ 154977 h 1210599"/>
                  <a:gd name="connsiteX122" fmla="*/ 597179 w 1086411"/>
                  <a:gd name="connsiteY122" fmla="*/ 152279 h 1210599"/>
                  <a:gd name="connsiteX123" fmla="*/ 583905 w 1086411"/>
                  <a:gd name="connsiteY123" fmla="*/ 147961 h 1210599"/>
                  <a:gd name="connsiteX124" fmla="*/ 571737 w 1086411"/>
                  <a:gd name="connsiteY124" fmla="*/ 157676 h 1210599"/>
                  <a:gd name="connsiteX125" fmla="*/ 568418 w 1086411"/>
                  <a:gd name="connsiteY125" fmla="*/ 151199 h 1210599"/>
                  <a:gd name="connsiteX126" fmla="*/ 559016 w 1086411"/>
                  <a:gd name="connsiteY126" fmla="*/ 151739 h 1210599"/>
                  <a:gd name="connsiteX127" fmla="*/ 550719 w 1086411"/>
                  <a:gd name="connsiteY127" fmla="*/ 151739 h 1210599"/>
                  <a:gd name="connsiteX128" fmla="*/ 547954 w 1086411"/>
                  <a:gd name="connsiteY128" fmla="*/ 152818 h 1210599"/>
                  <a:gd name="connsiteX129" fmla="*/ 546294 w 1086411"/>
                  <a:gd name="connsiteY129" fmla="*/ 159295 h 1210599"/>
                  <a:gd name="connsiteX130" fmla="*/ 544635 w 1086411"/>
                  <a:gd name="connsiteY130" fmla="*/ 163613 h 1210599"/>
                  <a:gd name="connsiteX131" fmla="*/ 525277 w 1086411"/>
                  <a:gd name="connsiteY131" fmla="*/ 171709 h 1210599"/>
                  <a:gd name="connsiteX132" fmla="*/ 521958 w 1086411"/>
                  <a:gd name="connsiteY132" fmla="*/ 175487 h 1210599"/>
                  <a:gd name="connsiteX133" fmla="*/ 515321 w 1086411"/>
                  <a:gd name="connsiteY133" fmla="*/ 180344 h 1210599"/>
                  <a:gd name="connsiteX134" fmla="*/ 495963 w 1086411"/>
                  <a:gd name="connsiteY134" fmla="*/ 195996 h 1210599"/>
                  <a:gd name="connsiteX135" fmla="*/ 493751 w 1086411"/>
                  <a:gd name="connsiteY135" fmla="*/ 194377 h 1210599"/>
                  <a:gd name="connsiteX136" fmla="*/ 500941 w 1086411"/>
                  <a:gd name="connsiteY136" fmla="*/ 178725 h 1210599"/>
                  <a:gd name="connsiteX137" fmla="*/ 494304 w 1086411"/>
                  <a:gd name="connsiteY137" fmla="*/ 177646 h 1210599"/>
                  <a:gd name="connsiteX138" fmla="*/ 489879 w 1086411"/>
                  <a:gd name="connsiteY138" fmla="*/ 183583 h 1210599"/>
                  <a:gd name="connsiteX139" fmla="*/ 472733 w 1086411"/>
                  <a:gd name="connsiteY139" fmla="*/ 200854 h 1210599"/>
                  <a:gd name="connsiteX140" fmla="*/ 472733 w 1086411"/>
                  <a:gd name="connsiteY140" fmla="*/ 213807 h 1210599"/>
                  <a:gd name="connsiteX141" fmla="*/ 487114 w 1086411"/>
                  <a:gd name="connsiteY141" fmla="*/ 239174 h 1210599"/>
                  <a:gd name="connsiteX142" fmla="*/ 504813 w 1086411"/>
                  <a:gd name="connsiteY142" fmla="*/ 254826 h 1210599"/>
                  <a:gd name="connsiteX143" fmla="*/ 495410 w 1086411"/>
                  <a:gd name="connsiteY143" fmla="*/ 266160 h 1210599"/>
                  <a:gd name="connsiteX144" fmla="*/ 492091 w 1086411"/>
                  <a:gd name="connsiteY144" fmla="*/ 265081 h 1210599"/>
                  <a:gd name="connsiteX145" fmla="*/ 483795 w 1086411"/>
                  <a:gd name="connsiteY145" fmla="*/ 264001 h 1210599"/>
                  <a:gd name="connsiteX146" fmla="*/ 484901 w 1086411"/>
                  <a:gd name="connsiteY146" fmla="*/ 298544 h 1210599"/>
                  <a:gd name="connsiteX147" fmla="*/ 492091 w 1086411"/>
                  <a:gd name="connsiteY147" fmla="*/ 333626 h 1210599"/>
                  <a:gd name="connsiteX148" fmla="*/ 497069 w 1086411"/>
                  <a:gd name="connsiteY148" fmla="*/ 341182 h 1210599"/>
                  <a:gd name="connsiteX149" fmla="*/ 499282 w 1086411"/>
                  <a:gd name="connsiteY149" fmla="*/ 342801 h 1210599"/>
                  <a:gd name="connsiteX150" fmla="*/ 505366 w 1086411"/>
                  <a:gd name="connsiteY150" fmla="*/ 351976 h 1210599"/>
                  <a:gd name="connsiteX151" fmla="*/ 533020 w 1086411"/>
                  <a:gd name="connsiteY151" fmla="*/ 368168 h 1210599"/>
                  <a:gd name="connsiteX152" fmla="*/ 576161 w 1086411"/>
                  <a:gd name="connsiteY152" fmla="*/ 394075 h 1210599"/>
                  <a:gd name="connsiteX153" fmla="*/ 600497 w 1086411"/>
                  <a:gd name="connsiteY153" fmla="*/ 404869 h 1210599"/>
                  <a:gd name="connsiteX154" fmla="*/ 617090 w 1086411"/>
                  <a:gd name="connsiteY154" fmla="*/ 419981 h 1210599"/>
                  <a:gd name="connsiteX155" fmla="*/ 629811 w 1086411"/>
                  <a:gd name="connsiteY155" fmla="*/ 450746 h 1210599"/>
                  <a:gd name="connsiteX156" fmla="*/ 633683 w 1086411"/>
                  <a:gd name="connsiteY156" fmla="*/ 466937 h 1210599"/>
                  <a:gd name="connsiteX157" fmla="*/ 640873 w 1086411"/>
                  <a:gd name="connsiteY157" fmla="*/ 480431 h 1210599"/>
                  <a:gd name="connsiteX158" fmla="*/ 646404 w 1086411"/>
                  <a:gd name="connsiteY158" fmla="*/ 495543 h 1210599"/>
                  <a:gd name="connsiteX159" fmla="*/ 650276 w 1086411"/>
                  <a:gd name="connsiteY159" fmla="*/ 500400 h 1210599"/>
                  <a:gd name="connsiteX160" fmla="*/ 655807 w 1086411"/>
                  <a:gd name="connsiteY160" fmla="*/ 517132 h 1210599"/>
                  <a:gd name="connsiteX161" fmla="*/ 675718 w 1086411"/>
                  <a:gd name="connsiteY161" fmla="*/ 536562 h 1210599"/>
                  <a:gd name="connsiteX162" fmla="*/ 683461 w 1086411"/>
                  <a:gd name="connsiteY162" fmla="*/ 544118 h 1210599"/>
                  <a:gd name="connsiteX163" fmla="*/ 695076 w 1086411"/>
                  <a:gd name="connsiteY163" fmla="*/ 549515 h 1210599"/>
                  <a:gd name="connsiteX164" fmla="*/ 705585 w 1086411"/>
                  <a:gd name="connsiteY164" fmla="*/ 558151 h 1210599"/>
                  <a:gd name="connsiteX165" fmla="*/ 728262 w 1086411"/>
                  <a:gd name="connsiteY165" fmla="*/ 574882 h 1210599"/>
                  <a:gd name="connsiteX166" fmla="*/ 756469 w 1086411"/>
                  <a:gd name="connsiteY166" fmla="*/ 586216 h 1210599"/>
                  <a:gd name="connsiteX167" fmla="*/ 773615 w 1086411"/>
                  <a:gd name="connsiteY167" fmla="*/ 589455 h 1210599"/>
                  <a:gd name="connsiteX168" fmla="*/ 806801 w 1086411"/>
                  <a:gd name="connsiteY168" fmla="*/ 586216 h 1210599"/>
                  <a:gd name="connsiteX169" fmla="*/ 832796 w 1086411"/>
                  <a:gd name="connsiteY169" fmla="*/ 580819 h 1210599"/>
                  <a:gd name="connsiteX170" fmla="*/ 852154 w 1086411"/>
                  <a:gd name="connsiteY170" fmla="*/ 584597 h 1210599"/>
                  <a:gd name="connsiteX171" fmla="*/ 854367 w 1086411"/>
                  <a:gd name="connsiteY171" fmla="*/ 592153 h 1210599"/>
                  <a:gd name="connsiteX172" fmla="*/ 849942 w 1086411"/>
                  <a:gd name="connsiteY172" fmla="*/ 607265 h 1210599"/>
                  <a:gd name="connsiteX173" fmla="*/ 836668 w 1086411"/>
                  <a:gd name="connsiteY173" fmla="*/ 635871 h 1210599"/>
                  <a:gd name="connsiteX174" fmla="*/ 861557 w 1086411"/>
                  <a:gd name="connsiteY174" fmla="*/ 650983 h 1210599"/>
                  <a:gd name="connsiteX175" fmla="*/ 951711 w 1086411"/>
                  <a:gd name="connsiteY175" fmla="*/ 674191 h 1210599"/>
                  <a:gd name="connsiteX176" fmla="*/ 972728 w 1086411"/>
                  <a:gd name="connsiteY176" fmla="*/ 687684 h 1210599"/>
                  <a:gd name="connsiteX177" fmla="*/ 1021400 w 1086411"/>
                  <a:gd name="connsiteY177" fmla="*/ 701717 h 1210599"/>
                  <a:gd name="connsiteX178" fmla="*/ 1029144 w 1086411"/>
                  <a:gd name="connsiteY178" fmla="*/ 709813 h 1210599"/>
                  <a:gd name="connsiteX179" fmla="*/ 1035781 w 1086411"/>
                  <a:gd name="connsiteY179" fmla="*/ 713051 h 1210599"/>
                  <a:gd name="connsiteX180" fmla="*/ 1042971 w 1086411"/>
                  <a:gd name="connsiteY180" fmla="*/ 723846 h 1210599"/>
                  <a:gd name="connsiteX181" fmla="*/ 1054586 w 1086411"/>
                  <a:gd name="connsiteY181" fmla="*/ 728703 h 1210599"/>
                  <a:gd name="connsiteX182" fmla="*/ 1081134 w 1086411"/>
                  <a:gd name="connsiteY182" fmla="*/ 754070 h 1210599"/>
                  <a:gd name="connsiteX183" fmla="*/ 1085559 w 1086411"/>
                  <a:gd name="connsiteY183" fmla="*/ 779437 h 1210599"/>
                  <a:gd name="connsiteX184" fmla="*/ 1085006 w 1086411"/>
                  <a:gd name="connsiteY184" fmla="*/ 805344 h 1210599"/>
                  <a:gd name="connsiteX185" fmla="*/ 1062882 w 1086411"/>
                  <a:gd name="connsiteY185" fmla="*/ 801566 h 1210599"/>
                  <a:gd name="connsiteX186" fmla="*/ 1038546 w 1086411"/>
                  <a:gd name="connsiteY186" fmla="*/ 767563 h 1210599"/>
                  <a:gd name="connsiteX187" fmla="*/ 1027484 w 1086411"/>
                  <a:gd name="connsiteY187" fmla="*/ 758388 h 1210599"/>
                  <a:gd name="connsiteX188" fmla="*/ 997064 w 1086411"/>
                  <a:gd name="connsiteY188" fmla="*/ 755689 h 1210599"/>
                  <a:gd name="connsiteX189" fmla="*/ 966091 w 1086411"/>
                  <a:gd name="connsiteY189" fmla="*/ 747594 h 1210599"/>
                  <a:gd name="connsiteX190" fmla="*/ 976600 w 1086411"/>
                  <a:gd name="connsiteY190" fmla="*/ 740037 h 1210599"/>
                  <a:gd name="connsiteX191" fmla="*/ 951158 w 1086411"/>
                  <a:gd name="connsiteY191" fmla="*/ 737339 h 1210599"/>
                  <a:gd name="connsiteX192" fmla="*/ 936224 w 1086411"/>
                  <a:gd name="connsiteY192" fmla="*/ 756769 h 1210599"/>
                  <a:gd name="connsiteX193" fmla="*/ 919632 w 1086411"/>
                  <a:gd name="connsiteY193" fmla="*/ 785374 h 1210599"/>
                  <a:gd name="connsiteX194" fmla="*/ 920738 w 1086411"/>
                  <a:gd name="connsiteY194" fmla="*/ 806963 h 1210599"/>
                  <a:gd name="connsiteX195" fmla="*/ 911335 w 1086411"/>
                  <a:gd name="connsiteY195" fmla="*/ 823155 h 1210599"/>
                  <a:gd name="connsiteX196" fmla="*/ 917419 w 1086411"/>
                  <a:gd name="connsiteY196" fmla="*/ 845823 h 1210599"/>
                  <a:gd name="connsiteX197" fmla="*/ 936777 w 1086411"/>
                  <a:gd name="connsiteY197" fmla="*/ 846903 h 1210599"/>
                  <a:gd name="connsiteX198" fmla="*/ 942861 w 1086411"/>
                  <a:gd name="connsiteY198" fmla="*/ 853919 h 1210599"/>
                  <a:gd name="connsiteX199" fmla="*/ 967197 w 1086411"/>
                  <a:gd name="connsiteY199" fmla="*/ 863634 h 1210599"/>
                  <a:gd name="connsiteX200" fmla="*/ 973835 w 1086411"/>
                  <a:gd name="connsiteY200" fmla="*/ 868492 h 1210599"/>
                  <a:gd name="connsiteX201" fmla="*/ 974388 w 1086411"/>
                  <a:gd name="connsiteY201" fmla="*/ 885763 h 1210599"/>
                  <a:gd name="connsiteX202" fmla="*/ 977153 w 1086411"/>
                  <a:gd name="connsiteY202" fmla="*/ 894398 h 1210599"/>
                  <a:gd name="connsiteX203" fmla="*/ 979365 w 1086411"/>
                  <a:gd name="connsiteY203" fmla="*/ 907352 h 1210599"/>
                  <a:gd name="connsiteX204" fmla="*/ 984343 w 1086411"/>
                  <a:gd name="connsiteY204" fmla="*/ 918686 h 1210599"/>
                  <a:gd name="connsiteX205" fmla="*/ 950605 w 1086411"/>
                  <a:gd name="connsiteY205" fmla="*/ 928941 h 1210599"/>
                  <a:gd name="connsiteX206" fmla="*/ 935118 w 1086411"/>
                  <a:gd name="connsiteY206" fmla="*/ 943513 h 1210599"/>
                  <a:gd name="connsiteX207" fmla="*/ 931246 w 1086411"/>
                  <a:gd name="connsiteY207" fmla="*/ 952149 h 1210599"/>
                  <a:gd name="connsiteX208" fmla="*/ 926822 w 1086411"/>
                  <a:gd name="connsiteY208" fmla="*/ 953228 h 1210599"/>
                  <a:gd name="connsiteX209" fmla="*/ 931246 w 1086411"/>
                  <a:gd name="connsiteY209" fmla="*/ 989390 h 1210599"/>
                  <a:gd name="connsiteX210" fmla="*/ 899167 w 1086411"/>
                  <a:gd name="connsiteY210" fmla="*/ 1021773 h 1210599"/>
                  <a:gd name="connsiteX211" fmla="*/ 891424 w 1086411"/>
                  <a:gd name="connsiteY211" fmla="*/ 1053617 h 1210599"/>
                  <a:gd name="connsiteX212" fmla="*/ 875384 w 1086411"/>
                  <a:gd name="connsiteY212" fmla="*/ 1056315 h 1210599"/>
                  <a:gd name="connsiteX213" fmla="*/ 859345 w 1086411"/>
                  <a:gd name="connsiteY213" fmla="*/ 1052537 h 1210599"/>
                  <a:gd name="connsiteX214" fmla="*/ 852154 w 1086411"/>
                  <a:gd name="connsiteY214" fmla="*/ 1020694 h 1210599"/>
                  <a:gd name="connsiteX215" fmla="*/ 864322 w 1086411"/>
                  <a:gd name="connsiteY215" fmla="*/ 1009899 h 1210599"/>
                  <a:gd name="connsiteX216" fmla="*/ 872619 w 1086411"/>
                  <a:gd name="connsiteY216" fmla="*/ 976976 h 1210599"/>
                  <a:gd name="connsiteX217" fmla="*/ 864322 w 1086411"/>
                  <a:gd name="connsiteY217" fmla="*/ 971579 h 1210599"/>
                  <a:gd name="connsiteX218" fmla="*/ 876490 w 1086411"/>
                  <a:gd name="connsiteY218" fmla="*/ 960784 h 1210599"/>
                  <a:gd name="connsiteX219" fmla="*/ 890318 w 1086411"/>
                  <a:gd name="connsiteY219" fmla="*/ 960245 h 1210599"/>
                  <a:gd name="connsiteX220" fmla="*/ 894742 w 1086411"/>
                  <a:gd name="connsiteY220" fmla="*/ 932719 h 1210599"/>
                  <a:gd name="connsiteX221" fmla="*/ 885893 w 1086411"/>
                  <a:gd name="connsiteY221" fmla="*/ 924083 h 1210599"/>
                  <a:gd name="connsiteX222" fmla="*/ 870406 w 1086411"/>
                  <a:gd name="connsiteY222" fmla="*/ 879286 h 1210599"/>
                  <a:gd name="connsiteX223" fmla="*/ 849389 w 1086411"/>
                  <a:gd name="connsiteY223" fmla="*/ 852840 h 1210599"/>
                  <a:gd name="connsiteX224" fmla="*/ 846070 w 1086411"/>
                  <a:gd name="connsiteY224" fmla="*/ 832870 h 1210599"/>
                  <a:gd name="connsiteX225" fmla="*/ 843305 w 1086411"/>
                  <a:gd name="connsiteY225" fmla="*/ 827473 h 1210599"/>
                  <a:gd name="connsiteX226" fmla="*/ 839986 w 1086411"/>
                  <a:gd name="connsiteY226" fmla="*/ 818297 h 1210599"/>
                  <a:gd name="connsiteX227" fmla="*/ 830031 w 1086411"/>
                  <a:gd name="connsiteY227" fmla="*/ 804264 h 1210599"/>
                  <a:gd name="connsiteX228" fmla="*/ 805695 w 1086411"/>
                  <a:gd name="connsiteY228" fmla="*/ 813980 h 1210599"/>
                  <a:gd name="connsiteX229" fmla="*/ 793527 w 1086411"/>
                  <a:gd name="connsiteY229" fmla="*/ 811281 h 1210599"/>
                  <a:gd name="connsiteX230" fmla="*/ 792420 w 1086411"/>
                  <a:gd name="connsiteY230" fmla="*/ 803725 h 1210599"/>
                  <a:gd name="connsiteX231" fmla="*/ 783571 w 1086411"/>
                  <a:gd name="connsiteY231" fmla="*/ 797248 h 1210599"/>
                  <a:gd name="connsiteX232" fmla="*/ 766425 w 1086411"/>
                  <a:gd name="connsiteY232" fmla="*/ 794549 h 1210599"/>
                  <a:gd name="connsiteX233" fmla="*/ 759235 w 1086411"/>
                  <a:gd name="connsiteY233" fmla="*/ 788073 h 1210599"/>
                  <a:gd name="connsiteX234" fmla="*/ 762553 w 1086411"/>
                  <a:gd name="connsiteY234" fmla="*/ 766484 h 1210599"/>
                  <a:gd name="connsiteX235" fmla="*/ 753704 w 1086411"/>
                  <a:gd name="connsiteY235" fmla="*/ 752451 h 1210599"/>
                  <a:gd name="connsiteX236" fmla="*/ 747620 w 1086411"/>
                  <a:gd name="connsiteY236" fmla="*/ 748673 h 1210599"/>
                  <a:gd name="connsiteX237" fmla="*/ 743195 w 1086411"/>
                  <a:gd name="connsiteY237" fmla="*/ 741117 h 1210599"/>
                  <a:gd name="connsiteX238" fmla="*/ 701713 w 1086411"/>
                  <a:gd name="connsiteY238" fmla="*/ 756769 h 1210599"/>
                  <a:gd name="connsiteX239" fmla="*/ 700607 w 1086411"/>
                  <a:gd name="connsiteY239" fmla="*/ 755150 h 1210599"/>
                  <a:gd name="connsiteX240" fmla="*/ 711116 w 1086411"/>
                  <a:gd name="connsiteY240" fmla="*/ 736799 h 1210599"/>
                  <a:gd name="connsiteX241" fmla="*/ 711669 w 1086411"/>
                  <a:gd name="connsiteY241" fmla="*/ 730862 h 1210599"/>
                  <a:gd name="connsiteX242" fmla="*/ 693970 w 1086411"/>
                  <a:gd name="connsiteY242" fmla="*/ 725465 h 1210599"/>
                  <a:gd name="connsiteX243" fmla="*/ 676824 w 1086411"/>
                  <a:gd name="connsiteY243" fmla="*/ 728703 h 1210599"/>
                  <a:gd name="connsiteX244" fmla="*/ 667422 w 1086411"/>
                  <a:gd name="connsiteY244" fmla="*/ 716829 h 1210599"/>
                  <a:gd name="connsiteX245" fmla="*/ 665762 w 1086411"/>
                  <a:gd name="connsiteY245" fmla="*/ 711972 h 1210599"/>
                  <a:gd name="connsiteX246" fmla="*/ 644192 w 1086411"/>
                  <a:gd name="connsiteY246" fmla="*/ 684986 h 1210599"/>
                  <a:gd name="connsiteX247" fmla="*/ 640873 w 1086411"/>
                  <a:gd name="connsiteY247" fmla="*/ 682287 h 1210599"/>
                  <a:gd name="connsiteX248" fmla="*/ 625387 w 1086411"/>
                  <a:gd name="connsiteY248" fmla="*/ 683906 h 1210599"/>
                  <a:gd name="connsiteX249" fmla="*/ 609347 w 1086411"/>
                  <a:gd name="connsiteY249" fmla="*/ 677430 h 1210599"/>
                  <a:gd name="connsiteX250" fmla="*/ 598285 w 1086411"/>
                  <a:gd name="connsiteY250" fmla="*/ 677969 h 1210599"/>
                  <a:gd name="connsiteX251" fmla="*/ 585564 w 1086411"/>
                  <a:gd name="connsiteY251" fmla="*/ 686065 h 1210599"/>
                  <a:gd name="connsiteX252" fmla="*/ 577268 w 1086411"/>
                  <a:gd name="connsiteY252" fmla="*/ 686605 h 1210599"/>
                  <a:gd name="connsiteX253" fmla="*/ 567312 w 1086411"/>
                  <a:gd name="connsiteY253" fmla="*/ 669334 h 1210599"/>
                  <a:gd name="connsiteX254" fmla="*/ 553485 w 1086411"/>
                  <a:gd name="connsiteY254" fmla="*/ 666095 h 1210599"/>
                  <a:gd name="connsiteX255" fmla="*/ 547954 w 1086411"/>
                  <a:gd name="connsiteY255" fmla="*/ 662857 h 1210599"/>
                  <a:gd name="connsiteX256" fmla="*/ 539104 w 1086411"/>
                  <a:gd name="connsiteY256" fmla="*/ 661778 h 1210599"/>
                  <a:gd name="connsiteX257" fmla="*/ 534126 w 1086411"/>
                  <a:gd name="connsiteY257" fmla="*/ 662317 h 1210599"/>
                  <a:gd name="connsiteX258" fmla="*/ 529149 w 1086411"/>
                  <a:gd name="connsiteY258" fmla="*/ 649904 h 1210599"/>
                  <a:gd name="connsiteX259" fmla="*/ 520852 w 1086411"/>
                  <a:gd name="connsiteY259" fmla="*/ 642348 h 1210599"/>
                  <a:gd name="connsiteX260" fmla="*/ 508684 w 1086411"/>
                  <a:gd name="connsiteY260" fmla="*/ 637490 h 1210599"/>
                  <a:gd name="connsiteX261" fmla="*/ 504813 w 1086411"/>
                  <a:gd name="connsiteY261" fmla="*/ 632632 h 1210599"/>
                  <a:gd name="connsiteX262" fmla="*/ 496516 w 1086411"/>
                  <a:gd name="connsiteY262" fmla="*/ 627775 h 1210599"/>
                  <a:gd name="connsiteX263" fmla="*/ 494304 w 1086411"/>
                  <a:gd name="connsiteY263" fmla="*/ 615901 h 1210599"/>
                  <a:gd name="connsiteX264" fmla="*/ 479370 w 1086411"/>
                  <a:gd name="connsiteY264" fmla="*/ 604567 h 1210599"/>
                  <a:gd name="connsiteX265" fmla="*/ 474946 w 1086411"/>
                  <a:gd name="connsiteY265" fmla="*/ 599709 h 1210599"/>
                  <a:gd name="connsiteX266" fmla="*/ 461118 w 1086411"/>
                  <a:gd name="connsiteY266" fmla="*/ 597011 h 1210599"/>
                  <a:gd name="connsiteX267" fmla="*/ 452269 w 1086411"/>
                  <a:gd name="connsiteY267" fmla="*/ 580819 h 1210599"/>
                  <a:gd name="connsiteX268" fmla="*/ 438995 w 1086411"/>
                  <a:gd name="connsiteY268" fmla="*/ 567866 h 1210599"/>
                  <a:gd name="connsiteX269" fmla="*/ 425167 w 1086411"/>
                  <a:gd name="connsiteY269" fmla="*/ 560310 h 1210599"/>
                  <a:gd name="connsiteX270" fmla="*/ 410234 w 1086411"/>
                  <a:gd name="connsiteY270" fmla="*/ 557611 h 1210599"/>
                  <a:gd name="connsiteX271" fmla="*/ 398619 w 1086411"/>
                  <a:gd name="connsiteY271" fmla="*/ 561929 h 1210599"/>
                  <a:gd name="connsiteX272" fmla="*/ 395853 w 1086411"/>
                  <a:gd name="connsiteY272" fmla="*/ 553833 h 1210599"/>
                  <a:gd name="connsiteX273" fmla="*/ 401937 w 1086411"/>
                  <a:gd name="connsiteY273" fmla="*/ 545197 h 1210599"/>
                  <a:gd name="connsiteX274" fmla="*/ 377048 w 1086411"/>
                  <a:gd name="connsiteY274" fmla="*/ 514433 h 1210599"/>
                  <a:gd name="connsiteX275" fmla="*/ 359902 w 1086411"/>
                  <a:gd name="connsiteY275" fmla="*/ 511195 h 1210599"/>
                  <a:gd name="connsiteX276" fmla="*/ 361562 w 1086411"/>
                  <a:gd name="connsiteY276" fmla="*/ 501480 h 1210599"/>
                  <a:gd name="connsiteX277" fmla="*/ 356031 w 1086411"/>
                  <a:gd name="connsiteY277" fmla="*/ 496082 h 1210599"/>
                  <a:gd name="connsiteX278" fmla="*/ 341097 w 1086411"/>
                  <a:gd name="connsiteY278" fmla="*/ 495003 h 1210599"/>
                  <a:gd name="connsiteX279" fmla="*/ 344416 w 1086411"/>
                  <a:gd name="connsiteY279" fmla="*/ 466937 h 1210599"/>
                  <a:gd name="connsiteX280" fmla="*/ 342757 w 1086411"/>
                  <a:gd name="connsiteY280" fmla="*/ 464779 h 1210599"/>
                  <a:gd name="connsiteX281" fmla="*/ 330035 w 1086411"/>
                  <a:gd name="connsiteY281" fmla="*/ 443729 h 1210599"/>
                  <a:gd name="connsiteX282" fmla="*/ 319527 w 1086411"/>
                  <a:gd name="connsiteY282" fmla="*/ 431316 h 1210599"/>
                  <a:gd name="connsiteX283" fmla="*/ 316208 w 1086411"/>
                  <a:gd name="connsiteY283" fmla="*/ 412425 h 1210599"/>
                  <a:gd name="connsiteX284" fmla="*/ 316208 w 1086411"/>
                  <a:gd name="connsiteY284" fmla="*/ 401631 h 1210599"/>
                  <a:gd name="connsiteX285" fmla="*/ 314549 w 1086411"/>
                  <a:gd name="connsiteY285" fmla="*/ 398393 h 1210599"/>
                  <a:gd name="connsiteX286" fmla="*/ 307359 w 1086411"/>
                  <a:gd name="connsiteY286" fmla="*/ 378423 h 1210599"/>
                  <a:gd name="connsiteX287" fmla="*/ 296297 w 1086411"/>
                  <a:gd name="connsiteY287" fmla="*/ 370867 h 1210599"/>
                  <a:gd name="connsiteX288" fmla="*/ 287447 w 1086411"/>
                  <a:gd name="connsiteY288" fmla="*/ 368168 h 1210599"/>
                  <a:gd name="connsiteX289" fmla="*/ 276385 w 1086411"/>
                  <a:gd name="connsiteY289" fmla="*/ 362231 h 1210599"/>
                  <a:gd name="connsiteX290" fmla="*/ 273067 w 1086411"/>
                  <a:gd name="connsiteY290" fmla="*/ 367628 h 1210599"/>
                  <a:gd name="connsiteX291" fmla="*/ 267536 w 1086411"/>
                  <a:gd name="connsiteY291" fmla="*/ 364390 h 1210599"/>
                  <a:gd name="connsiteX292" fmla="*/ 255368 w 1086411"/>
                  <a:gd name="connsiteY292" fmla="*/ 357374 h 1210599"/>
                  <a:gd name="connsiteX293" fmla="*/ 232138 w 1086411"/>
                  <a:gd name="connsiteY293" fmla="*/ 335785 h 1210599"/>
                  <a:gd name="connsiteX294" fmla="*/ 224395 w 1086411"/>
                  <a:gd name="connsiteY294" fmla="*/ 335245 h 1210599"/>
                  <a:gd name="connsiteX295" fmla="*/ 221629 w 1086411"/>
                  <a:gd name="connsiteY295" fmla="*/ 340102 h 1210599"/>
                  <a:gd name="connsiteX296" fmla="*/ 211121 w 1086411"/>
                  <a:gd name="connsiteY296" fmla="*/ 330387 h 1210599"/>
                  <a:gd name="connsiteX297" fmla="*/ 184572 w 1086411"/>
                  <a:gd name="connsiteY297" fmla="*/ 324990 h 1210599"/>
                  <a:gd name="connsiteX298" fmla="*/ 158024 w 1086411"/>
                  <a:gd name="connsiteY298" fmla="*/ 340102 h 1210599"/>
                  <a:gd name="connsiteX299" fmla="*/ 154705 w 1086411"/>
                  <a:gd name="connsiteY299" fmla="*/ 351976 h 1210599"/>
                  <a:gd name="connsiteX300" fmla="*/ 139772 w 1086411"/>
                  <a:gd name="connsiteY300" fmla="*/ 358993 h 1210599"/>
                  <a:gd name="connsiteX301" fmla="*/ 130922 w 1086411"/>
                  <a:gd name="connsiteY301" fmla="*/ 373565 h 1210599"/>
                  <a:gd name="connsiteX302" fmla="*/ 127051 w 1086411"/>
                  <a:gd name="connsiteY302" fmla="*/ 387598 h 1210599"/>
                  <a:gd name="connsiteX303" fmla="*/ 94418 w 1086411"/>
                  <a:gd name="connsiteY303" fmla="*/ 401631 h 1210599"/>
                  <a:gd name="connsiteX304" fmla="*/ 77272 w 1086411"/>
                  <a:gd name="connsiteY304" fmla="*/ 403790 h 1210599"/>
                  <a:gd name="connsiteX305" fmla="*/ 77272 w 1086411"/>
                  <a:gd name="connsiteY305" fmla="*/ 391376 h 1210599"/>
                  <a:gd name="connsiteX306" fmla="*/ 92759 w 1086411"/>
                  <a:gd name="connsiteY306" fmla="*/ 371946 h 1210599"/>
                  <a:gd name="connsiteX307" fmla="*/ 92206 w 1086411"/>
                  <a:gd name="connsiteY307" fmla="*/ 364390 h 1210599"/>
                  <a:gd name="connsiteX308" fmla="*/ 89993 w 1086411"/>
                  <a:gd name="connsiteY308" fmla="*/ 358453 h 1210599"/>
                  <a:gd name="connsiteX309" fmla="*/ 62892 w 1086411"/>
                  <a:gd name="connsiteY309" fmla="*/ 364930 h 1210599"/>
                  <a:gd name="connsiteX310" fmla="*/ 29706 w 1086411"/>
                  <a:gd name="connsiteY310" fmla="*/ 350897 h 1210599"/>
                  <a:gd name="connsiteX311" fmla="*/ 22516 w 1086411"/>
                  <a:gd name="connsiteY311" fmla="*/ 341182 h 1210599"/>
                  <a:gd name="connsiteX312" fmla="*/ 19198 w 1086411"/>
                  <a:gd name="connsiteY312" fmla="*/ 316894 h 1210599"/>
                  <a:gd name="connsiteX313" fmla="*/ 32472 w 1086411"/>
                  <a:gd name="connsiteY313" fmla="*/ 299623 h 1210599"/>
                  <a:gd name="connsiteX314" fmla="*/ 29153 w 1086411"/>
                  <a:gd name="connsiteY314" fmla="*/ 280733 h 1210599"/>
                  <a:gd name="connsiteX315" fmla="*/ 14220 w 1086411"/>
                  <a:gd name="connsiteY315" fmla="*/ 278034 h 1210599"/>
                  <a:gd name="connsiteX316" fmla="*/ 2052 w 1086411"/>
                  <a:gd name="connsiteY316" fmla="*/ 257525 h 1210599"/>
                  <a:gd name="connsiteX317" fmla="*/ -714 w 1086411"/>
                  <a:gd name="connsiteY317" fmla="*/ 244032 h 1210599"/>
                  <a:gd name="connsiteX318" fmla="*/ 18645 w 1086411"/>
                  <a:gd name="connsiteY318" fmla="*/ 244571 h 1210599"/>
                  <a:gd name="connsiteX319" fmla="*/ 39109 w 1086411"/>
                  <a:gd name="connsiteY319" fmla="*/ 229999 h 1210599"/>
                  <a:gd name="connsiteX320" fmla="*/ 40768 w 1086411"/>
                  <a:gd name="connsiteY320" fmla="*/ 212728 h 1210599"/>
                  <a:gd name="connsiteX321" fmla="*/ 33025 w 1086411"/>
                  <a:gd name="connsiteY321" fmla="*/ 205172 h 1210599"/>
                  <a:gd name="connsiteX322" fmla="*/ 27494 w 1086411"/>
                  <a:gd name="connsiteY322" fmla="*/ 199235 h 1210599"/>
                  <a:gd name="connsiteX323" fmla="*/ 28600 w 1086411"/>
                  <a:gd name="connsiteY323" fmla="*/ 186821 h 1210599"/>
                  <a:gd name="connsiteX324" fmla="*/ 14220 w 1086411"/>
                  <a:gd name="connsiteY324" fmla="*/ 172248 h 1210599"/>
                  <a:gd name="connsiteX325" fmla="*/ 32472 w 1086411"/>
                  <a:gd name="connsiteY325" fmla="*/ 154438 h 1210599"/>
                  <a:gd name="connsiteX326" fmla="*/ 50724 w 1086411"/>
                  <a:gd name="connsiteY326" fmla="*/ 158216 h 1210599"/>
                  <a:gd name="connsiteX327" fmla="*/ 78379 w 1086411"/>
                  <a:gd name="connsiteY327" fmla="*/ 147421 h 1210599"/>
                  <a:gd name="connsiteX328" fmla="*/ 100502 w 1086411"/>
                  <a:gd name="connsiteY328" fmla="*/ 151199 h 1210599"/>
                  <a:gd name="connsiteX329" fmla="*/ 125944 w 1086411"/>
                  <a:gd name="connsiteY329" fmla="*/ 129071 h 1210599"/>
                  <a:gd name="connsiteX330" fmla="*/ 127604 w 1086411"/>
                  <a:gd name="connsiteY330" fmla="*/ 120435 h 1210599"/>
                  <a:gd name="connsiteX331" fmla="*/ 125391 w 1086411"/>
                  <a:gd name="connsiteY331" fmla="*/ 109641 h 1210599"/>
                  <a:gd name="connsiteX332" fmla="*/ 137559 w 1086411"/>
                  <a:gd name="connsiteY332" fmla="*/ 103704 h 1210599"/>
                  <a:gd name="connsiteX333" fmla="*/ 142537 w 1086411"/>
                  <a:gd name="connsiteY333" fmla="*/ 92369 h 1210599"/>
                  <a:gd name="connsiteX334" fmla="*/ 151387 w 1086411"/>
                  <a:gd name="connsiteY334" fmla="*/ 92369 h 1210599"/>
                  <a:gd name="connsiteX335" fmla="*/ 154705 w 1086411"/>
                  <a:gd name="connsiteY335" fmla="*/ 114498 h 1210599"/>
                  <a:gd name="connsiteX336" fmla="*/ 166873 w 1086411"/>
                  <a:gd name="connsiteY336" fmla="*/ 126912 h 1210599"/>
                  <a:gd name="connsiteX337" fmla="*/ 169639 w 1086411"/>
                  <a:gd name="connsiteY337" fmla="*/ 127451 h 1210599"/>
                  <a:gd name="connsiteX338" fmla="*/ 177382 w 1086411"/>
                  <a:gd name="connsiteY338" fmla="*/ 129610 h 1210599"/>
                  <a:gd name="connsiteX339" fmla="*/ 184572 w 1086411"/>
                  <a:gd name="connsiteY339" fmla="*/ 131769 h 1210599"/>
                  <a:gd name="connsiteX340" fmla="*/ 184019 w 1086411"/>
                  <a:gd name="connsiteY340" fmla="*/ 146882 h 1210599"/>
                  <a:gd name="connsiteX341" fmla="*/ 189550 w 1086411"/>
                  <a:gd name="connsiteY341" fmla="*/ 150660 h 1210599"/>
                  <a:gd name="connsiteX342" fmla="*/ 193422 w 1086411"/>
                  <a:gd name="connsiteY342" fmla="*/ 160914 h 1210599"/>
                  <a:gd name="connsiteX343" fmla="*/ 202824 w 1086411"/>
                  <a:gd name="connsiteY343" fmla="*/ 161454 h 1210599"/>
                  <a:gd name="connsiteX344" fmla="*/ 206696 w 1086411"/>
                  <a:gd name="connsiteY344" fmla="*/ 154977 h 1210599"/>
                  <a:gd name="connsiteX345" fmla="*/ 200059 w 1086411"/>
                  <a:gd name="connsiteY345" fmla="*/ 145802 h 1210599"/>
                  <a:gd name="connsiteX346" fmla="*/ 202824 w 1086411"/>
                  <a:gd name="connsiteY346" fmla="*/ 130690 h 1210599"/>
                  <a:gd name="connsiteX347" fmla="*/ 218311 w 1086411"/>
                  <a:gd name="connsiteY347" fmla="*/ 113419 h 1210599"/>
                  <a:gd name="connsiteX348" fmla="*/ 224948 w 1086411"/>
                  <a:gd name="connsiteY348" fmla="*/ 84813 h 1210599"/>
                  <a:gd name="connsiteX349" fmla="*/ 236010 w 1086411"/>
                  <a:gd name="connsiteY349" fmla="*/ 84813 h 1210599"/>
                  <a:gd name="connsiteX350" fmla="*/ 242094 w 1086411"/>
                  <a:gd name="connsiteY350" fmla="*/ 105323 h 1210599"/>
                  <a:gd name="connsiteX351" fmla="*/ 254815 w 1086411"/>
                  <a:gd name="connsiteY351" fmla="*/ 107482 h 1210599"/>
                  <a:gd name="connsiteX352" fmla="*/ 263111 w 1086411"/>
                  <a:gd name="connsiteY352" fmla="*/ 100465 h 1210599"/>
                  <a:gd name="connsiteX353" fmla="*/ 280810 w 1086411"/>
                  <a:gd name="connsiteY353" fmla="*/ 96687 h 1210599"/>
                  <a:gd name="connsiteX354" fmla="*/ 288554 w 1086411"/>
                  <a:gd name="connsiteY354" fmla="*/ 110720 h 1210599"/>
                  <a:gd name="connsiteX355" fmla="*/ 292425 w 1086411"/>
                  <a:gd name="connsiteY355" fmla="*/ 112879 h 1210599"/>
                  <a:gd name="connsiteX356" fmla="*/ 296297 w 1086411"/>
                  <a:gd name="connsiteY356" fmla="*/ 109641 h 1210599"/>
                  <a:gd name="connsiteX357" fmla="*/ 297403 w 1086411"/>
                  <a:gd name="connsiteY357" fmla="*/ 104243 h 1210599"/>
                  <a:gd name="connsiteX358" fmla="*/ 293531 w 1086411"/>
                  <a:gd name="connsiteY358" fmla="*/ 98846 h 1210599"/>
                  <a:gd name="connsiteX359" fmla="*/ 291872 w 1086411"/>
                  <a:gd name="connsiteY359" fmla="*/ 89131 h 1210599"/>
                  <a:gd name="connsiteX360" fmla="*/ 285788 w 1086411"/>
                  <a:gd name="connsiteY360" fmla="*/ 83734 h 1210599"/>
                  <a:gd name="connsiteX361" fmla="*/ 290766 w 1086411"/>
                  <a:gd name="connsiteY361" fmla="*/ 69161 h 1210599"/>
                  <a:gd name="connsiteX362" fmla="*/ 300168 w 1086411"/>
                  <a:gd name="connsiteY362" fmla="*/ 65383 h 1210599"/>
                  <a:gd name="connsiteX363" fmla="*/ 305146 w 1086411"/>
                  <a:gd name="connsiteY363" fmla="*/ 74019 h 1210599"/>
                  <a:gd name="connsiteX364" fmla="*/ 310677 w 1086411"/>
                  <a:gd name="connsiteY364" fmla="*/ 74559 h 1210599"/>
                  <a:gd name="connsiteX365" fmla="*/ 316761 w 1086411"/>
                  <a:gd name="connsiteY365" fmla="*/ 72939 h 1210599"/>
                  <a:gd name="connsiteX366" fmla="*/ 320633 w 1086411"/>
                  <a:gd name="connsiteY366" fmla="*/ 61065 h 1210599"/>
                  <a:gd name="connsiteX367" fmla="*/ 313443 w 1086411"/>
                  <a:gd name="connsiteY367" fmla="*/ 54049 h 1210599"/>
                  <a:gd name="connsiteX368" fmla="*/ 320633 w 1086411"/>
                  <a:gd name="connsiteY368" fmla="*/ 34619 h 1210599"/>
                  <a:gd name="connsiteX369" fmla="*/ 338885 w 1086411"/>
                  <a:gd name="connsiteY369" fmla="*/ 36778 h 1210599"/>
                  <a:gd name="connsiteX370" fmla="*/ 339438 w 1086411"/>
                  <a:gd name="connsiteY370" fmla="*/ 45414 h 1210599"/>
                  <a:gd name="connsiteX371" fmla="*/ 350500 w 1086411"/>
                  <a:gd name="connsiteY371" fmla="*/ 47033 h 1210599"/>
                  <a:gd name="connsiteX372" fmla="*/ 363774 w 1086411"/>
                  <a:gd name="connsiteY372" fmla="*/ 40016 h 1210599"/>
                  <a:gd name="connsiteX373" fmla="*/ 368199 w 1086411"/>
                  <a:gd name="connsiteY373" fmla="*/ 29222 h 1210599"/>
                  <a:gd name="connsiteX374" fmla="*/ 382579 w 1086411"/>
                  <a:gd name="connsiteY374" fmla="*/ 18427 h 1210599"/>
                  <a:gd name="connsiteX375" fmla="*/ 396960 w 1086411"/>
                  <a:gd name="connsiteY375" fmla="*/ 18967 h 1210599"/>
                  <a:gd name="connsiteX376" fmla="*/ 408574 w 1086411"/>
                  <a:gd name="connsiteY376" fmla="*/ 14110 h 1210599"/>
                  <a:gd name="connsiteX377" fmla="*/ 421849 w 1086411"/>
                  <a:gd name="connsiteY377" fmla="*/ 17888 h 1210599"/>
                  <a:gd name="connsiteX378" fmla="*/ 456693 w 1086411"/>
                  <a:gd name="connsiteY378" fmla="*/ -463 h 121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1086411" h="1210599">
                    <a:moveTo>
                      <a:pt x="813991" y="1210136"/>
                    </a:moveTo>
                    <a:cubicBezTo>
                      <a:pt x="810119" y="1210136"/>
                      <a:pt x="804588" y="1205819"/>
                      <a:pt x="799611" y="1205819"/>
                    </a:cubicBezTo>
                    <a:cubicBezTo>
                      <a:pt x="794080" y="1205819"/>
                      <a:pt x="789102" y="1208517"/>
                      <a:pt x="783571" y="1209057"/>
                    </a:cubicBezTo>
                    <a:cubicBezTo>
                      <a:pt x="778040" y="1209597"/>
                      <a:pt x="766425" y="1209597"/>
                      <a:pt x="761447" y="1206898"/>
                    </a:cubicBezTo>
                    <a:cubicBezTo>
                      <a:pt x="748726" y="1199342"/>
                      <a:pt x="741536" y="1177753"/>
                      <a:pt x="732133" y="1173435"/>
                    </a:cubicBezTo>
                    <a:cubicBezTo>
                      <a:pt x="728815" y="1171816"/>
                      <a:pt x="714987" y="1168038"/>
                      <a:pt x="711116" y="1167498"/>
                    </a:cubicBezTo>
                    <a:cubicBezTo>
                      <a:pt x="702819" y="1166419"/>
                      <a:pt x="699501" y="1170197"/>
                      <a:pt x="687886" y="1165879"/>
                    </a:cubicBezTo>
                    <a:cubicBezTo>
                      <a:pt x="686780" y="1165339"/>
                      <a:pt x="686227" y="1164260"/>
                      <a:pt x="685121" y="1163720"/>
                    </a:cubicBezTo>
                    <a:cubicBezTo>
                      <a:pt x="680696" y="1161561"/>
                      <a:pt x="675165" y="1161022"/>
                      <a:pt x="671293" y="1158323"/>
                    </a:cubicBezTo>
                    <a:cubicBezTo>
                      <a:pt x="669081" y="1157244"/>
                      <a:pt x="667422" y="1155085"/>
                      <a:pt x="665209" y="1153465"/>
                    </a:cubicBezTo>
                    <a:cubicBezTo>
                      <a:pt x="660231" y="1150767"/>
                      <a:pt x="654700" y="1149148"/>
                      <a:pt x="649723" y="1146449"/>
                    </a:cubicBezTo>
                    <a:cubicBezTo>
                      <a:pt x="641426" y="1142131"/>
                      <a:pt x="634236" y="1136194"/>
                      <a:pt x="625940" y="1131877"/>
                    </a:cubicBezTo>
                    <a:cubicBezTo>
                      <a:pt x="621515" y="1129718"/>
                      <a:pt x="615984" y="1129718"/>
                      <a:pt x="611006" y="1127559"/>
                    </a:cubicBezTo>
                    <a:cubicBezTo>
                      <a:pt x="607135" y="1125940"/>
                      <a:pt x="603816" y="1122701"/>
                      <a:pt x="599391" y="1121082"/>
                    </a:cubicBezTo>
                    <a:cubicBezTo>
                      <a:pt x="588329" y="1116764"/>
                      <a:pt x="576714" y="1122701"/>
                      <a:pt x="566206" y="1117844"/>
                    </a:cubicBezTo>
                    <a:cubicBezTo>
                      <a:pt x="565100" y="1117304"/>
                      <a:pt x="563440" y="1114605"/>
                      <a:pt x="561781" y="1113526"/>
                    </a:cubicBezTo>
                    <a:cubicBezTo>
                      <a:pt x="560675" y="1112447"/>
                      <a:pt x="558462" y="1111907"/>
                      <a:pt x="557356" y="1110288"/>
                    </a:cubicBezTo>
                    <a:cubicBezTo>
                      <a:pt x="555144" y="1108129"/>
                      <a:pt x="550166" y="1100573"/>
                      <a:pt x="550719" y="1097334"/>
                    </a:cubicBezTo>
                    <a:cubicBezTo>
                      <a:pt x="550719" y="1089238"/>
                      <a:pt x="554591" y="1071428"/>
                      <a:pt x="559016" y="1064411"/>
                    </a:cubicBezTo>
                    <a:cubicBezTo>
                      <a:pt x="560675" y="1062252"/>
                      <a:pt x="565100" y="1058474"/>
                      <a:pt x="567312" y="1056855"/>
                    </a:cubicBezTo>
                    <a:cubicBezTo>
                      <a:pt x="568971" y="1055776"/>
                      <a:pt x="572843" y="1053617"/>
                      <a:pt x="574502" y="1053617"/>
                    </a:cubicBezTo>
                    <a:cubicBezTo>
                      <a:pt x="582245" y="1053077"/>
                      <a:pt x="581692" y="1061173"/>
                      <a:pt x="585011" y="1063332"/>
                    </a:cubicBezTo>
                    <a:cubicBezTo>
                      <a:pt x="586670" y="1064411"/>
                      <a:pt x="594413" y="1064951"/>
                      <a:pt x="596626" y="1064951"/>
                    </a:cubicBezTo>
                    <a:cubicBezTo>
                      <a:pt x="603263" y="1063332"/>
                      <a:pt x="602157" y="1054696"/>
                      <a:pt x="605475" y="1050378"/>
                    </a:cubicBezTo>
                    <a:cubicBezTo>
                      <a:pt x="607688" y="1048219"/>
                      <a:pt x="607135" y="1049299"/>
                      <a:pt x="609900" y="1048219"/>
                    </a:cubicBezTo>
                    <a:cubicBezTo>
                      <a:pt x="613219" y="1047140"/>
                      <a:pt x="617090" y="1043362"/>
                      <a:pt x="620962" y="1042822"/>
                    </a:cubicBezTo>
                    <a:cubicBezTo>
                      <a:pt x="623174" y="1042282"/>
                      <a:pt x="630364" y="1043362"/>
                      <a:pt x="632577" y="1044441"/>
                    </a:cubicBezTo>
                    <a:cubicBezTo>
                      <a:pt x="635895" y="1046061"/>
                      <a:pt x="638108" y="1049299"/>
                      <a:pt x="640873" y="1050918"/>
                    </a:cubicBezTo>
                    <a:cubicBezTo>
                      <a:pt x="643639" y="1053077"/>
                      <a:pt x="646957" y="1053617"/>
                      <a:pt x="649723" y="1055236"/>
                    </a:cubicBezTo>
                    <a:cubicBezTo>
                      <a:pt x="650276" y="1055776"/>
                      <a:pt x="650829" y="1056855"/>
                      <a:pt x="651382" y="1057934"/>
                    </a:cubicBezTo>
                    <a:cubicBezTo>
                      <a:pt x="654700" y="1061173"/>
                      <a:pt x="662997" y="1066570"/>
                      <a:pt x="667975" y="1066570"/>
                    </a:cubicBezTo>
                    <a:cubicBezTo>
                      <a:pt x="679590" y="1067649"/>
                      <a:pt x="687333" y="1059014"/>
                      <a:pt x="697289" y="1056315"/>
                    </a:cubicBezTo>
                    <a:cubicBezTo>
                      <a:pt x="702819" y="1054696"/>
                      <a:pt x="713881" y="1057934"/>
                      <a:pt x="719412" y="1057395"/>
                    </a:cubicBezTo>
                    <a:cubicBezTo>
                      <a:pt x="727156" y="1056855"/>
                      <a:pt x="736558" y="1055236"/>
                      <a:pt x="743748" y="1052537"/>
                    </a:cubicBezTo>
                    <a:cubicBezTo>
                      <a:pt x="756469" y="1048759"/>
                      <a:pt x="761447" y="1036885"/>
                      <a:pt x="774721" y="1034187"/>
                    </a:cubicBezTo>
                    <a:cubicBezTo>
                      <a:pt x="781912" y="1032567"/>
                      <a:pt x="793527" y="1037425"/>
                      <a:pt x="797951" y="1036885"/>
                    </a:cubicBezTo>
                    <a:cubicBezTo>
                      <a:pt x="802376" y="1035806"/>
                      <a:pt x="810672" y="1025551"/>
                      <a:pt x="811225" y="1025551"/>
                    </a:cubicBezTo>
                    <a:cubicBezTo>
                      <a:pt x="812885" y="1024472"/>
                      <a:pt x="817863" y="1026091"/>
                      <a:pt x="820075" y="1025551"/>
                    </a:cubicBezTo>
                    <a:cubicBezTo>
                      <a:pt x="826159" y="1023392"/>
                      <a:pt x="831137" y="1017995"/>
                      <a:pt x="836668" y="1015296"/>
                    </a:cubicBezTo>
                    <a:cubicBezTo>
                      <a:pt x="837774" y="1014757"/>
                      <a:pt x="842199" y="1013677"/>
                      <a:pt x="843305" y="1014217"/>
                    </a:cubicBezTo>
                    <a:cubicBezTo>
                      <a:pt x="843858" y="1014757"/>
                      <a:pt x="843858" y="1016376"/>
                      <a:pt x="843858" y="1017455"/>
                    </a:cubicBezTo>
                    <a:cubicBezTo>
                      <a:pt x="842199" y="1024472"/>
                      <a:pt x="832796" y="1044981"/>
                      <a:pt x="828924" y="1052537"/>
                    </a:cubicBezTo>
                    <a:cubicBezTo>
                      <a:pt x="826712" y="1057395"/>
                      <a:pt x="823394" y="1061713"/>
                      <a:pt x="820628" y="1066030"/>
                    </a:cubicBezTo>
                    <a:cubicBezTo>
                      <a:pt x="813991" y="1080063"/>
                      <a:pt x="809013" y="1104351"/>
                      <a:pt x="806248" y="1119463"/>
                    </a:cubicBezTo>
                    <a:cubicBezTo>
                      <a:pt x="804035" y="1131877"/>
                      <a:pt x="815650" y="1131877"/>
                      <a:pt x="819522" y="1139433"/>
                    </a:cubicBezTo>
                    <a:cubicBezTo>
                      <a:pt x="820628" y="1141592"/>
                      <a:pt x="819522" y="1148068"/>
                      <a:pt x="820628" y="1150767"/>
                    </a:cubicBezTo>
                    <a:cubicBezTo>
                      <a:pt x="822287" y="1155085"/>
                      <a:pt x="830584" y="1164260"/>
                      <a:pt x="831137" y="1166959"/>
                    </a:cubicBezTo>
                    <a:cubicBezTo>
                      <a:pt x="832243" y="1170197"/>
                      <a:pt x="822287" y="1180452"/>
                      <a:pt x="821181" y="1183690"/>
                    </a:cubicBezTo>
                    <a:cubicBezTo>
                      <a:pt x="817863" y="1191246"/>
                      <a:pt x="817310" y="1204199"/>
                      <a:pt x="813991" y="1210136"/>
                    </a:cubicBezTo>
                    <a:close/>
                    <a:moveTo>
                      <a:pt x="141431" y="737879"/>
                    </a:moveTo>
                    <a:cubicBezTo>
                      <a:pt x="148068" y="733561"/>
                      <a:pt x="153599" y="751372"/>
                      <a:pt x="161895" y="749752"/>
                    </a:cubicBezTo>
                    <a:cubicBezTo>
                      <a:pt x="165767" y="749213"/>
                      <a:pt x="176276" y="741657"/>
                      <a:pt x="181254" y="739498"/>
                    </a:cubicBezTo>
                    <a:cubicBezTo>
                      <a:pt x="183466" y="738418"/>
                      <a:pt x="187891" y="738958"/>
                      <a:pt x="190103" y="737879"/>
                    </a:cubicBezTo>
                    <a:cubicBezTo>
                      <a:pt x="197293" y="733021"/>
                      <a:pt x="202824" y="724385"/>
                      <a:pt x="210014" y="718988"/>
                    </a:cubicBezTo>
                    <a:cubicBezTo>
                      <a:pt x="212780" y="716829"/>
                      <a:pt x="217758" y="715750"/>
                      <a:pt x="219970" y="713591"/>
                    </a:cubicBezTo>
                    <a:cubicBezTo>
                      <a:pt x="223289" y="710353"/>
                      <a:pt x="222736" y="702257"/>
                      <a:pt x="229926" y="701717"/>
                    </a:cubicBezTo>
                    <a:cubicBezTo>
                      <a:pt x="232138" y="701717"/>
                      <a:pt x="242094" y="703876"/>
                      <a:pt x="243753" y="704955"/>
                    </a:cubicBezTo>
                    <a:cubicBezTo>
                      <a:pt x="245965" y="706575"/>
                      <a:pt x="247072" y="711432"/>
                      <a:pt x="248731" y="712512"/>
                    </a:cubicBezTo>
                    <a:cubicBezTo>
                      <a:pt x="250943" y="713591"/>
                      <a:pt x="256474" y="713591"/>
                      <a:pt x="258133" y="715210"/>
                    </a:cubicBezTo>
                    <a:cubicBezTo>
                      <a:pt x="260346" y="717909"/>
                      <a:pt x="262005" y="729783"/>
                      <a:pt x="264771" y="734100"/>
                    </a:cubicBezTo>
                    <a:cubicBezTo>
                      <a:pt x="266430" y="737339"/>
                      <a:pt x="275832" y="744895"/>
                      <a:pt x="276385" y="746514"/>
                    </a:cubicBezTo>
                    <a:cubicBezTo>
                      <a:pt x="276939" y="747594"/>
                      <a:pt x="276385" y="748673"/>
                      <a:pt x="276385" y="749752"/>
                    </a:cubicBezTo>
                    <a:cubicBezTo>
                      <a:pt x="276385" y="755150"/>
                      <a:pt x="277492" y="761626"/>
                      <a:pt x="278598" y="767024"/>
                    </a:cubicBezTo>
                    <a:cubicBezTo>
                      <a:pt x="279704" y="771341"/>
                      <a:pt x="283023" y="776199"/>
                      <a:pt x="283576" y="781056"/>
                    </a:cubicBezTo>
                    <a:cubicBezTo>
                      <a:pt x="288000" y="804804"/>
                      <a:pt x="270301" y="809662"/>
                      <a:pt x="271961" y="822075"/>
                    </a:cubicBezTo>
                    <a:cubicBezTo>
                      <a:pt x="272514" y="824774"/>
                      <a:pt x="276385" y="835029"/>
                      <a:pt x="278045" y="837188"/>
                    </a:cubicBezTo>
                    <a:cubicBezTo>
                      <a:pt x="279704" y="839886"/>
                      <a:pt x="285235" y="842045"/>
                      <a:pt x="285235" y="847442"/>
                    </a:cubicBezTo>
                    <a:cubicBezTo>
                      <a:pt x="284682" y="859856"/>
                      <a:pt x="280257" y="874429"/>
                      <a:pt x="278598" y="886842"/>
                    </a:cubicBezTo>
                    <a:cubicBezTo>
                      <a:pt x="275832" y="904653"/>
                      <a:pt x="275279" y="923004"/>
                      <a:pt x="271961" y="940814"/>
                    </a:cubicBezTo>
                    <a:cubicBezTo>
                      <a:pt x="271408" y="945672"/>
                      <a:pt x="266983" y="953228"/>
                      <a:pt x="261452" y="953768"/>
                    </a:cubicBezTo>
                    <a:cubicBezTo>
                      <a:pt x="259240" y="953768"/>
                      <a:pt x="253156" y="951069"/>
                      <a:pt x="251496" y="949990"/>
                    </a:cubicBezTo>
                    <a:lnTo>
                      <a:pt x="250390" y="947291"/>
                    </a:lnTo>
                    <a:cubicBezTo>
                      <a:pt x="249837" y="946212"/>
                      <a:pt x="243753" y="939735"/>
                      <a:pt x="242094" y="939195"/>
                    </a:cubicBezTo>
                    <a:cubicBezTo>
                      <a:pt x="239328" y="938656"/>
                      <a:pt x="232138" y="940275"/>
                      <a:pt x="228820" y="940275"/>
                    </a:cubicBezTo>
                    <a:cubicBezTo>
                      <a:pt x="225501" y="939735"/>
                      <a:pt x="222182" y="938656"/>
                      <a:pt x="217205" y="938656"/>
                    </a:cubicBezTo>
                    <a:cubicBezTo>
                      <a:pt x="213886" y="945132"/>
                      <a:pt x="219417" y="948371"/>
                      <a:pt x="221076" y="954308"/>
                    </a:cubicBezTo>
                    <a:cubicBezTo>
                      <a:pt x="222736" y="958625"/>
                      <a:pt x="217758" y="979135"/>
                      <a:pt x="212780" y="980214"/>
                    </a:cubicBezTo>
                    <a:cubicBezTo>
                      <a:pt x="207249" y="980754"/>
                      <a:pt x="200612" y="976436"/>
                      <a:pt x="195634" y="976976"/>
                    </a:cubicBezTo>
                    <a:cubicBezTo>
                      <a:pt x="191762" y="976976"/>
                      <a:pt x="185678" y="982913"/>
                      <a:pt x="182913" y="980754"/>
                    </a:cubicBezTo>
                    <a:cubicBezTo>
                      <a:pt x="177382" y="976976"/>
                      <a:pt x="179041" y="961324"/>
                      <a:pt x="171851" y="958086"/>
                    </a:cubicBezTo>
                    <a:lnTo>
                      <a:pt x="169639" y="958625"/>
                    </a:lnTo>
                    <a:cubicBezTo>
                      <a:pt x="167426" y="961324"/>
                      <a:pt x="167979" y="965642"/>
                      <a:pt x="164108" y="967801"/>
                    </a:cubicBezTo>
                    <a:cubicBezTo>
                      <a:pt x="159130" y="967261"/>
                      <a:pt x="155811" y="963483"/>
                      <a:pt x="155811" y="958625"/>
                    </a:cubicBezTo>
                    <a:cubicBezTo>
                      <a:pt x="155811" y="950530"/>
                      <a:pt x="160789" y="952688"/>
                      <a:pt x="161895" y="947831"/>
                    </a:cubicBezTo>
                    <a:cubicBezTo>
                      <a:pt x="161895" y="947291"/>
                      <a:pt x="159683" y="933798"/>
                      <a:pt x="159683" y="931099"/>
                    </a:cubicBezTo>
                    <a:cubicBezTo>
                      <a:pt x="159683" y="915987"/>
                      <a:pt x="159683" y="900335"/>
                      <a:pt x="161342" y="885763"/>
                    </a:cubicBezTo>
                    <a:cubicBezTo>
                      <a:pt x="161895" y="881445"/>
                      <a:pt x="163555" y="878207"/>
                      <a:pt x="167979" y="878207"/>
                    </a:cubicBezTo>
                    <a:cubicBezTo>
                      <a:pt x="169639" y="874968"/>
                      <a:pt x="170745" y="865793"/>
                      <a:pt x="170745" y="864174"/>
                    </a:cubicBezTo>
                    <a:cubicBezTo>
                      <a:pt x="169639" y="859316"/>
                      <a:pt x="159683" y="857697"/>
                      <a:pt x="158577" y="854459"/>
                    </a:cubicBezTo>
                    <a:cubicBezTo>
                      <a:pt x="157471" y="851760"/>
                      <a:pt x="171851" y="838267"/>
                      <a:pt x="161895" y="816678"/>
                    </a:cubicBezTo>
                    <a:cubicBezTo>
                      <a:pt x="160789" y="813980"/>
                      <a:pt x="158577" y="811821"/>
                      <a:pt x="156918" y="809122"/>
                    </a:cubicBezTo>
                    <a:cubicBezTo>
                      <a:pt x="152493" y="800486"/>
                      <a:pt x="150281" y="790232"/>
                      <a:pt x="144750" y="782136"/>
                    </a:cubicBezTo>
                    <a:cubicBezTo>
                      <a:pt x="141984" y="777818"/>
                      <a:pt x="135347" y="775659"/>
                      <a:pt x="132028" y="771341"/>
                    </a:cubicBezTo>
                    <a:cubicBezTo>
                      <a:pt x="131475" y="770262"/>
                      <a:pt x="130922" y="768643"/>
                      <a:pt x="131475" y="767563"/>
                    </a:cubicBezTo>
                    <a:cubicBezTo>
                      <a:pt x="131475" y="765944"/>
                      <a:pt x="135900" y="756769"/>
                      <a:pt x="137559" y="755150"/>
                    </a:cubicBezTo>
                    <a:cubicBezTo>
                      <a:pt x="138666" y="752991"/>
                      <a:pt x="140878" y="751372"/>
                      <a:pt x="141984" y="749752"/>
                    </a:cubicBezTo>
                    <a:cubicBezTo>
                      <a:pt x="144750" y="744355"/>
                      <a:pt x="138666" y="742196"/>
                      <a:pt x="141431" y="737879"/>
                    </a:cubicBezTo>
                    <a:close/>
                    <a:moveTo>
                      <a:pt x="500388" y="371406"/>
                    </a:moveTo>
                    <a:lnTo>
                      <a:pt x="502047" y="377883"/>
                    </a:lnTo>
                    <a:lnTo>
                      <a:pt x="508684" y="379502"/>
                    </a:lnTo>
                    <a:lnTo>
                      <a:pt x="511450" y="374105"/>
                    </a:lnTo>
                    <a:lnTo>
                      <a:pt x="510343" y="366549"/>
                    </a:lnTo>
                    <a:lnTo>
                      <a:pt x="500388" y="371406"/>
                    </a:lnTo>
                    <a:close/>
                    <a:moveTo>
                      <a:pt x="456693" y="-463"/>
                    </a:moveTo>
                    <a:lnTo>
                      <a:pt x="455587" y="15189"/>
                    </a:lnTo>
                    <a:lnTo>
                      <a:pt x="470521" y="36778"/>
                    </a:lnTo>
                    <a:lnTo>
                      <a:pt x="485454" y="46493"/>
                    </a:lnTo>
                    <a:lnTo>
                      <a:pt x="508684" y="50271"/>
                    </a:lnTo>
                    <a:lnTo>
                      <a:pt x="591095" y="60526"/>
                    </a:lnTo>
                    <a:lnTo>
                      <a:pt x="563440" y="90750"/>
                    </a:lnTo>
                    <a:lnTo>
                      <a:pt x="567312" y="99386"/>
                    </a:lnTo>
                    <a:lnTo>
                      <a:pt x="580033" y="100465"/>
                    </a:lnTo>
                    <a:lnTo>
                      <a:pt x="589989" y="105863"/>
                    </a:lnTo>
                    <a:lnTo>
                      <a:pt x="577268" y="118276"/>
                    </a:lnTo>
                    <a:lnTo>
                      <a:pt x="575608" y="126372"/>
                    </a:lnTo>
                    <a:lnTo>
                      <a:pt x="588883" y="131769"/>
                    </a:lnTo>
                    <a:lnTo>
                      <a:pt x="595520" y="141484"/>
                    </a:lnTo>
                    <a:lnTo>
                      <a:pt x="605475" y="146882"/>
                    </a:lnTo>
                    <a:lnTo>
                      <a:pt x="617643" y="161454"/>
                    </a:lnTo>
                    <a:lnTo>
                      <a:pt x="611559" y="167391"/>
                    </a:lnTo>
                    <a:lnTo>
                      <a:pt x="605475" y="166312"/>
                    </a:lnTo>
                    <a:cubicBezTo>
                      <a:pt x="605475" y="164153"/>
                      <a:pt x="604369" y="157136"/>
                      <a:pt x="603263" y="154977"/>
                    </a:cubicBezTo>
                    <a:cubicBezTo>
                      <a:pt x="602710" y="153898"/>
                      <a:pt x="598285" y="152818"/>
                      <a:pt x="597179" y="152279"/>
                    </a:cubicBezTo>
                    <a:cubicBezTo>
                      <a:pt x="593860" y="150660"/>
                      <a:pt x="587223" y="144183"/>
                      <a:pt x="583905" y="147961"/>
                    </a:cubicBezTo>
                    <a:cubicBezTo>
                      <a:pt x="580586" y="151739"/>
                      <a:pt x="581139" y="160375"/>
                      <a:pt x="571737" y="157676"/>
                    </a:cubicBezTo>
                    <a:cubicBezTo>
                      <a:pt x="571184" y="156057"/>
                      <a:pt x="572290" y="151739"/>
                      <a:pt x="568418" y="151199"/>
                    </a:cubicBezTo>
                    <a:cubicBezTo>
                      <a:pt x="566759" y="150660"/>
                      <a:pt x="561228" y="151739"/>
                      <a:pt x="559016" y="151739"/>
                    </a:cubicBezTo>
                    <a:cubicBezTo>
                      <a:pt x="556250" y="152279"/>
                      <a:pt x="553485" y="151739"/>
                      <a:pt x="550719" y="151739"/>
                    </a:cubicBezTo>
                    <a:cubicBezTo>
                      <a:pt x="550166" y="151739"/>
                      <a:pt x="548507" y="152279"/>
                      <a:pt x="547954" y="152818"/>
                    </a:cubicBezTo>
                    <a:cubicBezTo>
                      <a:pt x="547401" y="153898"/>
                      <a:pt x="546294" y="157676"/>
                      <a:pt x="546294" y="159295"/>
                    </a:cubicBezTo>
                    <a:cubicBezTo>
                      <a:pt x="546294" y="160375"/>
                      <a:pt x="545741" y="163073"/>
                      <a:pt x="544635" y="163613"/>
                    </a:cubicBezTo>
                    <a:cubicBezTo>
                      <a:pt x="539657" y="167391"/>
                      <a:pt x="530808" y="168470"/>
                      <a:pt x="525277" y="171709"/>
                    </a:cubicBezTo>
                    <a:cubicBezTo>
                      <a:pt x="524171" y="172248"/>
                      <a:pt x="523065" y="174407"/>
                      <a:pt x="521958" y="175487"/>
                    </a:cubicBezTo>
                    <a:cubicBezTo>
                      <a:pt x="519746" y="177106"/>
                      <a:pt x="516981" y="178725"/>
                      <a:pt x="515321" y="180344"/>
                    </a:cubicBezTo>
                    <a:cubicBezTo>
                      <a:pt x="510343" y="184662"/>
                      <a:pt x="502600" y="195996"/>
                      <a:pt x="495963" y="195996"/>
                    </a:cubicBezTo>
                    <a:lnTo>
                      <a:pt x="493751" y="194377"/>
                    </a:lnTo>
                    <a:cubicBezTo>
                      <a:pt x="493751" y="188980"/>
                      <a:pt x="502600" y="182503"/>
                      <a:pt x="500941" y="178725"/>
                    </a:cubicBezTo>
                    <a:cubicBezTo>
                      <a:pt x="499835" y="176566"/>
                      <a:pt x="495963" y="176566"/>
                      <a:pt x="494304" y="177646"/>
                    </a:cubicBezTo>
                    <a:cubicBezTo>
                      <a:pt x="492091" y="179265"/>
                      <a:pt x="491538" y="181964"/>
                      <a:pt x="489879" y="183583"/>
                    </a:cubicBezTo>
                    <a:cubicBezTo>
                      <a:pt x="488220" y="186281"/>
                      <a:pt x="473286" y="200314"/>
                      <a:pt x="472733" y="200854"/>
                    </a:cubicBezTo>
                    <a:cubicBezTo>
                      <a:pt x="472180" y="203552"/>
                      <a:pt x="472180" y="211109"/>
                      <a:pt x="472733" y="213807"/>
                    </a:cubicBezTo>
                    <a:cubicBezTo>
                      <a:pt x="473286" y="214887"/>
                      <a:pt x="486007" y="237555"/>
                      <a:pt x="487114" y="239174"/>
                    </a:cubicBezTo>
                    <a:cubicBezTo>
                      <a:pt x="489326" y="241873"/>
                      <a:pt x="504259" y="253747"/>
                      <a:pt x="504813" y="254826"/>
                    </a:cubicBezTo>
                    <a:cubicBezTo>
                      <a:pt x="506472" y="258604"/>
                      <a:pt x="498728" y="266160"/>
                      <a:pt x="495410" y="266160"/>
                    </a:cubicBezTo>
                    <a:cubicBezTo>
                      <a:pt x="494857" y="266160"/>
                      <a:pt x="492644" y="265081"/>
                      <a:pt x="492091" y="265081"/>
                    </a:cubicBezTo>
                    <a:cubicBezTo>
                      <a:pt x="485454" y="261843"/>
                      <a:pt x="486007" y="261843"/>
                      <a:pt x="483795" y="264001"/>
                    </a:cubicBezTo>
                    <a:cubicBezTo>
                      <a:pt x="481030" y="268319"/>
                      <a:pt x="483242" y="289908"/>
                      <a:pt x="484901" y="298544"/>
                    </a:cubicBezTo>
                    <a:cubicBezTo>
                      <a:pt x="486007" y="308259"/>
                      <a:pt x="488773" y="324450"/>
                      <a:pt x="492091" y="333626"/>
                    </a:cubicBezTo>
                    <a:cubicBezTo>
                      <a:pt x="492091" y="334705"/>
                      <a:pt x="495963" y="339563"/>
                      <a:pt x="497069" y="341182"/>
                    </a:cubicBezTo>
                    <a:cubicBezTo>
                      <a:pt x="498175" y="341722"/>
                      <a:pt x="498728" y="341722"/>
                      <a:pt x="499282" y="342801"/>
                    </a:cubicBezTo>
                    <a:cubicBezTo>
                      <a:pt x="502047" y="345500"/>
                      <a:pt x="502600" y="349278"/>
                      <a:pt x="505366" y="351976"/>
                    </a:cubicBezTo>
                    <a:cubicBezTo>
                      <a:pt x="512556" y="359532"/>
                      <a:pt x="523618" y="364930"/>
                      <a:pt x="533020" y="368168"/>
                    </a:cubicBezTo>
                    <a:cubicBezTo>
                      <a:pt x="556803" y="375184"/>
                      <a:pt x="557356" y="383280"/>
                      <a:pt x="576161" y="394075"/>
                    </a:cubicBezTo>
                    <a:cubicBezTo>
                      <a:pt x="583352" y="398932"/>
                      <a:pt x="593307" y="400551"/>
                      <a:pt x="600497" y="404869"/>
                    </a:cubicBezTo>
                    <a:cubicBezTo>
                      <a:pt x="604369" y="407568"/>
                      <a:pt x="613772" y="416203"/>
                      <a:pt x="617090" y="419981"/>
                    </a:cubicBezTo>
                    <a:cubicBezTo>
                      <a:pt x="620962" y="424299"/>
                      <a:pt x="628152" y="444809"/>
                      <a:pt x="629811" y="450746"/>
                    </a:cubicBezTo>
                    <a:cubicBezTo>
                      <a:pt x="631471" y="456143"/>
                      <a:pt x="632024" y="461540"/>
                      <a:pt x="633683" y="466937"/>
                    </a:cubicBezTo>
                    <a:cubicBezTo>
                      <a:pt x="635895" y="471255"/>
                      <a:pt x="638661" y="476113"/>
                      <a:pt x="640873" y="480431"/>
                    </a:cubicBezTo>
                    <a:cubicBezTo>
                      <a:pt x="642532" y="485288"/>
                      <a:pt x="643639" y="491225"/>
                      <a:pt x="646404" y="495543"/>
                    </a:cubicBezTo>
                    <a:cubicBezTo>
                      <a:pt x="647510" y="497162"/>
                      <a:pt x="649170" y="498781"/>
                      <a:pt x="650276" y="500400"/>
                    </a:cubicBezTo>
                    <a:cubicBezTo>
                      <a:pt x="653041" y="505797"/>
                      <a:pt x="653041" y="512274"/>
                      <a:pt x="655807" y="517132"/>
                    </a:cubicBezTo>
                    <a:cubicBezTo>
                      <a:pt x="660231" y="525228"/>
                      <a:pt x="669081" y="530625"/>
                      <a:pt x="675718" y="536562"/>
                    </a:cubicBezTo>
                    <a:cubicBezTo>
                      <a:pt x="678483" y="538721"/>
                      <a:pt x="680696" y="541959"/>
                      <a:pt x="683461" y="544118"/>
                    </a:cubicBezTo>
                    <a:cubicBezTo>
                      <a:pt x="687333" y="546277"/>
                      <a:pt x="691758" y="547356"/>
                      <a:pt x="695076" y="549515"/>
                    </a:cubicBezTo>
                    <a:cubicBezTo>
                      <a:pt x="697842" y="551134"/>
                      <a:pt x="704479" y="557611"/>
                      <a:pt x="705585" y="558151"/>
                    </a:cubicBezTo>
                    <a:cubicBezTo>
                      <a:pt x="718859" y="564088"/>
                      <a:pt x="721071" y="559770"/>
                      <a:pt x="728262" y="574882"/>
                    </a:cubicBezTo>
                    <a:cubicBezTo>
                      <a:pt x="736005" y="579200"/>
                      <a:pt x="748726" y="585677"/>
                      <a:pt x="756469" y="586216"/>
                    </a:cubicBezTo>
                    <a:cubicBezTo>
                      <a:pt x="762000" y="587835"/>
                      <a:pt x="767531" y="588915"/>
                      <a:pt x="773615" y="589455"/>
                    </a:cubicBezTo>
                    <a:cubicBezTo>
                      <a:pt x="784677" y="589455"/>
                      <a:pt x="795739" y="587835"/>
                      <a:pt x="806801" y="586216"/>
                    </a:cubicBezTo>
                    <a:cubicBezTo>
                      <a:pt x="815650" y="585137"/>
                      <a:pt x="823947" y="581359"/>
                      <a:pt x="832796" y="580819"/>
                    </a:cubicBezTo>
                    <a:cubicBezTo>
                      <a:pt x="836115" y="580819"/>
                      <a:pt x="850495" y="582438"/>
                      <a:pt x="852154" y="584597"/>
                    </a:cubicBezTo>
                    <a:cubicBezTo>
                      <a:pt x="853814" y="586216"/>
                      <a:pt x="854367" y="589994"/>
                      <a:pt x="854367" y="592153"/>
                    </a:cubicBezTo>
                    <a:cubicBezTo>
                      <a:pt x="853814" y="594852"/>
                      <a:pt x="851048" y="605107"/>
                      <a:pt x="849942" y="607265"/>
                    </a:cubicBezTo>
                    <a:cubicBezTo>
                      <a:pt x="843305" y="614822"/>
                      <a:pt x="821734" y="620759"/>
                      <a:pt x="836668" y="635871"/>
                    </a:cubicBezTo>
                    <a:cubicBezTo>
                      <a:pt x="840539" y="639649"/>
                      <a:pt x="857132" y="649904"/>
                      <a:pt x="861557" y="650983"/>
                    </a:cubicBezTo>
                    <a:cubicBezTo>
                      <a:pt x="891977" y="655841"/>
                      <a:pt x="922950" y="662857"/>
                      <a:pt x="951711" y="674191"/>
                    </a:cubicBezTo>
                    <a:cubicBezTo>
                      <a:pt x="962220" y="678509"/>
                      <a:pt x="965538" y="684446"/>
                      <a:pt x="972728" y="687684"/>
                    </a:cubicBezTo>
                    <a:cubicBezTo>
                      <a:pt x="987109" y="695240"/>
                      <a:pt x="1007020" y="693621"/>
                      <a:pt x="1021400" y="701717"/>
                    </a:cubicBezTo>
                    <a:cubicBezTo>
                      <a:pt x="1024719" y="703876"/>
                      <a:pt x="1025825" y="707654"/>
                      <a:pt x="1029144" y="709813"/>
                    </a:cubicBezTo>
                    <a:cubicBezTo>
                      <a:pt x="1031356" y="711432"/>
                      <a:pt x="1033568" y="711432"/>
                      <a:pt x="1035781" y="713051"/>
                    </a:cubicBezTo>
                    <a:cubicBezTo>
                      <a:pt x="1039099" y="715750"/>
                      <a:pt x="1039653" y="721147"/>
                      <a:pt x="1042971" y="723846"/>
                    </a:cubicBezTo>
                    <a:cubicBezTo>
                      <a:pt x="1045737" y="726005"/>
                      <a:pt x="1051267" y="727084"/>
                      <a:pt x="1054586" y="728703"/>
                    </a:cubicBezTo>
                    <a:cubicBezTo>
                      <a:pt x="1062329" y="732481"/>
                      <a:pt x="1077816" y="745974"/>
                      <a:pt x="1081134" y="754070"/>
                    </a:cubicBezTo>
                    <a:cubicBezTo>
                      <a:pt x="1083347" y="759467"/>
                      <a:pt x="1085006" y="772961"/>
                      <a:pt x="1085559" y="779437"/>
                    </a:cubicBezTo>
                    <a:cubicBezTo>
                      <a:pt x="1085559" y="782676"/>
                      <a:pt x="1086112" y="804264"/>
                      <a:pt x="1085006" y="805344"/>
                    </a:cubicBezTo>
                    <a:cubicBezTo>
                      <a:pt x="1082794" y="808043"/>
                      <a:pt x="1066201" y="803185"/>
                      <a:pt x="1062882" y="801566"/>
                    </a:cubicBezTo>
                    <a:cubicBezTo>
                      <a:pt x="1035228" y="790232"/>
                      <a:pt x="1051267" y="781596"/>
                      <a:pt x="1038546" y="767563"/>
                    </a:cubicBezTo>
                    <a:cubicBezTo>
                      <a:pt x="1036334" y="765404"/>
                      <a:pt x="1030250" y="760007"/>
                      <a:pt x="1027484" y="758388"/>
                    </a:cubicBezTo>
                    <a:cubicBezTo>
                      <a:pt x="1018082" y="753531"/>
                      <a:pt x="1007020" y="756229"/>
                      <a:pt x="997064" y="755689"/>
                    </a:cubicBezTo>
                    <a:cubicBezTo>
                      <a:pt x="992087" y="755150"/>
                      <a:pt x="967751" y="751372"/>
                      <a:pt x="966091" y="747594"/>
                    </a:cubicBezTo>
                    <a:cubicBezTo>
                      <a:pt x="968304" y="745435"/>
                      <a:pt x="976047" y="741117"/>
                      <a:pt x="976600" y="740037"/>
                    </a:cubicBezTo>
                    <a:cubicBezTo>
                      <a:pt x="981578" y="732481"/>
                      <a:pt x="954476" y="735720"/>
                      <a:pt x="951158" y="737339"/>
                    </a:cubicBezTo>
                    <a:cubicBezTo>
                      <a:pt x="945074" y="740037"/>
                      <a:pt x="939543" y="750832"/>
                      <a:pt x="936224" y="756769"/>
                    </a:cubicBezTo>
                    <a:cubicBezTo>
                      <a:pt x="932906" y="762166"/>
                      <a:pt x="921844" y="779437"/>
                      <a:pt x="919632" y="785374"/>
                    </a:cubicBezTo>
                    <a:cubicBezTo>
                      <a:pt x="918525" y="790771"/>
                      <a:pt x="921291" y="801566"/>
                      <a:pt x="920738" y="806963"/>
                    </a:cubicBezTo>
                    <a:cubicBezTo>
                      <a:pt x="919632" y="816138"/>
                      <a:pt x="912994" y="818837"/>
                      <a:pt x="911335" y="823155"/>
                    </a:cubicBezTo>
                    <a:cubicBezTo>
                      <a:pt x="908570" y="830171"/>
                      <a:pt x="912441" y="840426"/>
                      <a:pt x="917419" y="845823"/>
                    </a:cubicBezTo>
                    <a:cubicBezTo>
                      <a:pt x="921844" y="846363"/>
                      <a:pt x="934012" y="845283"/>
                      <a:pt x="936777" y="846903"/>
                    </a:cubicBezTo>
                    <a:cubicBezTo>
                      <a:pt x="938990" y="847442"/>
                      <a:pt x="940649" y="852300"/>
                      <a:pt x="942861" y="853919"/>
                    </a:cubicBezTo>
                    <a:cubicBezTo>
                      <a:pt x="950052" y="858237"/>
                      <a:pt x="960007" y="859316"/>
                      <a:pt x="967197" y="863634"/>
                    </a:cubicBezTo>
                    <a:cubicBezTo>
                      <a:pt x="969410" y="864714"/>
                      <a:pt x="971069" y="868492"/>
                      <a:pt x="973835" y="868492"/>
                    </a:cubicBezTo>
                    <a:cubicBezTo>
                      <a:pt x="977706" y="873349"/>
                      <a:pt x="973835" y="879826"/>
                      <a:pt x="974388" y="885763"/>
                    </a:cubicBezTo>
                    <a:cubicBezTo>
                      <a:pt x="974941" y="888461"/>
                      <a:pt x="976600" y="891160"/>
                      <a:pt x="977153" y="894398"/>
                    </a:cubicBezTo>
                    <a:cubicBezTo>
                      <a:pt x="977706" y="898176"/>
                      <a:pt x="977706" y="903574"/>
                      <a:pt x="979365" y="907352"/>
                    </a:cubicBezTo>
                    <a:cubicBezTo>
                      <a:pt x="981578" y="912209"/>
                      <a:pt x="987109" y="911669"/>
                      <a:pt x="984343" y="918686"/>
                    </a:cubicBezTo>
                    <a:cubicBezTo>
                      <a:pt x="977153" y="935957"/>
                      <a:pt x="964432" y="920305"/>
                      <a:pt x="950605" y="928941"/>
                    </a:cubicBezTo>
                    <a:cubicBezTo>
                      <a:pt x="947286" y="930560"/>
                      <a:pt x="937330" y="940814"/>
                      <a:pt x="935118" y="943513"/>
                    </a:cubicBezTo>
                    <a:cubicBezTo>
                      <a:pt x="934012" y="945672"/>
                      <a:pt x="932353" y="951069"/>
                      <a:pt x="931246" y="952149"/>
                    </a:cubicBezTo>
                    <a:cubicBezTo>
                      <a:pt x="930140" y="952688"/>
                      <a:pt x="927375" y="952149"/>
                      <a:pt x="926822" y="953228"/>
                    </a:cubicBezTo>
                    <a:cubicBezTo>
                      <a:pt x="921291" y="960245"/>
                      <a:pt x="934565" y="977516"/>
                      <a:pt x="931246" y="989390"/>
                    </a:cubicBezTo>
                    <a:cubicBezTo>
                      <a:pt x="929034" y="996946"/>
                      <a:pt x="904698" y="1012598"/>
                      <a:pt x="899167" y="1021773"/>
                    </a:cubicBezTo>
                    <a:cubicBezTo>
                      <a:pt x="896402" y="1027170"/>
                      <a:pt x="893636" y="1052537"/>
                      <a:pt x="891424" y="1053617"/>
                    </a:cubicBezTo>
                    <a:cubicBezTo>
                      <a:pt x="890318" y="1054696"/>
                      <a:pt x="877597" y="1056315"/>
                      <a:pt x="875384" y="1056315"/>
                    </a:cubicBezTo>
                    <a:cubicBezTo>
                      <a:pt x="872066" y="1055776"/>
                      <a:pt x="862110" y="1054156"/>
                      <a:pt x="859345" y="1052537"/>
                    </a:cubicBezTo>
                    <a:cubicBezTo>
                      <a:pt x="849389" y="1047140"/>
                      <a:pt x="847730" y="1029869"/>
                      <a:pt x="852154" y="1020694"/>
                    </a:cubicBezTo>
                    <a:cubicBezTo>
                      <a:pt x="856026" y="1019614"/>
                      <a:pt x="862663" y="1013677"/>
                      <a:pt x="864322" y="1009899"/>
                    </a:cubicBezTo>
                    <a:cubicBezTo>
                      <a:pt x="867088" y="1005042"/>
                      <a:pt x="875937" y="981833"/>
                      <a:pt x="872619" y="976976"/>
                    </a:cubicBezTo>
                    <a:cubicBezTo>
                      <a:pt x="871513" y="975357"/>
                      <a:pt x="864875" y="973198"/>
                      <a:pt x="864322" y="971579"/>
                    </a:cubicBezTo>
                    <a:cubicBezTo>
                      <a:pt x="862663" y="968340"/>
                      <a:pt x="873725" y="961324"/>
                      <a:pt x="876490" y="960784"/>
                    </a:cubicBezTo>
                    <a:cubicBezTo>
                      <a:pt x="879809" y="959705"/>
                      <a:pt x="887552" y="961864"/>
                      <a:pt x="890318" y="960245"/>
                    </a:cubicBezTo>
                    <a:cubicBezTo>
                      <a:pt x="894742" y="957546"/>
                      <a:pt x="896402" y="937576"/>
                      <a:pt x="894742" y="932719"/>
                    </a:cubicBezTo>
                    <a:cubicBezTo>
                      <a:pt x="893636" y="930020"/>
                      <a:pt x="887552" y="926782"/>
                      <a:pt x="885893" y="924083"/>
                    </a:cubicBezTo>
                    <a:cubicBezTo>
                      <a:pt x="879256" y="909511"/>
                      <a:pt x="877043" y="893319"/>
                      <a:pt x="870406" y="879286"/>
                    </a:cubicBezTo>
                    <a:cubicBezTo>
                      <a:pt x="865982" y="867952"/>
                      <a:pt x="852707" y="863634"/>
                      <a:pt x="849389" y="852840"/>
                    </a:cubicBezTo>
                    <a:cubicBezTo>
                      <a:pt x="847176" y="846363"/>
                      <a:pt x="848283" y="839347"/>
                      <a:pt x="846070" y="832870"/>
                    </a:cubicBezTo>
                    <a:cubicBezTo>
                      <a:pt x="845517" y="830711"/>
                      <a:pt x="843858" y="829092"/>
                      <a:pt x="843305" y="827473"/>
                    </a:cubicBezTo>
                    <a:cubicBezTo>
                      <a:pt x="841646" y="824234"/>
                      <a:pt x="841092" y="821536"/>
                      <a:pt x="839986" y="818297"/>
                    </a:cubicBezTo>
                    <a:cubicBezTo>
                      <a:pt x="838327" y="813440"/>
                      <a:pt x="833349" y="808043"/>
                      <a:pt x="830031" y="804264"/>
                    </a:cubicBezTo>
                    <a:cubicBezTo>
                      <a:pt x="817310" y="797248"/>
                      <a:pt x="809566" y="812900"/>
                      <a:pt x="805695" y="813980"/>
                    </a:cubicBezTo>
                    <a:cubicBezTo>
                      <a:pt x="803482" y="814519"/>
                      <a:pt x="795186" y="812900"/>
                      <a:pt x="793527" y="811281"/>
                    </a:cubicBezTo>
                    <a:cubicBezTo>
                      <a:pt x="792420" y="810201"/>
                      <a:pt x="793527" y="805344"/>
                      <a:pt x="792420" y="803725"/>
                    </a:cubicBezTo>
                    <a:cubicBezTo>
                      <a:pt x="791314" y="802106"/>
                      <a:pt x="785230" y="798328"/>
                      <a:pt x="783571" y="797248"/>
                    </a:cubicBezTo>
                    <a:cubicBezTo>
                      <a:pt x="778593" y="794549"/>
                      <a:pt x="771956" y="796708"/>
                      <a:pt x="766425" y="794549"/>
                    </a:cubicBezTo>
                    <a:cubicBezTo>
                      <a:pt x="764766" y="794010"/>
                      <a:pt x="759235" y="790232"/>
                      <a:pt x="759235" y="788073"/>
                    </a:cubicBezTo>
                    <a:cubicBezTo>
                      <a:pt x="758129" y="782676"/>
                      <a:pt x="765872" y="773500"/>
                      <a:pt x="762553" y="766484"/>
                    </a:cubicBezTo>
                    <a:cubicBezTo>
                      <a:pt x="760894" y="762706"/>
                      <a:pt x="753704" y="756229"/>
                      <a:pt x="753704" y="752451"/>
                    </a:cubicBezTo>
                    <a:cubicBezTo>
                      <a:pt x="752045" y="750832"/>
                      <a:pt x="749279" y="750292"/>
                      <a:pt x="747620" y="748673"/>
                    </a:cubicBezTo>
                    <a:cubicBezTo>
                      <a:pt x="746514" y="747054"/>
                      <a:pt x="744854" y="742196"/>
                      <a:pt x="743195" y="741117"/>
                    </a:cubicBezTo>
                    <a:cubicBezTo>
                      <a:pt x="736005" y="735720"/>
                      <a:pt x="713328" y="758928"/>
                      <a:pt x="701713" y="756769"/>
                    </a:cubicBezTo>
                    <a:lnTo>
                      <a:pt x="700607" y="755150"/>
                    </a:lnTo>
                    <a:cubicBezTo>
                      <a:pt x="701713" y="745974"/>
                      <a:pt x="707797" y="744355"/>
                      <a:pt x="711116" y="736799"/>
                    </a:cubicBezTo>
                    <a:cubicBezTo>
                      <a:pt x="711669" y="735720"/>
                      <a:pt x="712775" y="732481"/>
                      <a:pt x="711669" y="730862"/>
                    </a:cubicBezTo>
                    <a:cubicBezTo>
                      <a:pt x="710010" y="728164"/>
                      <a:pt x="697289" y="724925"/>
                      <a:pt x="693970" y="725465"/>
                    </a:cubicBezTo>
                    <a:cubicBezTo>
                      <a:pt x="689545" y="726005"/>
                      <a:pt x="686780" y="730862"/>
                      <a:pt x="676824" y="728703"/>
                    </a:cubicBezTo>
                    <a:cubicBezTo>
                      <a:pt x="674612" y="723846"/>
                      <a:pt x="670187" y="721687"/>
                      <a:pt x="667422" y="716829"/>
                    </a:cubicBezTo>
                    <a:cubicBezTo>
                      <a:pt x="666868" y="715750"/>
                      <a:pt x="666315" y="713591"/>
                      <a:pt x="665762" y="711972"/>
                    </a:cubicBezTo>
                    <a:cubicBezTo>
                      <a:pt x="659678" y="699558"/>
                      <a:pt x="655254" y="693621"/>
                      <a:pt x="644192" y="684986"/>
                    </a:cubicBezTo>
                    <a:cubicBezTo>
                      <a:pt x="643086" y="683906"/>
                      <a:pt x="641979" y="682827"/>
                      <a:pt x="640873" y="682287"/>
                    </a:cubicBezTo>
                    <a:cubicBezTo>
                      <a:pt x="632024" y="678509"/>
                      <a:pt x="629811" y="683906"/>
                      <a:pt x="625387" y="683906"/>
                    </a:cubicBezTo>
                    <a:cubicBezTo>
                      <a:pt x="619856" y="683366"/>
                      <a:pt x="614878" y="678509"/>
                      <a:pt x="609347" y="677430"/>
                    </a:cubicBezTo>
                    <a:cubicBezTo>
                      <a:pt x="607135" y="676890"/>
                      <a:pt x="600497" y="676890"/>
                      <a:pt x="598285" y="677969"/>
                    </a:cubicBezTo>
                    <a:cubicBezTo>
                      <a:pt x="593307" y="679588"/>
                      <a:pt x="589989" y="683906"/>
                      <a:pt x="585564" y="686065"/>
                    </a:cubicBezTo>
                    <a:cubicBezTo>
                      <a:pt x="583905" y="686605"/>
                      <a:pt x="578927" y="687684"/>
                      <a:pt x="577268" y="686605"/>
                    </a:cubicBezTo>
                    <a:cubicBezTo>
                      <a:pt x="573949" y="683906"/>
                      <a:pt x="570630" y="670953"/>
                      <a:pt x="567312" y="669334"/>
                    </a:cubicBezTo>
                    <a:cubicBezTo>
                      <a:pt x="563440" y="667175"/>
                      <a:pt x="557356" y="667715"/>
                      <a:pt x="553485" y="666095"/>
                    </a:cubicBezTo>
                    <a:cubicBezTo>
                      <a:pt x="551272" y="665556"/>
                      <a:pt x="549613" y="663397"/>
                      <a:pt x="547954" y="662857"/>
                    </a:cubicBezTo>
                    <a:cubicBezTo>
                      <a:pt x="546848" y="662317"/>
                      <a:pt x="540210" y="661778"/>
                      <a:pt x="539104" y="661778"/>
                    </a:cubicBezTo>
                    <a:cubicBezTo>
                      <a:pt x="537445" y="662317"/>
                      <a:pt x="536339" y="664476"/>
                      <a:pt x="534126" y="662317"/>
                    </a:cubicBezTo>
                    <a:cubicBezTo>
                      <a:pt x="533573" y="661238"/>
                      <a:pt x="530808" y="652602"/>
                      <a:pt x="529149" y="649904"/>
                    </a:cubicBezTo>
                    <a:cubicBezTo>
                      <a:pt x="528042" y="648284"/>
                      <a:pt x="523065" y="643967"/>
                      <a:pt x="520852" y="642348"/>
                    </a:cubicBezTo>
                    <a:cubicBezTo>
                      <a:pt x="517534" y="640189"/>
                      <a:pt x="512556" y="639649"/>
                      <a:pt x="508684" y="637490"/>
                    </a:cubicBezTo>
                    <a:cubicBezTo>
                      <a:pt x="507025" y="636411"/>
                      <a:pt x="506472" y="633712"/>
                      <a:pt x="504813" y="632632"/>
                    </a:cubicBezTo>
                    <a:cubicBezTo>
                      <a:pt x="502600" y="631013"/>
                      <a:pt x="497622" y="629394"/>
                      <a:pt x="496516" y="627775"/>
                    </a:cubicBezTo>
                    <a:cubicBezTo>
                      <a:pt x="494857" y="625076"/>
                      <a:pt x="495410" y="618600"/>
                      <a:pt x="494304" y="615901"/>
                    </a:cubicBezTo>
                    <a:cubicBezTo>
                      <a:pt x="491538" y="609424"/>
                      <a:pt x="484348" y="608345"/>
                      <a:pt x="479370" y="604567"/>
                    </a:cubicBezTo>
                    <a:cubicBezTo>
                      <a:pt x="478264" y="603487"/>
                      <a:pt x="476605" y="600249"/>
                      <a:pt x="474946" y="599709"/>
                    </a:cubicBezTo>
                    <a:cubicBezTo>
                      <a:pt x="471074" y="598090"/>
                      <a:pt x="465543" y="599170"/>
                      <a:pt x="461118" y="597011"/>
                    </a:cubicBezTo>
                    <a:cubicBezTo>
                      <a:pt x="454481" y="594312"/>
                      <a:pt x="455587" y="585677"/>
                      <a:pt x="452269" y="580819"/>
                    </a:cubicBezTo>
                    <a:cubicBezTo>
                      <a:pt x="450056" y="577581"/>
                      <a:pt x="441760" y="570025"/>
                      <a:pt x="438995" y="567866"/>
                    </a:cubicBezTo>
                    <a:cubicBezTo>
                      <a:pt x="435123" y="564627"/>
                      <a:pt x="429592" y="562468"/>
                      <a:pt x="425167" y="560310"/>
                    </a:cubicBezTo>
                    <a:cubicBezTo>
                      <a:pt x="422402" y="559230"/>
                      <a:pt x="412999" y="557071"/>
                      <a:pt x="410234" y="557611"/>
                    </a:cubicBezTo>
                    <a:cubicBezTo>
                      <a:pt x="406362" y="558151"/>
                      <a:pt x="404150" y="564627"/>
                      <a:pt x="398619" y="561929"/>
                    </a:cubicBezTo>
                    <a:cubicBezTo>
                      <a:pt x="396406" y="560849"/>
                      <a:pt x="394194" y="556532"/>
                      <a:pt x="395853" y="553833"/>
                    </a:cubicBezTo>
                    <a:cubicBezTo>
                      <a:pt x="397513" y="551674"/>
                      <a:pt x="405809" y="551674"/>
                      <a:pt x="401937" y="545197"/>
                    </a:cubicBezTo>
                    <a:cubicBezTo>
                      <a:pt x="400278" y="541419"/>
                      <a:pt x="379814" y="515513"/>
                      <a:pt x="377048" y="514433"/>
                    </a:cubicBezTo>
                    <a:cubicBezTo>
                      <a:pt x="372070" y="512274"/>
                      <a:pt x="365433" y="512274"/>
                      <a:pt x="359902" y="511195"/>
                    </a:cubicBezTo>
                    <a:cubicBezTo>
                      <a:pt x="359349" y="507956"/>
                      <a:pt x="362115" y="503099"/>
                      <a:pt x="361562" y="501480"/>
                    </a:cubicBezTo>
                    <a:cubicBezTo>
                      <a:pt x="361562" y="499861"/>
                      <a:pt x="357690" y="496622"/>
                      <a:pt x="356031" y="496082"/>
                    </a:cubicBezTo>
                    <a:cubicBezTo>
                      <a:pt x="353818" y="495543"/>
                      <a:pt x="342203" y="497702"/>
                      <a:pt x="341097" y="495003"/>
                    </a:cubicBezTo>
                    <a:cubicBezTo>
                      <a:pt x="339991" y="490685"/>
                      <a:pt x="348841" y="476113"/>
                      <a:pt x="344416" y="466937"/>
                    </a:cubicBezTo>
                    <a:cubicBezTo>
                      <a:pt x="344416" y="465858"/>
                      <a:pt x="343310" y="465858"/>
                      <a:pt x="342757" y="464779"/>
                    </a:cubicBezTo>
                    <a:cubicBezTo>
                      <a:pt x="337779" y="458302"/>
                      <a:pt x="335013" y="450206"/>
                      <a:pt x="330035" y="443729"/>
                    </a:cubicBezTo>
                    <a:cubicBezTo>
                      <a:pt x="327270" y="439412"/>
                      <a:pt x="321739" y="435633"/>
                      <a:pt x="319527" y="431316"/>
                    </a:cubicBezTo>
                    <a:cubicBezTo>
                      <a:pt x="317867" y="427538"/>
                      <a:pt x="316761" y="416743"/>
                      <a:pt x="316208" y="412425"/>
                    </a:cubicBezTo>
                    <a:cubicBezTo>
                      <a:pt x="315655" y="409187"/>
                      <a:pt x="316761" y="404869"/>
                      <a:pt x="316208" y="401631"/>
                    </a:cubicBezTo>
                    <a:cubicBezTo>
                      <a:pt x="315655" y="400551"/>
                      <a:pt x="314549" y="399472"/>
                      <a:pt x="314549" y="398393"/>
                    </a:cubicBezTo>
                    <a:cubicBezTo>
                      <a:pt x="311783" y="391376"/>
                      <a:pt x="312890" y="384899"/>
                      <a:pt x="307359" y="378423"/>
                    </a:cubicBezTo>
                    <a:cubicBezTo>
                      <a:pt x="306252" y="377343"/>
                      <a:pt x="301275" y="373565"/>
                      <a:pt x="296297" y="370867"/>
                    </a:cubicBezTo>
                    <a:cubicBezTo>
                      <a:pt x="292978" y="370327"/>
                      <a:pt x="289660" y="369248"/>
                      <a:pt x="287447" y="368168"/>
                    </a:cubicBezTo>
                    <a:cubicBezTo>
                      <a:pt x="285235" y="367089"/>
                      <a:pt x="278598" y="360072"/>
                      <a:pt x="276385" y="362231"/>
                    </a:cubicBezTo>
                    <a:cubicBezTo>
                      <a:pt x="275279" y="362771"/>
                      <a:pt x="274173" y="366549"/>
                      <a:pt x="273067" y="367628"/>
                    </a:cubicBezTo>
                    <a:cubicBezTo>
                      <a:pt x="270301" y="367628"/>
                      <a:pt x="269748" y="366009"/>
                      <a:pt x="267536" y="364390"/>
                    </a:cubicBezTo>
                    <a:cubicBezTo>
                      <a:pt x="263664" y="361691"/>
                      <a:pt x="259240" y="360072"/>
                      <a:pt x="255368" y="357374"/>
                    </a:cubicBezTo>
                    <a:cubicBezTo>
                      <a:pt x="248178" y="351437"/>
                      <a:pt x="239328" y="339563"/>
                      <a:pt x="232138" y="335785"/>
                    </a:cubicBezTo>
                    <a:cubicBezTo>
                      <a:pt x="231032" y="334705"/>
                      <a:pt x="226054" y="334165"/>
                      <a:pt x="224395" y="335245"/>
                    </a:cubicBezTo>
                    <a:cubicBezTo>
                      <a:pt x="223842" y="336324"/>
                      <a:pt x="223289" y="340642"/>
                      <a:pt x="221629" y="340102"/>
                    </a:cubicBezTo>
                    <a:cubicBezTo>
                      <a:pt x="214439" y="337944"/>
                      <a:pt x="214992" y="332007"/>
                      <a:pt x="211121" y="330387"/>
                    </a:cubicBezTo>
                    <a:cubicBezTo>
                      <a:pt x="207802" y="328768"/>
                      <a:pt x="188444" y="325530"/>
                      <a:pt x="184572" y="324990"/>
                    </a:cubicBezTo>
                    <a:cubicBezTo>
                      <a:pt x="175170" y="324450"/>
                      <a:pt x="162449" y="332546"/>
                      <a:pt x="158024" y="340102"/>
                    </a:cubicBezTo>
                    <a:cubicBezTo>
                      <a:pt x="156365" y="343341"/>
                      <a:pt x="156918" y="349817"/>
                      <a:pt x="154705" y="351976"/>
                    </a:cubicBezTo>
                    <a:cubicBezTo>
                      <a:pt x="152493" y="354675"/>
                      <a:pt x="142537" y="356294"/>
                      <a:pt x="139772" y="358993"/>
                    </a:cubicBezTo>
                    <a:cubicBezTo>
                      <a:pt x="137006" y="361152"/>
                      <a:pt x="132028" y="370327"/>
                      <a:pt x="130922" y="373565"/>
                    </a:cubicBezTo>
                    <a:cubicBezTo>
                      <a:pt x="129816" y="376804"/>
                      <a:pt x="129263" y="385439"/>
                      <a:pt x="127051" y="387598"/>
                    </a:cubicBezTo>
                    <a:cubicBezTo>
                      <a:pt x="122626" y="391376"/>
                      <a:pt x="100502" y="399472"/>
                      <a:pt x="94418" y="401631"/>
                    </a:cubicBezTo>
                    <a:cubicBezTo>
                      <a:pt x="88887" y="403250"/>
                      <a:pt x="82250" y="403250"/>
                      <a:pt x="77272" y="403790"/>
                    </a:cubicBezTo>
                    <a:lnTo>
                      <a:pt x="77272" y="391376"/>
                    </a:lnTo>
                    <a:lnTo>
                      <a:pt x="92759" y="371946"/>
                    </a:lnTo>
                    <a:lnTo>
                      <a:pt x="92206" y="364390"/>
                    </a:lnTo>
                    <a:lnTo>
                      <a:pt x="89993" y="358453"/>
                    </a:lnTo>
                    <a:lnTo>
                      <a:pt x="62892" y="364930"/>
                    </a:lnTo>
                    <a:lnTo>
                      <a:pt x="29706" y="350897"/>
                    </a:lnTo>
                    <a:lnTo>
                      <a:pt x="22516" y="341182"/>
                    </a:lnTo>
                    <a:lnTo>
                      <a:pt x="19198" y="316894"/>
                    </a:lnTo>
                    <a:lnTo>
                      <a:pt x="32472" y="299623"/>
                    </a:lnTo>
                    <a:lnTo>
                      <a:pt x="29153" y="280733"/>
                    </a:lnTo>
                    <a:lnTo>
                      <a:pt x="14220" y="278034"/>
                    </a:lnTo>
                    <a:lnTo>
                      <a:pt x="2052" y="257525"/>
                    </a:lnTo>
                    <a:lnTo>
                      <a:pt x="-714" y="244032"/>
                    </a:lnTo>
                    <a:lnTo>
                      <a:pt x="18645" y="244571"/>
                    </a:lnTo>
                    <a:lnTo>
                      <a:pt x="39109" y="229999"/>
                    </a:lnTo>
                    <a:lnTo>
                      <a:pt x="40768" y="212728"/>
                    </a:lnTo>
                    <a:lnTo>
                      <a:pt x="33025" y="205172"/>
                    </a:lnTo>
                    <a:lnTo>
                      <a:pt x="27494" y="199235"/>
                    </a:lnTo>
                    <a:lnTo>
                      <a:pt x="28600" y="186821"/>
                    </a:lnTo>
                    <a:lnTo>
                      <a:pt x="14220" y="172248"/>
                    </a:lnTo>
                    <a:lnTo>
                      <a:pt x="32472" y="154438"/>
                    </a:lnTo>
                    <a:lnTo>
                      <a:pt x="50724" y="158216"/>
                    </a:lnTo>
                    <a:lnTo>
                      <a:pt x="78379" y="147421"/>
                    </a:lnTo>
                    <a:lnTo>
                      <a:pt x="100502" y="151199"/>
                    </a:lnTo>
                    <a:lnTo>
                      <a:pt x="125944" y="129071"/>
                    </a:lnTo>
                    <a:lnTo>
                      <a:pt x="127604" y="120435"/>
                    </a:lnTo>
                    <a:lnTo>
                      <a:pt x="125391" y="109641"/>
                    </a:lnTo>
                    <a:lnTo>
                      <a:pt x="137559" y="103704"/>
                    </a:lnTo>
                    <a:lnTo>
                      <a:pt x="142537" y="92369"/>
                    </a:lnTo>
                    <a:lnTo>
                      <a:pt x="151387" y="92369"/>
                    </a:lnTo>
                    <a:lnTo>
                      <a:pt x="154705" y="114498"/>
                    </a:lnTo>
                    <a:lnTo>
                      <a:pt x="166873" y="126912"/>
                    </a:lnTo>
                    <a:lnTo>
                      <a:pt x="169639" y="127451"/>
                    </a:lnTo>
                    <a:lnTo>
                      <a:pt x="177382" y="129610"/>
                    </a:lnTo>
                    <a:lnTo>
                      <a:pt x="184572" y="131769"/>
                    </a:lnTo>
                    <a:lnTo>
                      <a:pt x="184019" y="146882"/>
                    </a:lnTo>
                    <a:lnTo>
                      <a:pt x="189550" y="150660"/>
                    </a:lnTo>
                    <a:lnTo>
                      <a:pt x="193422" y="160914"/>
                    </a:lnTo>
                    <a:lnTo>
                      <a:pt x="202824" y="161454"/>
                    </a:lnTo>
                    <a:lnTo>
                      <a:pt x="206696" y="154977"/>
                    </a:lnTo>
                    <a:lnTo>
                      <a:pt x="200059" y="145802"/>
                    </a:lnTo>
                    <a:lnTo>
                      <a:pt x="202824" y="130690"/>
                    </a:lnTo>
                    <a:lnTo>
                      <a:pt x="218311" y="113419"/>
                    </a:lnTo>
                    <a:lnTo>
                      <a:pt x="224948" y="84813"/>
                    </a:lnTo>
                    <a:lnTo>
                      <a:pt x="236010" y="84813"/>
                    </a:lnTo>
                    <a:lnTo>
                      <a:pt x="242094" y="105323"/>
                    </a:lnTo>
                    <a:lnTo>
                      <a:pt x="254815" y="107482"/>
                    </a:lnTo>
                    <a:lnTo>
                      <a:pt x="263111" y="100465"/>
                    </a:lnTo>
                    <a:lnTo>
                      <a:pt x="280810" y="96687"/>
                    </a:lnTo>
                    <a:lnTo>
                      <a:pt x="288554" y="110720"/>
                    </a:lnTo>
                    <a:lnTo>
                      <a:pt x="292425" y="112879"/>
                    </a:lnTo>
                    <a:lnTo>
                      <a:pt x="296297" y="109641"/>
                    </a:lnTo>
                    <a:lnTo>
                      <a:pt x="297403" y="104243"/>
                    </a:lnTo>
                    <a:lnTo>
                      <a:pt x="293531" y="98846"/>
                    </a:lnTo>
                    <a:lnTo>
                      <a:pt x="291872" y="89131"/>
                    </a:lnTo>
                    <a:lnTo>
                      <a:pt x="285788" y="83734"/>
                    </a:lnTo>
                    <a:lnTo>
                      <a:pt x="290766" y="69161"/>
                    </a:lnTo>
                    <a:lnTo>
                      <a:pt x="300168" y="65383"/>
                    </a:lnTo>
                    <a:lnTo>
                      <a:pt x="305146" y="74019"/>
                    </a:lnTo>
                    <a:lnTo>
                      <a:pt x="310677" y="74559"/>
                    </a:lnTo>
                    <a:lnTo>
                      <a:pt x="316761" y="72939"/>
                    </a:lnTo>
                    <a:lnTo>
                      <a:pt x="320633" y="61065"/>
                    </a:lnTo>
                    <a:lnTo>
                      <a:pt x="313443" y="54049"/>
                    </a:lnTo>
                    <a:lnTo>
                      <a:pt x="320633" y="34619"/>
                    </a:lnTo>
                    <a:lnTo>
                      <a:pt x="338885" y="36778"/>
                    </a:lnTo>
                    <a:lnTo>
                      <a:pt x="339438" y="45414"/>
                    </a:lnTo>
                    <a:lnTo>
                      <a:pt x="350500" y="47033"/>
                    </a:lnTo>
                    <a:lnTo>
                      <a:pt x="363774" y="40016"/>
                    </a:lnTo>
                    <a:lnTo>
                      <a:pt x="368199" y="29222"/>
                    </a:lnTo>
                    <a:lnTo>
                      <a:pt x="382579" y="18427"/>
                    </a:lnTo>
                    <a:lnTo>
                      <a:pt x="396960" y="18967"/>
                    </a:lnTo>
                    <a:lnTo>
                      <a:pt x="408574" y="14110"/>
                    </a:lnTo>
                    <a:lnTo>
                      <a:pt x="421849" y="17888"/>
                    </a:lnTo>
                    <a:lnTo>
                      <a:pt x="456693" y="-463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3" name="Freeform 1075">
                <a:extLst>
                  <a:ext uri="{FF2B5EF4-FFF2-40B4-BE49-F238E27FC236}">
                    <a16:creationId xmlns:a16="http://schemas.microsoft.com/office/drawing/2014/main" id="{15832AA2-6D85-4190-BDAA-582998B053AF}"/>
                  </a:ext>
                </a:extLst>
              </p:cNvPr>
              <p:cNvSpPr/>
              <p:nvPr/>
            </p:nvSpPr>
            <p:spPr>
              <a:xfrm>
                <a:off x="9415664" y="4169425"/>
                <a:ext cx="453535" cy="805267"/>
              </a:xfrm>
              <a:custGeom>
                <a:avLst/>
                <a:gdLst>
                  <a:gd name="connsiteX0" fmla="*/ 425899 w 453535"/>
                  <a:gd name="connsiteY0" fmla="*/ 87549 h 805267"/>
                  <a:gd name="connsiteX1" fmla="*/ 407647 w 453535"/>
                  <a:gd name="connsiteY1" fmla="*/ 105360 h 805267"/>
                  <a:gd name="connsiteX2" fmla="*/ 396585 w 453535"/>
                  <a:gd name="connsiteY2" fmla="*/ 101042 h 805267"/>
                  <a:gd name="connsiteX3" fmla="*/ 386076 w 453535"/>
                  <a:gd name="connsiteY3" fmla="*/ 90787 h 805267"/>
                  <a:gd name="connsiteX4" fmla="*/ 372802 w 453535"/>
                  <a:gd name="connsiteY4" fmla="*/ 99963 h 805267"/>
                  <a:gd name="connsiteX5" fmla="*/ 365059 w 453535"/>
                  <a:gd name="connsiteY5" fmla="*/ 97804 h 805267"/>
                  <a:gd name="connsiteX6" fmla="*/ 362293 w 453535"/>
                  <a:gd name="connsiteY6" fmla="*/ 90787 h 805267"/>
                  <a:gd name="connsiteX7" fmla="*/ 334639 w 453535"/>
                  <a:gd name="connsiteY7" fmla="*/ 87009 h 805267"/>
                  <a:gd name="connsiteX8" fmla="*/ 335192 w 453535"/>
                  <a:gd name="connsiteY8" fmla="*/ 74056 h 805267"/>
                  <a:gd name="connsiteX9" fmla="*/ 351231 w 453535"/>
                  <a:gd name="connsiteY9" fmla="*/ 61103 h 805267"/>
                  <a:gd name="connsiteX10" fmla="*/ 351784 w 453535"/>
                  <a:gd name="connsiteY10" fmla="*/ 50848 h 805267"/>
                  <a:gd name="connsiteX11" fmla="*/ 327448 w 453535"/>
                  <a:gd name="connsiteY11" fmla="*/ 42212 h 805267"/>
                  <a:gd name="connsiteX12" fmla="*/ 321917 w 453535"/>
                  <a:gd name="connsiteY12" fmla="*/ 33577 h 805267"/>
                  <a:gd name="connsiteX13" fmla="*/ 332979 w 453535"/>
                  <a:gd name="connsiteY13" fmla="*/ 9829 h 805267"/>
                  <a:gd name="connsiteX14" fmla="*/ 285966 w 453535"/>
                  <a:gd name="connsiteY14" fmla="*/ -426 h 805267"/>
                  <a:gd name="connsiteX15" fmla="*/ 267161 w 453535"/>
                  <a:gd name="connsiteY15" fmla="*/ 35736 h 805267"/>
                  <a:gd name="connsiteX16" fmla="*/ 255546 w 453535"/>
                  <a:gd name="connsiteY16" fmla="*/ 63801 h 805267"/>
                  <a:gd name="connsiteX17" fmla="*/ 247803 w 453535"/>
                  <a:gd name="connsiteY17" fmla="*/ 97264 h 805267"/>
                  <a:gd name="connsiteX18" fmla="*/ 245591 w 453535"/>
                  <a:gd name="connsiteY18" fmla="*/ 108058 h 805267"/>
                  <a:gd name="connsiteX19" fmla="*/ 232316 w 453535"/>
                  <a:gd name="connsiteY19" fmla="*/ 115075 h 805267"/>
                  <a:gd name="connsiteX20" fmla="*/ 231210 w 453535"/>
                  <a:gd name="connsiteY20" fmla="*/ 132886 h 805267"/>
                  <a:gd name="connsiteX21" fmla="*/ 224020 w 453535"/>
                  <a:gd name="connsiteY21" fmla="*/ 159332 h 805267"/>
                  <a:gd name="connsiteX22" fmla="*/ 211299 w 453535"/>
                  <a:gd name="connsiteY22" fmla="*/ 172286 h 805267"/>
                  <a:gd name="connsiteX23" fmla="*/ 165392 w 453535"/>
                  <a:gd name="connsiteY23" fmla="*/ 195494 h 805267"/>
                  <a:gd name="connsiteX24" fmla="*/ 149353 w 453535"/>
                  <a:gd name="connsiteY24" fmla="*/ 199811 h 805267"/>
                  <a:gd name="connsiteX25" fmla="*/ 132207 w 453535"/>
                  <a:gd name="connsiteY25" fmla="*/ 197113 h 805267"/>
                  <a:gd name="connsiteX26" fmla="*/ 111742 w 453535"/>
                  <a:gd name="connsiteY26" fmla="*/ 185779 h 805267"/>
                  <a:gd name="connsiteX27" fmla="*/ 90725 w 453535"/>
                  <a:gd name="connsiteY27" fmla="*/ 184159 h 805267"/>
                  <a:gd name="connsiteX28" fmla="*/ 71367 w 453535"/>
                  <a:gd name="connsiteY28" fmla="*/ 169047 h 805267"/>
                  <a:gd name="connsiteX29" fmla="*/ 50902 w 453535"/>
                  <a:gd name="connsiteY29" fmla="*/ 156094 h 805267"/>
                  <a:gd name="connsiteX30" fmla="*/ 25460 w 453535"/>
                  <a:gd name="connsiteY30" fmla="*/ 152856 h 805267"/>
                  <a:gd name="connsiteX31" fmla="*/ 20482 w 453535"/>
                  <a:gd name="connsiteY31" fmla="*/ 167968 h 805267"/>
                  <a:gd name="connsiteX32" fmla="*/ 25460 w 453535"/>
                  <a:gd name="connsiteY32" fmla="*/ 196033 h 805267"/>
                  <a:gd name="connsiteX33" fmla="*/ -1088 w 453535"/>
                  <a:gd name="connsiteY33" fmla="*/ 220861 h 805267"/>
                  <a:gd name="connsiteX34" fmla="*/ 11080 w 453535"/>
                  <a:gd name="connsiteY34" fmla="*/ 237052 h 805267"/>
                  <a:gd name="connsiteX35" fmla="*/ 22695 w 453535"/>
                  <a:gd name="connsiteY35" fmla="*/ 242989 h 805267"/>
                  <a:gd name="connsiteX36" fmla="*/ 26566 w 453535"/>
                  <a:gd name="connsiteY36" fmla="*/ 260800 h 805267"/>
                  <a:gd name="connsiteX37" fmla="*/ 44265 w 453535"/>
                  <a:gd name="connsiteY37" fmla="*/ 266197 h 805267"/>
                  <a:gd name="connsiteX38" fmla="*/ 68048 w 453535"/>
                  <a:gd name="connsiteY38" fmla="*/ 318551 h 805267"/>
                  <a:gd name="connsiteX39" fmla="*/ 84088 w 453535"/>
                  <a:gd name="connsiteY39" fmla="*/ 314773 h 805267"/>
                  <a:gd name="connsiteX40" fmla="*/ 88513 w 453535"/>
                  <a:gd name="connsiteY40" fmla="*/ 377920 h 805267"/>
                  <a:gd name="connsiteX41" fmla="*/ 101787 w 453535"/>
                  <a:gd name="connsiteY41" fmla="*/ 378460 h 805267"/>
                  <a:gd name="connsiteX42" fmla="*/ 110636 w 453535"/>
                  <a:gd name="connsiteY42" fmla="*/ 382778 h 805267"/>
                  <a:gd name="connsiteX43" fmla="*/ 118380 w 453535"/>
                  <a:gd name="connsiteY43" fmla="*/ 376301 h 805267"/>
                  <a:gd name="connsiteX44" fmla="*/ 125017 w 453535"/>
                  <a:gd name="connsiteY44" fmla="*/ 383317 h 805267"/>
                  <a:gd name="connsiteX45" fmla="*/ 123910 w 453535"/>
                  <a:gd name="connsiteY45" fmla="*/ 391413 h 805267"/>
                  <a:gd name="connsiteX46" fmla="*/ 131101 w 453535"/>
                  <a:gd name="connsiteY46" fmla="*/ 394652 h 805267"/>
                  <a:gd name="connsiteX47" fmla="*/ 134972 w 453535"/>
                  <a:gd name="connsiteY47" fmla="*/ 411923 h 805267"/>
                  <a:gd name="connsiteX48" fmla="*/ 163733 w 453535"/>
                  <a:gd name="connsiteY48" fmla="*/ 421098 h 805267"/>
                  <a:gd name="connsiteX49" fmla="*/ 162074 w 453535"/>
                  <a:gd name="connsiteY49" fmla="*/ 437829 h 805267"/>
                  <a:gd name="connsiteX50" fmla="*/ 180879 w 453535"/>
                  <a:gd name="connsiteY50" fmla="*/ 443766 h 805267"/>
                  <a:gd name="connsiteX51" fmla="*/ 186963 w 453535"/>
                  <a:gd name="connsiteY51" fmla="*/ 473451 h 805267"/>
                  <a:gd name="connsiteX52" fmla="*/ 199131 w 453535"/>
                  <a:gd name="connsiteY52" fmla="*/ 470213 h 805267"/>
                  <a:gd name="connsiteX53" fmla="*/ 207980 w 453535"/>
                  <a:gd name="connsiteY53" fmla="*/ 473451 h 805267"/>
                  <a:gd name="connsiteX54" fmla="*/ 211852 w 453535"/>
                  <a:gd name="connsiteY54" fmla="*/ 491262 h 805267"/>
                  <a:gd name="connsiteX55" fmla="*/ 225126 w 453535"/>
                  <a:gd name="connsiteY55" fmla="*/ 504215 h 805267"/>
                  <a:gd name="connsiteX56" fmla="*/ 232316 w 453535"/>
                  <a:gd name="connsiteY56" fmla="*/ 498818 h 805267"/>
                  <a:gd name="connsiteX57" fmla="*/ 243378 w 453535"/>
                  <a:gd name="connsiteY57" fmla="*/ 499898 h 805267"/>
                  <a:gd name="connsiteX58" fmla="*/ 268821 w 453535"/>
                  <a:gd name="connsiteY58" fmla="*/ 540917 h 805267"/>
                  <a:gd name="connsiteX59" fmla="*/ 279882 w 453535"/>
                  <a:gd name="connsiteY59" fmla="*/ 531202 h 805267"/>
                  <a:gd name="connsiteX60" fmla="*/ 313068 w 453535"/>
                  <a:gd name="connsiteY60" fmla="*/ 540917 h 805267"/>
                  <a:gd name="connsiteX61" fmla="*/ 332426 w 453535"/>
                  <a:gd name="connsiteY61" fmla="*/ 521487 h 805267"/>
                  <a:gd name="connsiteX62" fmla="*/ 340723 w 453535"/>
                  <a:gd name="connsiteY62" fmla="*/ 522566 h 805267"/>
                  <a:gd name="connsiteX63" fmla="*/ 356209 w 453535"/>
                  <a:gd name="connsiteY63" fmla="*/ 511232 h 805267"/>
                  <a:gd name="connsiteX64" fmla="*/ 350125 w 453535"/>
                  <a:gd name="connsiteY64" fmla="*/ 530122 h 805267"/>
                  <a:gd name="connsiteX65" fmla="*/ 340723 w 453535"/>
                  <a:gd name="connsiteY65" fmla="*/ 541996 h 805267"/>
                  <a:gd name="connsiteX66" fmla="*/ 342382 w 453535"/>
                  <a:gd name="connsiteY66" fmla="*/ 563045 h 805267"/>
                  <a:gd name="connsiteX67" fmla="*/ 361187 w 453535"/>
                  <a:gd name="connsiteY67" fmla="*/ 575459 h 805267"/>
                  <a:gd name="connsiteX68" fmla="*/ 364505 w 453535"/>
                  <a:gd name="connsiteY68" fmla="*/ 586793 h 805267"/>
                  <a:gd name="connsiteX69" fmla="*/ 372249 w 453535"/>
                  <a:gd name="connsiteY69" fmla="*/ 589492 h 805267"/>
                  <a:gd name="connsiteX70" fmla="*/ 374461 w 453535"/>
                  <a:gd name="connsiteY70" fmla="*/ 599746 h 805267"/>
                  <a:gd name="connsiteX71" fmla="*/ 372249 w 453535"/>
                  <a:gd name="connsiteY71" fmla="*/ 606223 h 805267"/>
                  <a:gd name="connsiteX72" fmla="*/ 357868 w 453535"/>
                  <a:gd name="connsiteY72" fmla="*/ 613240 h 805267"/>
                  <a:gd name="connsiteX73" fmla="*/ 358975 w 453535"/>
                  <a:gd name="connsiteY73" fmla="*/ 637527 h 805267"/>
                  <a:gd name="connsiteX74" fmla="*/ 352337 w 453535"/>
                  <a:gd name="connsiteY74" fmla="*/ 641305 h 805267"/>
                  <a:gd name="connsiteX75" fmla="*/ 349019 w 453535"/>
                  <a:gd name="connsiteY75" fmla="*/ 665593 h 805267"/>
                  <a:gd name="connsiteX76" fmla="*/ 359528 w 453535"/>
                  <a:gd name="connsiteY76" fmla="*/ 680705 h 805267"/>
                  <a:gd name="connsiteX77" fmla="*/ 348466 w 453535"/>
                  <a:gd name="connsiteY77" fmla="*/ 688801 h 805267"/>
                  <a:gd name="connsiteX78" fmla="*/ 348466 w 453535"/>
                  <a:gd name="connsiteY78" fmla="*/ 714707 h 805267"/>
                  <a:gd name="connsiteX79" fmla="*/ 361187 w 453535"/>
                  <a:gd name="connsiteY79" fmla="*/ 719025 h 805267"/>
                  <a:gd name="connsiteX80" fmla="*/ 368930 w 453535"/>
                  <a:gd name="connsiteY80" fmla="*/ 740614 h 805267"/>
                  <a:gd name="connsiteX81" fmla="*/ 366165 w 453535"/>
                  <a:gd name="connsiteY81" fmla="*/ 766521 h 805267"/>
                  <a:gd name="connsiteX82" fmla="*/ 394372 w 453535"/>
                  <a:gd name="connsiteY82" fmla="*/ 776776 h 805267"/>
                  <a:gd name="connsiteX83" fmla="*/ 410965 w 453535"/>
                  <a:gd name="connsiteY83" fmla="*/ 791888 h 805267"/>
                  <a:gd name="connsiteX84" fmla="*/ 423133 w 453535"/>
                  <a:gd name="connsiteY84" fmla="*/ 781633 h 805267"/>
                  <a:gd name="connsiteX85" fmla="*/ 452447 w 453535"/>
                  <a:gd name="connsiteY85" fmla="*/ 804841 h 805267"/>
                  <a:gd name="connsiteX86" fmla="*/ 452447 w 453535"/>
                  <a:gd name="connsiteY86" fmla="*/ 129647 h 805267"/>
                  <a:gd name="connsiteX87" fmla="*/ 436961 w 453535"/>
                  <a:gd name="connsiteY87" fmla="*/ 108598 h 805267"/>
                  <a:gd name="connsiteX88" fmla="*/ 425899 w 453535"/>
                  <a:gd name="connsiteY88" fmla="*/ 87549 h 80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453535" h="805267">
                    <a:moveTo>
                      <a:pt x="425899" y="87549"/>
                    </a:moveTo>
                    <a:lnTo>
                      <a:pt x="407647" y="105360"/>
                    </a:lnTo>
                    <a:lnTo>
                      <a:pt x="396585" y="101042"/>
                    </a:lnTo>
                    <a:lnTo>
                      <a:pt x="386076" y="90787"/>
                    </a:lnTo>
                    <a:lnTo>
                      <a:pt x="372802" y="99963"/>
                    </a:lnTo>
                    <a:lnTo>
                      <a:pt x="365059" y="97804"/>
                    </a:lnTo>
                    <a:lnTo>
                      <a:pt x="362293" y="90787"/>
                    </a:lnTo>
                    <a:lnTo>
                      <a:pt x="334639" y="87009"/>
                    </a:lnTo>
                    <a:lnTo>
                      <a:pt x="335192" y="74056"/>
                    </a:lnTo>
                    <a:lnTo>
                      <a:pt x="351231" y="61103"/>
                    </a:lnTo>
                    <a:lnTo>
                      <a:pt x="351784" y="50848"/>
                    </a:lnTo>
                    <a:lnTo>
                      <a:pt x="327448" y="42212"/>
                    </a:lnTo>
                    <a:lnTo>
                      <a:pt x="321917" y="33577"/>
                    </a:lnTo>
                    <a:lnTo>
                      <a:pt x="332979" y="9829"/>
                    </a:lnTo>
                    <a:lnTo>
                      <a:pt x="285966" y="-426"/>
                    </a:lnTo>
                    <a:cubicBezTo>
                      <a:pt x="282095" y="10908"/>
                      <a:pt x="272692" y="24401"/>
                      <a:pt x="267161" y="35736"/>
                    </a:cubicBezTo>
                    <a:cubicBezTo>
                      <a:pt x="262737" y="44911"/>
                      <a:pt x="258865" y="54086"/>
                      <a:pt x="255546" y="63801"/>
                    </a:cubicBezTo>
                    <a:cubicBezTo>
                      <a:pt x="252228" y="74596"/>
                      <a:pt x="250569" y="86470"/>
                      <a:pt x="247803" y="97264"/>
                    </a:cubicBezTo>
                    <a:cubicBezTo>
                      <a:pt x="247250" y="100502"/>
                      <a:pt x="246697" y="105900"/>
                      <a:pt x="245591" y="108058"/>
                    </a:cubicBezTo>
                    <a:cubicBezTo>
                      <a:pt x="242272" y="113995"/>
                      <a:pt x="235635" y="111837"/>
                      <a:pt x="232316" y="115075"/>
                    </a:cubicBezTo>
                    <a:cubicBezTo>
                      <a:pt x="226786" y="120472"/>
                      <a:pt x="231763" y="126949"/>
                      <a:pt x="231210" y="132886"/>
                    </a:cubicBezTo>
                    <a:cubicBezTo>
                      <a:pt x="231210" y="139362"/>
                      <a:pt x="227892" y="153935"/>
                      <a:pt x="224020" y="159332"/>
                    </a:cubicBezTo>
                    <a:cubicBezTo>
                      <a:pt x="222361" y="160951"/>
                      <a:pt x="213511" y="170127"/>
                      <a:pt x="211299" y="172286"/>
                    </a:cubicBezTo>
                    <a:cubicBezTo>
                      <a:pt x="196919" y="185239"/>
                      <a:pt x="184197" y="190096"/>
                      <a:pt x="165392" y="195494"/>
                    </a:cubicBezTo>
                    <a:cubicBezTo>
                      <a:pt x="160415" y="197113"/>
                      <a:pt x="154884" y="199811"/>
                      <a:pt x="149353" y="199811"/>
                    </a:cubicBezTo>
                    <a:cubicBezTo>
                      <a:pt x="144375" y="200351"/>
                      <a:pt x="136632" y="198732"/>
                      <a:pt x="132207" y="197113"/>
                    </a:cubicBezTo>
                    <a:cubicBezTo>
                      <a:pt x="125017" y="194954"/>
                      <a:pt x="118933" y="188477"/>
                      <a:pt x="111742" y="185779"/>
                    </a:cubicBezTo>
                    <a:cubicBezTo>
                      <a:pt x="103999" y="182540"/>
                      <a:pt x="96256" y="186858"/>
                      <a:pt x="90725" y="184159"/>
                    </a:cubicBezTo>
                    <a:cubicBezTo>
                      <a:pt x="84088" y="179842"/>
                      <a:pt x="78004" y="173365"/>
                      <a:pt x="71367" y="169047"/>
                    </a:cubicBezTo>
                    <a:cubicBezTo>
                      <a:pt x="62517" y="163650"/>
                      <a:pt x="59199" y="164190"/>
                      <a:pt x="50902" y="156094"/>
                    </a:cubicBezTo>
                    <a:lnTo>
                      <a:pt x="25460" y="152856"/>
                    </a:lnTo>
                    <a:lnTo>
                      <a:pt x="20482" y="167968"/>
                    </a:lnTo>
                    <a:lnTo>
                      <a:pt x="25460" y="196033"/>
                    </a:lnTo>
                    <a:lnTo>
                      <a:pt x="-1088" y="220861"/>
                    </a:lnTo>
                    <a:lnTo>
                      <a:pt x="11080" y="237052"/>
                    </a:lnTo>
                    <a:lnTo>
                      <a:pt x="22695" y="242989"/>
                    </a:lnTo>
                    <a:lnTo>
                      <a:pt x="26566" y="260800"/>
                    </a:lnTo>
                    <a:lnTo>
                      <a:pt x="44265" y="266197"/>
                    </a:lnTo>
                    <a:lnTo>
                      <a:pt x="68048" y="318551"/>
                    </a:lnTo>
                    <a:lnTo>
                      <a:pt x="84088" y="314773"/>
                    </a:lnTo>
                    <a:lnTo>
                      <a:pt x="88513" y="377920"/>
                    </a:lnTo>
                    <a:lnTo>
                      <a:pt x="101787" y="378460"/>
                    </a:lnTo>
                    <a:lnTo>
                      <a:pt x="110636" y="382778"/>
                    </a:lnTo>
                    <a:lnTo>
                      <a:pt x="118380" y="376301"/>
                    </a:lnTo>
                    <a:lnTo>
                      <a:pt x="125017" y="383317"/>
                    </a:lnTo>
                    <a:lnTo>
                      <a:pt x="123910" y="391413"/>
                    </a:lnTo>
                    <a:lnTo>
                      <a:pt x="131101" y="394652"/>
                    </a:lnTo>
                    <a:lnTo>
                      <a:pt x="134972" y="411923"/>
                    </a:lnTo>
                    <a:lnTo>
                      <a:pt x="163733" y="421098"/>
                    </a:lnTo>
                    <a:lnTo>
                      <a:pt x="162074" y="437829"/>
                    </a:lnTo>
                    <a:lnTo>
                      <a:pt x="180879" y="443766"/>
                    </a:lnTo>
                    <a:lnTo>
                      <a:pt x="186963" y="473451"/>
                    </a:lnTo>
                    <a:lnTo>
                      <a:pt x="199131" y="470213"/>
                    </a:lnTo>
                    <a:lnTo>
                      <a:pt x="207980" y="473451"/>
                    </a:lnTo>
                    <a:lnTo>
                      <a:pt x="211852" y="491262"/>
                    </a:lnTo>
                    <a:lnTo>
                      <a:pt x="225126" y="504215"/>
                    </a:lnTo>
                    <a:lnTo>
                      <a:pt x="232316" y="498818"/>
                    </a:lnTo>
                    <a:lnTo>
                      <a:pt x="243378" y="499898"/>
                    </a:lnTo>
                    <a:lnTo>
                      <a:pt x="268821" y="540917"/>
                    </a:lnTo>
                    <a:lnTo>
                      <a:pt x="279882" y="531202"/>
                    </a:lnTo>
                    <a:lnTo>
                      <a:pt x="313068" y="540917"/>
                    </a:lnTo>
                    <a:lnTo>
                      <a:pt x="332426" y="521487"/>
                    </a:lnTo>
                    <a:lnTo>
                      <a:pt x="340723" y="522566"/>
                    </a:lnTo>
                    <a:lnTo>
                      <a:pt x="356209" y="511232"/>
                    </a:lnTo>
                    <a:lnTo>
                      <a:pt x="350125" y="530122"/>
                    </a:lnTo>
                    <a:lnTo>
                      <a:pt x="340723" y="541996"/>
                    </a:lnTo>
                    <a:lnTo>
                      <a:pt x="342382" y="563045"/>
                    </a:lnTo>
                    <a:lnTo>
                      <a:pt x="361187" y="575459"/>
                    </a:lnTo>
                    <a:lnTo>
                      <a:pt x="364505" y="586793"/>
                    </a:lnTo>
                    <a:lnTo>
                      <a:pt x="372249" y="589492"/>
                    </a:lnTo>
                    <a:lnTo>
                      <a:pt x="374461" y="599746"/>
                    </a:lnTo>
                    <a:lnTo>
                      <a:pt x="372249" y="606223"/>
                    </a:lnTo>
                    <a:lnTo>
                      <a:pt x="357868" y="613240"/>
                    </a:lnTo>
                    <a:lnTo>
                      <a:pt x="358975" y="637527"/>
                    </a:lnTo>
                    <a:lnTo>
                      <a:pt x="352337" y="641305"/>
                    </a:lnTo>
                    <a:lnTo>
                      <a:pt x="349019" y="665593"/>
                    </a:lnTo>
                    <a:lnTo>
                      <a:pt x="359528" y="680705"/>
                    </a:lnTo>
                    <a:lnTo>
                      <a:pt x="348466" y="688801"/>
                    </a:lnTo>
                    <a:lnTo>
                      <a:pt x="348466" y="714707"/>
                    </a:lnTo>
                    <a:lnTo>
                      <a:pt x="361187" y="719025"/>
                    </a:lnTo>
                    <a:lnTo>
                      <a:pt x="368930" y="740614"/>
                    </a:lnTo>
                    <a:lnTo>
                      <a:pt x="366165" y="766521"/>
                    </a:lnTo>
                    <a:lnTo>
                      <a:pt x="394372" y="776776"/>
                    </a:lnTo>
                    <a:lnTo>
                      <a:pt x="410965" y="791888"/>
                    </a:lnTo>
                    <a:lnTo>
                      <a:pt x="423133" y="781633"/>
                    </a:lnTo>
                    <a:lnTo>
                      <a:pt x="452447" y="804841"/>
                    </a:lnTo>
                    <a:lnTo>
                      <a:pt x="452447" y="129647"/>
                    </a:lnTo>
                    <a:cubicBezTo>
                      <a:pt x="446916" y="123171"/>
                      <a:pt x="441385" y="115615"/>
                      <a:pt x="436961" y="108598"/>
                    </a:cubicBezTo>
                    <a:cubicBezTo>
                      <a:pt x="432536" y="102122"/>
                      <a:pt x="429217" y="95105"/>
                      <a:pt x="425899" y="87549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4" name="Freeform 1076">
                <a:extLst>
                  <a:ext uri="{FF2B5EF4-FFF2-40B4-BE49-F238E27FC236}">
                    <a16:creationId xmlns:a16="http://schemas.microsoft.com/office/drawing/2014/main" id="{D637B059-F88C-42C9-AD79-F9557607CA30}"/>
                  </a:ext>
                </a:extLst>
              </p:cNvPr>
              <p:cNvSpPr/>
              <p:nvPr/>
            </p:nvSpPr>
            <p:spPr>
              <a:xfrm>
                <a:off x="9230378" y="4607681"/>
                <a:ext cx="638821" cy="919148"/>
              </a:xfrm>
              <a:custGeom>
                <a:avLst/>
                <a:gdLst>
                  <a:gd name="connsiteX0" fmla="*/ 637745 w 638821"/>
                  <a:gd name="connsiteY0" fmla="*/ 366523 h 919148"/>
                  <a:gd name="connsiteX1" fmla="*/ 637745 w 638821"/>
                  <a:gd name="connsiteY1" fmla="*/ 914881 h 919148"/>
                  <a:gd name="connsiteX2" fmla="*/ 582435 w 638821"/>
                  <a:gd name="connsiteY2" fmla="*/ 918660 h 919148"/>
                  <a:gd name="connsiteX3" fmla="*/ 554228 w 638821"/>
                  <a:gd name="connsiteY3" fmla="*/ 827986 h 919148"/>
                  <a:gd name="connsiteX4" fmla="*/ 498365 w 638821"/>
                  <a:gd name="connsiteY4" fmla="*/ 848495 h 919148"/>
                  <a:gd name="connsiteX5" fmla="*/ 477901 w 638821"/>
                  <a:gd name="connsiteY5" fmla="*/ 817731 h 919148"/>
                  <a:gd name="connsiteX6" fmla="*/ 314739 w 638821"/>
                  <a:gd name="connsiteY6" fmla="*/ 812874 h 919148"/>
                  <a:gd name="connsiteX7" fmla="*/ 157108 w 638821"/>
                  <a:gd name="connsiteY7" fmla="*/ 794523 h 919148"/>
                  <a:gd name="connsiteX8" fmla="*/ 89630 w 638821"/>
                  <a:gd name="connsiteY8" fmla="*/ 802079 h 919148"/>
                  <a:gd name="connsiteX9" fmla="*/ -1077 w 638821"/>
                  <a:gd name="connsiteY9" fmla="*/ 687658 h 919148"/>
                  <a:gd name="connsiteX10" fmla="*/ 149917 w 638821"/>
                  <a:gd name="connsiteY10" fmla="*/ 477706 h 919148"/>
                  <a:gd name="connsiteX11" fmla="*/ 156554 w 638821"/>
                  <a:gd name="connsiteY11" fmla="*/ 435067 h 919148"/>
                  <a:gd name="connsiteX12" fmla="*/ 132218 w 638821"/>
                  <a:gd name="connsiteY12" fmla="*/ 358966 h 919148"/>
                  <a:gd name="connsiteX13" fmla="*/ 133878 w 638821"/>
                  <a:gd name="connsiteY13" fmla="*/ 325504 h 919148"/>
                  <a:gd name="connsiteX14" fmla="*/ 127241 w 638821"/>
                  <a:gd name="connsiteY14" fmla="*/ 303375 h 919148"/>
                  <a:gd name="connsiteX15" fmla="*/ 107882 w 638821"/>
                  <a:gd name="connsiteY15" fmla="*/ 281246 h 919148"/>
                  <a:gd name="connsiteX16" fmla="*/ 96821 w 638821"/>
                  <a:gd name="connsiteY16" fmla="*/ 235910 h 919148"/>
                  <a:gd name="connsiteX17" fmla="*/ 98480 w 638821"/>
                  <a:gd name="connsiteY17" fmla="*/ 224575 h 919148"/>
                  <a:gd name="connsiteX18" fmla="*/ 129453 w 638821"/>
                  <a:gd name="connsiteY18" fmla="*/ 193271 h 919148"/>
                  <a:gd name="connsiteX19" fmla="*/ 154895 w 638821"/>
                  <a:gd name="connsiteY19" fmla="*/ 111773 h 919148"/>
                  <a:gd name="connsiteX20" fmla="*/ 169276 w 638821"/>
                  <a:gd name="connsiteY20" fmla="*/ 94502 h 919148"/>
                  <a:gd name="connsiteX21" fmla="*/ 177572 w 638821"/>
                  <a:gd name="connsiteY21" fmla="*/ 64817 h 919148"/>
                  <a:gd name="connsiteX22" fmla="*/ 189187 w 638821"/>
                  <a:gd name="connsiteY22" fmla="*/ 64278 h 919148"/>
                  <a:gd name="connsiteX23" fmla="*/ 203014 w 638821"/>
                  <a:gd name="connsiteY23" fmla="*/ 48086 h 919148"/>
                  <a:gd name="connsiteX24" fmla="*/ 218501 w 638821"/>
                  <a:gd name="connsiteY24" fmla="*/ 47546 h 919148"/>
                  <a:gd name="connsiteX25" fmla="*/ 227903 w 638821"/>
                  <a:gd name="connsiteY25" fmla="*/ 43768 h 919148"/>
                  <a:gd name="connsiteX26" fmla="*/ 243390 w 638821"/>
                  <a:gd name="connsiteY26" fmla="*/ 43768 h 919148"/>
                  <a:gd name="connsiteX27" fmla="*/ 272704 w 638821"/>
                  <a:gd name="connsiteY27" fmla="*/ 32434 h 919148"/>
                  <a:gd name="connsiteX28" fmla="*/ 281553 w 638821"/>
                  <a:gd name="connsiteY28" fmla="*/ 16782 h 919148"/>
                  <a:gd name="connsiteX29" fmla="*/ 289850 w 638821"/>
                  <a:gd name="connsiteY29" fmla="*/ 12464 h 919148"/>
                  <a:gd name="connsiteX30" fmla="*/ 302018 w 638821"/>
                  <a:gd name="connsiteY30" fmla="*/ 13004 h 919148"/>
                  <a:gd name="connsiteX31" fmla="*/ 306442 w 638821"/>
                  <a:gd name="connsiteY31" fmla="*/ 22179 h 919148"/>
                  <a:gd name="connsiteX32" fmla="*/ 305889 w 638821"/>
                  <a:gd name="connsiteY32" fmla="*/ 31894 h 919148"/>
                  <a:gd name="connsiteX33" fmla="*/ 311420 w 638821"/>
                  <a:gd name="connsiteY33" fmla="*/ 36752 h 919148"/>
                  <a:gd name="connsiteX34" fmla="*/ 320270 w 638821"/>
                  <a:gd name="connsiteY34" fmla="*/ 39990 h 919148"/>
                  <a:gd name="connsiteX35" fmla="*/ 323035 w 638821"/>
                  <a:gd name="connsiteY35" fmla="*/ 27576 h 919148"/>
                  <a:gd name="connsiteX36" fmla="*/ 338522 w 638821"/>
                  <a:gd name="connsiteY36" fmla="*/ 590 h 919148"/>
                  <a:gd name="connsiteX37" fmla="*/ 347371 w 638821"/>
                  <a:gd name="connsiteY37" fmla="*/ -489 h 919148"/>
                  <a:gd name="connsiteX38" fmla="*/ 366176 w 638821"/>
                  <a:gd name="connsiteY38" fmla="*/ 5448 h 919148"/>
                  <a:gd name="connsiteX39" fmla="*/ 372260 w 638821"/>
                  <a:gd name="connsiteY39" fmla="*/ 35132 h 919148"/>
                  <a:gd name="connsiteX40" fmla="*/ 384428 w 638821"/>
                  <a:gd name="connsiteY40" fmla="*/ 31894 h 919148"/>
                  <a:gd name="connsiteX41" fmla="*/ 393278 w 638821"/>
                  <a:gd name="connsiteY41" fmla="*/ 35132 h 919148"/>
                  <a:gd name="connsiteX42" fmla="*/ 397149 w 638821"/>
                  <a:gd name="connsiteY42" fmla="*/ 52943 h 919148"/>
                  <a:gd name="connsiteX43" fmla="*/ 410424 w 638821"/>
                  <a:gd name="connsiteY43" fmla="*/ 65897 h 919148"/>
                  <a:gd name="connsiteX44" fmla="*/ 417614 w 638821"/>
                  <a:gd name="connsiteY44" fmla="*/ 60499 h 919148"/>
                  <a:gd name="connsiteX45" fmla="*/ 428676 w 638821"/>
                  <a:gd name="connsiteY45" fmla="*/ 61579 h 919148"/>
                  <a:gd name="connsiteX46" fmla="*/ 454118 w 638821"/>
                  <a:gd name="connsiteY46" fmla="*/ 102598 h 919148"/>
                  <a:gd name="connsiteX47" fmla="*/ 465180 w 638821"/>
                  <a:gd name="connsiteY47" fmla="*/ 92883 h 919148"/>
                  <a:gd name="connsiteX48" fmla="*/ 498365 w 638821"/>
                  <a:gd name="connsiteY48" fmla="*/ 102598 h 919148"/>
                  <a:gd name="connsiteX49" fmla="*/ 517724 w 638821"/>
                  <a:gd name="connsiteY49" fmla="*/ 83168 h 919148"/>
                  <a:gd name="connsiteX50" fmla="*/ 526020 w 638821"/>
                  <a:gd name="connsiteY50" fmla="*/ 84247 h 919148"/>
                  <a:gd name="connsiteX51" fmla="*/ 541507 w 638821"/>
                  <a:gd name="connsiteY51" fmla="*/ 72913 h 919148"/>
                  <a:gd name="connsiteX52" fmla="*/ 535423 w 638821"/>
                  <a:gd name="connsiteY52" fmla="*/ 91803 h 919148"/>
                  <a:gd name="connsiteX53" fmla="*/ 526020 w 638821"/>
                  <a:gd name="connsiteY53" fmla="*/ 103677 h 919148"/>
                  <a:gd name="connsiteX54" fmla="*/ 527679 w 638821"/>
                  <a:gd name="connsiteY54" fmla="*/ 124727 h 919148"/>
                  <a:gd name="connsiteX55" fmla="*/ 546484 w 638821"/>
                  <a:gd name="connsiteY55" fmla="*/ 137140 h 919148"/>
                  <a:gd name="connsiteX56" fmla="*/ 549803 w 638821"/>
                  <a:gd name="connsiteY56" fmla="*/ 148474 h 919148"/>
                  <a:gd name="connsiteX57" fmla="*/ 557546 w 638821"/>
                  <a:gd name="connsiteY57" fmla="*/ 151173 h 919148"/>
                  <a:gd name="connsiteX58" fmla="*/ 559759 w 638821"/>
                  <a:gd name="connsiteY58" fmla="*/ 161428 h 919148"/>
                  <a:gd name="connsiteX59" fmla="*/ 557546 w 638821"/>
                  <a:gd name="connsiteY59" fmla="*/ 167904 h 919148"/>
                  <a:gd name="connsiteX60" fmla="*/ 543166 w 638821"/>
                  <a:gd name="connsiteY60" fmla="*/ 174921 h 919148"/>
                  <a:gd name="connsiteX61" fmla="*/ 544272 w 638821"/>
                  <a:gd name="connsiteY61" fmla="*/ 199208 h 919148"/>
                  <a:gd name="connsiteX62" fmla="*/ 537635 w 638821"/>
                  <a:gd name="connsiteY62" fmla="*/ 202986 h 919148"/>
                  <a:gd name="connsiteX63" fmla="*/ 534316 w 638821"/>
                  <a:gd name="connsiteY63" fmla="*/ 227274 h 919148"/>
                  <a:gd name="connsiteX64" fmla="*/ 544825 w 638821"/>
                  <a:gd name="connsiteY64" fmla="*/ 242386 h 919148"/>
                  <a:gd name="connsiteX65" fmla="*/ 533763 w 638821"/>
                  <a:gd name="connsiteY65" fmla="*/ 250482 h 919148"/>
                  <a:gd name="connsiteX66" fmla="*/ 533763 w 638821"/>
                  <a:gd name="connsiteY66" fmla="*/ 276389 h 919148"/>
                  <a:gd name="connsiteX67" fmla="*/ 546484 w 638821"/>
                  <a:gd name="connsiteY67" fmla="*/ 280707 h 919148"/>
                  <a:gd name="connsiteX68" fmla="*/ 554228 w 638821"/>
                  <a:gd name="connsiteY68" fmla="*/ 302295 h 919148"/>
                  <a:gd name="connsiteX69" fmla="*/ 551462 w 638821"/>
                  <a:gd name="connsiteY69" fmla="*/ 328202 h 919148"/>
                  <a:gd name="connsiteX70" fmla="*/ 579670 w 638821"/>
                  <a:gd name="connsiteY70" fmla="*/ 338457 h 919148"/>
                  <a:gd name="connsiteX71" fmla="*/ 596263 w 638821"/>
                  <a:gd name="connsiteY71" fmla="*/ 353569 h 919148"/>
                  <a:gd name="connsiteX72" fmla="*/ 608431 w 638821"/>
                  <a:gd name="connsiteY72" fmla="*/ 343314 h 919148"/>
                  <a:gd name="connsiteX73" fmla="*/ 637745 w 638821"/>
                  <a:gd name="connsiteY73" fmla="*/ 366523 h 919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638821" h="919148">
                    <a:moveTo>
                      <a:pt x="637745" y="366523"/>
                    </a:moveTo>
                    <a:lnTo>
                      <a:pt x="637745" y="914881"/>
                    </a:lnTo>
                    <a:lnTo>
                      <a:pt x="582435" y="918660"/>
                    </a:lnTo>
                    <a:lnTo>
                      <a:pt x="554228" y="827986"/>
                    </a:lnTo>
                    <a:lnTo>
                      <a:pt x="498365" y="848495"/>
                    </a:lnTo>
                    <a:lnTo>
                      <a:pt x="477901" y="817731"/>
                    </a:lnTo>
                    <a:lnTo>
                      <a:pt x="314739" y="812874"/>
                    </a:lnTo>
                    <a:lnTo>
                      <a:pt x="157108" y="794523"/>
                    </a:lnTo>
                    <a:lnTo>
                      <a:pt x="89630" y="802079"/>
                    </a:lnTo>
                    <a:lnTo>
                      <a:pt x="-1077" y="687658"/>
                    </a:lnTo>
                    <a:lnTo>
                      <a:pt x="149917" y="477706"/>
                    </a:lnTo>
                    <a:lnTo>
                      <a:pt x="156554" y="435067"/>
                    </a:lnTo>
                    <a:lnTo>
                      <a:pt x="132218" y="358966"/>
                    </a:lnTo>
                    <a:lnTo>
                      <a:pt x="133878" y="325504"/>
                    </a:lnTo>
                    <a:lnTo>
                      <a:pt x="127241" y="303375"/>
                    </a:lnTo>
                    <a:lnTo>
                      <a:pt x="107882" y="281246"/>
                    </a:lnTo>
                    <a:lnTo>
                      <a:pt x="96821" y="235910"/>
                    </a:lnTo>
                    <a:lnTo>
                      <a:pt x="98480" y="224575"/>
                    </a:lnTo>
                    <a:lnTo>
                      <a:pt x="129453" y="193271"/>
                    </a:lnTo>
                    <a:lnTo>
                      <a:pt x="154895" y="111773"/>
                    </a:lnTo>
                    <a:lnTo>
                      <a:pt x="169276" y="94502"/>
                    </a:lnTo>
                    <a:lnTo>
                      <a:pt x="177572" y="64817"/>
                    </a:lnTo>
                    <a:lnTo>
                      <a:pt x="189187" y="64278"/>
                    </a:lnTo>
                    <a:lnTo>
                      <a:pt x="203014" y="48086"/>
                    </a:lnTo>
                    <a:lnTo>
                      <a:pt x="218501" y="47546"/>
                    </a:lnTo>
                    <a:lnTo>
                      <a:pt x="227903" y="43768"/>
                    </a:lnTo>
                    <a:lnTo>
                      <a:pt x="243390" y="43768"/>
                    </a:lnTo>
                    <a:lnTo>
                      <a:pt x="272704" y="32434"/>
                    </a:lnTo>
                    <a:lnTo>
                      <a:pt x="281553" y="16782"/>
                    </a:lnTo>
                    <a:lnTo>
                      <a:pt x="289850" y="12464"/>
                    </a:lnTo>
                    <a:lnTo>
                      <a:pt x="302018" y="13004"/>
                    </a:lnTo>
                    <a:lnTo>
                      <a:pt x="306442" y="22179"/>
                    </a:lnTo>
                    <a:lnTo>
                      <a:pt x="305889" y="31894"/>
                    </a:lnTo>
                    <a:lnTo>
                      <a:pt x="311420" y="36752"/>
                    </a:lnTo>
                    <a:lnTo>
                      <a:pt x="320270" y="39990"/>
                    </a:lnTo>
                    <a:lnTo>
                      <a:pt x="323035" y="27576"/>
                    </a:lnTo>
                    <a:lnTo>
                      <a:pt x="338522" y="590"/>
                    </a:lnTo>
                    <a:lnTo>
                      <a:pt x="347371" y="-489"/>
                    </a:lnTo>
                    <a:lnTo>
                      <a:pt x="366176" y="5448"/>
                    </a:lnTo>
                    <a:lnTo>
                      <a:pt x="372260" y="35132"/>
                    </a:lnTo>
                    <a:lnTo>
                      <a:pt x="384428" y="31894"/>
                    </a:lnTo>
                    <a:lnTo>
                      <a:pt x="393278" y="35132"/>
                    </a:lnTo>
                    <a:lnTo>
                      <a:pt x="397149" y="52943"/>
                    </a:lnTo>
                    <a:lnTo>
                      <a:pt x="410424" y="65897"/>
                    </a:lnTo>
                    <a:lnTo>
                      <a:pt x="417614" y="60499"/>
                    </a:lnTo>
                    <a:lnTo>
                      <a:pt x="428676" y="61579"/>
                    </a:lnTo>
                    <a:lnTo>
                      <a:pt x="454118" y="102598"/>
                    </a:lnTo>
                    <a:lnTo>
                      <a:pt x="465180" y="92883"/>
                    </a:lnTo>
                    <a:lnTo>
                      <a:pt x="498365" y="102598"/>
                    </a:lnTo>
                    <a:lnTo>
                      <a:pt x="517724" y="83168"/>
                    </a:lnTo>
                    <a:lnTo>
                      <a:pt x="526020" y="84247"/>
                    </a:lnTo>
                    <a:lnTo>
                      <a:pt x="541507" y="72913"/>
                    </a:lnTo>
                    <a:lnTo>
                      <a:pt x="535423" y="91803"/>
                    </a:lnTo>
                    <a:lnTo>
                      <a:pt x="526020" y="103677"/>
                    </a:lnTo>
                    <a:lnTo>
                      <a:pt x="527679" y="124727"/>
                    </a:lnTo>
                    <a:lnTo>
                      <a:pt x="546484" y="137140"/>
                    </a:lnTo>
                    <a:lnTo>
                      <a:pt x="549803" y="148474"/>
                    </a:lnTo>
                    <a:lnTo>
                      <a:pt x="557546" y="151173"/>
                    </a:lnTo>
                    <a:lnTo>
                      <a:pt x="559759" y="161428"/>
                    </a:lnTo>
                    <a:lnTo>
                      <a:pt x="557546" y="167904"/>
                    </a:lnTo>
                    <a:lnTo>
                      <a:pt x="543166" y="174921"/>
                    </a:lnTo>
                    <a:lnTo>
                      <a:pt x="544272" y="199208"/>
                    </a:lnTo>
                    <a:lnTo>
                      <a:pt x="537635" y="202986"/>
                    </a:lnTo>
                    <a:lnTo>
                      <a:pt x="534316" y="227274"/>
                    </a:lnTo>
                    <a:lnTo>
                      <a:pt x="544825" y="242386"/>
                    </a:lnTo>
                    <a:lnTo>
                      <a:pt x="533763" y="250482"/>
                    </a:lnTo>
                    <a:lnTo>
                      <a:pt x="533763" y="276389"/>
                    </a:lnTo>
                    <a:lnTo>
                      <a:pt x="546484" y="280707"/>
                    </a:lnTo>
                    <a:lnTo>
                      <a:pt x="554228" y="302295"/>
                    </a:lnTo>
                    <a:lnTo>
                      <a:pt x="551462" y="328202"/>
                    </a:lnTo>
                    <a:lnTo>
                      <a:pt x="579670" y="338457"/>
                    </a:lnTo>
                    <a:lnTo>
                      <a:pt x="596263" y="353569"/>
                    </a:lnTo>
                    <a:lnTo>
                      <a:pt x="608431" y="343314"/>
                    </a:lnTo>
                    <a:lnTo>
                      <a:pt x="637745" y="366523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5" name="Freeform 1077">
                <a:extLst>
                  <a:ext uri="{FF2B5EF4-FFF2-40B4-BE49-F238E27FC236}">
                    <a16:creationId xmlns:a16="http://schemas.microsoft.com/office/drawing/2014/main" id="{6C9385E3-D36C-4C52-A6AA-6726E488A8E2}"/>
                  </a:ext>
                </a:extLst>
              </p:cNvPr>
              <p:cNvSpPr/>
              <p:nvPr/>
            </p:nvSpPr>
            <p:spPr>
              <a:xfrm>
                <a:off x="8879165" y="5430219"/>
                <a:ext cx="125551" cy="301705"/>
              </a:xfrm>
              <a:custGeom>
                <a:avLst/>
                <a:gdLst>
                  <a:gd name="connsiteX0" fmla="*/ 67583 w 125551"/>
                  <a:gd name="connsiteY0" fmla="*/ -555 h 301705"/>
                  <a:gd name="connsiteX1" fmla="*/ 72560 w 125551"/>
                  <a:gd name="connsiteY1" fmla="*/ 17796 h 301705"/>
                  <a:gd name="connsiteX2" fmla="*/ 73667 w 125551"/>
                  <a:gd name="connsiteY2" fmla="*/ 28590 h 301705"/>
                  <a:gd name="connsiteX3" fmla="*/ 78091 w 125551"/>
                  <a:gd name="connsiteY3" fmla="*/ 42083 h 301705"/>
                  <a:gd name="connsiteX4" fmla="*/ 78644 w 125551"/>
                  <a:gd name="connsiteY4" fmla="*/ 67450 h 301705"/>
                  <a:gd name="connsiteX5" fmla="*/ 78644 w 125551"/>
                  <a:gd name="connsiteY5" fmla="*/ 71228 h 301705"/>
                  <a:gd name="connsiteX6" fmla="*/ 83622 w 125551"/>
                  <a:gd name="connsiteY6" fmla="*/ 81483 h 301705"/>
                  <a:gd name="connsiteX7" fmla="*/ 88047 w 125551"/>
                  <a:gd name="connsiteY7" fmla="*/ 102532 h 301705"/>
                  <a:gd name="connsiteX8" fmla="*/ 79197 w 125551"/>
                  <a:gd name="connsiteY8" fmla="*/ 104151 h 301705"/>
                  <a:gd name="connsiteX9" fmla="*/ 70901 w 125551"/>
                  <a:gd name="connsiteY9" fmla="*/ 96055 h 301705"/>
                  <a:gd name="connsiteX10" fmla="*/ 55415 w 125551"/>
                  <a:gd name="connsiteY10" fmla="*/ 96055 h 301705"/>
                  <a:gd name="connsiteX11" fmla="*/ 47671 w 125551"/>
                  <a:gd name="connsiteY11" fmla="*/ 104151 h 301705"/>
                  <a:gd name="connsiteX12" fmla="*/ 41587 w 125551"/>
                  <a:gd name="connsiteY12" fmla="*/ 143011 h 301705"/>
                  <a:gd name="connsiteX13" fmla="*/ 43800 w 125551"/>
                  <a:gd name="connsiteY13" fmla="*/ 153266 h 301705"/>
                  <a:gd name="connsiteX14" fmla="*/ 57074 w 125551"/>
                  <a:gd name="connsiteY14" fmla="*/ 173236 h 301705"/>
                  <a:gd name="connsiteX15" fmla="*/ 54861 w 125551"/>
                  <a:gd name="connsiteY15" fmla="*/ 184570 h 301705"/>
                  <a:gd name="connsiteX16" fmla="*/ 75879 w 125551"/>
                  <a:gd name="connsiteY16" fmla="*/ 180792 h 301705"/>
                  <a:gd name="connsiteX17" fmla="*/ 80857 w 125551"/>
                  <a:gd name="connsiteY17" fmla="*/ 187269 h 301705"/>
                  <a:gd name="connsiteX18" fmla="*/ 61499 w 125551"/>
                  <a:gd name="connsiteY18" fmla="*/ 213175 h 301705"/>
                  <a:gd name="connsiteX19" fmla="*/ 63711 w 125551"/>
                  <a:gd name="connsiteY19" fmla="*/ 243400 h 301705"/>
                  <a:gd name="connsiteX20" fmla="*/ 91366 w 125551"/>
                  <a:gd name="connsiteY20" fmla="*/ 234764 h 301705"/>
                  <a:gd name="connsiteX21" fmla="*/ 102427 w 125551"/>
                  <a:gd name="connsiteY21" fmla="*/ 215334 h 301705"/>
                  <a:gd name="connsiteX22" fmla="*/ 110724 w 125551"/>
                  <a:gd name="connsiteY22" fmla="*/ 213715 h 301705"/>
                  <a:gd name="connsiteX23" fmla="*/ 116808 w 125551"/>
                  <a:gd name="connsiteY23" fmla="*/ 253655 h 301705"/>
                  <a:gd name="connsiteX24" fmla="*/ 120126 w 125551"/>
                  <a:gd name="connsiteY24" fmla="*/ 270926 h 301705"/>
                  <a:gd name="connsiteX25" fmla="*/ 124551 w 125551"/>
                  <a:gd name="connsiteY25" fmla="*/ 288197 h 301705"/>
                  <a:gd name="connsiteX26" fmla="*/ 122339 w 125551"/>
                  <a:gd name="connsiteY26" fmla="*/ 301150 h 301705"/>
                  <a:gd name="connsiteX27" fmla="*/ 19464 w 125551"/>
                  <a:gd name="connsiteY27" fmla="*/ 301150 h 301705"/>
                  <a:gd name="connsiteX28" fmla="*/ 10061 w 125551"/>
                  <a:gd name="connsiteY28" fmla="*/ 286038 h 301705"/>
                  <a:gd name="connsiteX29" fmla="*/ 24994 w 125551"/>
                  <a:gd name="connsiteY29" fmla="*/ 241241 h 301705"/>
                  <a:gd name="connsiteX30" fmla="*/ 15039 w 125551"/>
                  <a:gd name="connsiteY30" fmla="*/ 227748 h 301705"/>
                  <a:gd name="connsiteX31" fmla="*/ 22782 w 125551"/>
                  <a:gd name="connsiteY31" fmla="*/ 118184 h 301705"/>
                  <a:gd name="connsiteX32" fmla="*/ 18910 w 125551"/>
                  <a:gd name="connsiteY32" fmla="*/ 89039 h 301705"/>
                  <a:gd name="connsiteX33" fmla="*/ 16145 w 125551"/>
                  <a:gd name="connsiteY33" fmla="*/ 74466 h 301705"/>
                  <a:gd name="connsiteX34" fmla="*/ 24994 w 125551"/>
                  <a:gd name="connsiteY34" fmla="*/ 67990 h 301705"/>
                  <a:gd name="connsiteX35" fmla="*/ 23335 w 125551"/>
                  <a:gd name="connsiteY35" fmla="*/ 37765 h 301705"/>
                  <a:gd name="connsiteX36" fmla="*/ 54308 w 125551"/>
                  <a:gd name="connsiteY36" fmla="*/ 23732 h 301705"/>
                  <a:gd name="connsiteX37" fmla="*/ 61499 w 125551"/>
                  <a:gd name="connsiteY37" fmla="*/ 524 h 301705"/>
                  <a:gd name="connsiteX38" fmla="*/ 67583 w 125551"/>
                  <a:gd name="connsiteY38" fmla="*/ -555 h 301705"/>
                  <a:gd name="connsiteX39" fmla="*/ 88047 w 125551"/>
                  <a:gd name="connsiteY39" fmla="*/ 102532 h 301705"/>
                  <a:gd name="connsiteX40" fmla="*/ 93025 w 125551"/>
                  <a:gd name="connsiteY40" fmla="*/ 131137 h 301705"/>
                  <a:gd name="connsiteX41" fmla="*/ 100215 w 125551"/>
                  <a:gd name="connsiteY41" fmla="*/ 165140 h 301705"/>
                  <a:gd name="connsiteX42" fmla="*/ 110724 w 125551"/>
                  <a:gd name="connsiteY42" fmla="*/ 213715 h 301705"/>
                  <a:gd name="connsiteX43" fmla="*/ 102427 w 125551"/>
                  <a:gd name="connsiteY43" fmla="*/ 215334 h 301705"/>
                  <a:gd name="connsiteX44" fmla="*/ 91366 w 125551"/>
                  <a:gd name="connsiteY44" fmla="*/ 234764 h 301705"/>
                  <a:gd name="connsiteX45" fmla="*/ 63711 w 125551"/>
                  <a:gd name="connsiteY45" fmla="*/ 243400 h 301705"/>
                  <a:gd name="connsiteX46" fmla="*/ 61499 w 125551"/>
                  <a:gd name="connsiteY46" fmla="*/ 213175 h 301705"/>
                  <a:gd name="connsiteX47" fmla="*/ 80857 w 125551"/>
                  <a:gd name="connsiteY47" fmla="*/ 187269 h 301705"/>
                  <a:gd name="connsiteX48" fmla="*/ 75879 w 125551"/>
                  <a:gd name="connsiteY48" fmla="*/ 180792 h 301705"/>
                  <a:gd name="connsiteX49" fmla="*/ 54861 w 125551"/>
                  <a:gd name="connsiteY49" fmla="*/ 184570 h 301705"/>
                  <a:gd name="connsiteX50" fmla="*/ 57074 w 125551"/>
                  <a:gd name="connsiteY50" fmla="*/ 173236 h 301705"/>
                  <a:gd name="connsiteX51" fmla="*/ 43800 w 125551"/>
                  <a:gd name="connsiteY51" fmla="*/ 153266 h 301705"/>
                  <a:gd name="connsiteX52" fmla="*/ 41587 w 125551"/>
                  <a:gd name="connsiteY52" fmla="*/ 143011 h 301705"/>
                  <a:gd name="connsiteX53" fmla="*/ 47671 w 125551"/>
                  <a:gd name="connsiteY53" fmla="*/ 104151 h 301705"/>
                  <a:gd name="connsiteX54" fmla="*/ 55415 w 125551"/>
                  <a:gd name="connsiteY54" fmla="*/ 96055 h 301705"/>
                  <a:gd name="connsiteX55" fmla="*/ 70901 w 125551"/>
                  <a:gd name="connsiteY55" fmla="*/ 96055 h 301705"/>
                  <a:gd name="connsiteX56" fmla="*/ 79197 w 125551"/>
                  <a:gd name="connsiteY56" fmla="*/ 104151 h 301705"/>
                  <a:gd name="connsiteX57" fmla="*/ 88047 w 125551"/>
                  <a:gd name="connsiteY57" fmla="*/ 102532 h 301705"/>
                  <a:gd name="connsiteX58" fmla="*/ -1001 w 125551"/>
                  <a:gd name="connsiteY58" fmla="*/ 275244 h 301705"/>
                  <a:gd name="connsiteX59" fmla="*/ 15039 w 125551"/>
                  <a:gd name="connsiteY59" fmla="*/ 227748 h 301705"/>
                  <a:gd name="connsiteX60" fmla="*/ 24994 w 125551"/>
                  <a:gd name="connsiteY60" fmla="*/ 241241 h 301705"/>
                  <a:gd name="connsiteX61" fmla="*/ 10061 w 125551"/>
                  <a:gd name="connsiteY61" fmla="*/ 286038 h 301705"/>
                  <a:gd name="connsiteX62" fmla="*/ -1001 w 125551"/>
                  <a:gd name="connsiteY62" fmla="*/ 275244 h 301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125551" h="301705">
                    <a:moveTo>
                      <a:pt x="67583" y="-555"/>
                    </a:moveTo>
                    <a:cubicBezTo>
                      <a:pt x="69242" y="4302"/>
                      <a:pt x="71454" y="12938"/>
                      <a:pt x="72560" y="17796"/>
                    </a:cubicBezTo>
                    <a:cubicBezTo>
                      <a:pt x="73667" y="21034"/>
                      <a:pt x="73113" y="25891"/>
                      <a:pt x="73667" y="28590"/>
                    </a:cubicBezTo>
                    <a:cubicBezTo>
                      <a:pt x="74773" y="32368"/>
                      <a:pt x="77538" y="38305"/>
                      <a:pt x="78091" y="42083"/>
                    </a:cubicBezTo>
                    <a:cubicBezTo>
                      <a:pt x="78644" y="49099"/>
                      <a:pt x="78644" y="60434"/>
                      <a:pt x="78644" y="67450"/>
                    </a:cubicBezTo>
                    <a:lnTo>
                      <a:pt x="78644" y="71228"/>
                    </a:lnTo>
                    <a:cubicBezTo>
                      <a:pt x="79751" y="73927"/>
                      <a:pt x="83069" y="78245"/>
                      <a:pt x="83622" y="81483"/>
                    </a:cubicBezTo>
                    <a:cubicBezTo>
                      <a:pt x="85282" y="86880"/>
                      <a:pt x="86941" y="96595"/>
                      <a:pt x="88047" y="102532"/>
                    </a:cubicBezTo>
                    <a:lnTo>
                      <a:pt x="79197" y="104151"/>
                    </a:lnTo>
                    <a:lnTo>
                      <a:pt x="70901" y="96055"/>
                    </a:lnTo>
                    <a:lnTo>
                      <a:pt x="55415" y="96055"/>
                    </a:lnTo>
                    <a:lnTo>
                      <a:pt x="47671" y="104151"/>
                    </a:lnTo>
                    <a:lnTo>
                      <a:pt x="41587" y="143011"/>
                    </a:lnTo>
                    <a:lnTo>
                      <a:pt x="43800" y="153266"/>
                    </a:lnTo>
                    <a:lnTo>
                      <a:pt x="57074" y="173236"/>
                    </a:lnTo>
                    <a:lnTo>
                      <a:pt x="54861" y="184570"/>
                    </a:lnTo>
                    <a:lnTo>
                      <a:pt x="75879" y="180792"/>
                    </a:lnTo>
                    <a:lnTo>
                      <a:pt x="80857" y="187269"/>
                    </a:lnTo>
                    <a:lnTo>
                      <a:pt x="61499" y="213175"/>
                    </a:lnTo>
                    <a:lnTo>
                      <a:pt x="63711" y="243400"/>
                    </a:lnTo>
                    <a:lnTo>
                      <a:pt x="91366" y="234764"/>
                    </a:lnTo>
                    <a:lnTo>
                      <a:pt x="102427" y="215334"/>
                    </a:lnTo>
                    <a:lnTo>
                      <a:pt x="110724" y="213715"/>
                    </a:lnTo>
                    <a:lnTo>
                      <a:pt x="116808" y="253655"/>
                    </a:lnTo>
                    <a:cubicBezTo>
                      <a:pt x="117361" y="259052"/>
                      <a:pt x="118467" y="266068"/>
                      <a:pt x="120126" y="270926"/>
                    </a:cubicBezTo>
                    <a:cubicBezTo>
                      <a:pt x="121786" y="276323"/>
                      <a:pt x="124551" y="282260"/>
                      <a:pt x="124551" y="288197"/>
                    </a:cubicBezTo>
                    <a:cubicBezTo>
                      <a:pt x="123998" y="292515"/>
                      <a:pt x="123445" y="296832"/>
                      <a:pt x="122339" y="301150"/>
                    </a:cubicBezTo>
                    <a:lnTo>
                      <a:pt x="19464" y="301150"/>
                    </a:lnTo>
                    <a:lnTo>
                      <a:pt x="10061" y="286038"/>
                    </a:lnTo>
                    <a:lnTo>
                      <a:pt x="24994" y="241241"/>
                    </a:lnTo>
                    <a:lnTo>
                      <a:pt x="15039" y="227748"/>
                    </a:lnTo>
                    <a:cubicBezTo>
                      <a:pt x="24441" y="194285"/>
                      <a:pt x="24994" y="152726"/>
                      <a:pt x="22782" y="118184"/>
                    </a:cubicBezTo>
                    <a:cubicBezTo>
                      <a:pt x="21676" y="108469"/>
                      <a:pt x="20017" y="98754"/>
                      <a:pt x="18910" y="89039"/>
                    </a:cubicBezTo>
                    <a:cubicBezTo>
                      <a:pt x="18357" y="84721"/>
                      <a:pt x="16145" y="78784"/>
                      <a:pt x="16145" y="74466"/>
                    </a:cubicBezTo>
                    <a:cubicBezTo>
                      <a:pt x="16698" y="65831"/>
                      <a:pt x="22782" y="70688"/>
                      <a:pt x="24994" y="67990"/>
                    </a:cubicBezTo>
                    <a:cubicBezTo>
                      <a:pt x="27760" y="64751"/>
                      <a:pt x="24441" y="42623"/>
                      <a:pt x="23335" y="37765"/>
                    </a:cubicBezTo>
                    <a:lnTo>
                      <a:pt x="54308" y="23732"/>
                    </a:lnTo>
                    <a:lnTo>
                      <a:pt x="61499" y="524"/>
                    </a:lnTo>
                    <a:lnTo>
                      <a:pt x="67583" y="-555"/>
                    </a:lnTo>
                    <a:close/>
                    <a:moveTo>
                      <a:pt x="88047" y="102532"/>
                    </a:moveTo>
                    <a:cubicBezTo>
                      <a:pt x="90259" y="111707"/>
                      <a:pt x="91366" y="121422"/>
                      <a:pt x="93025" y="131137"/>
                    </a:cubicBezTo>
                    <a:cubicBezTo>
                      <a:pt x="95790" y="142472"/>
                      <a:pt x="98556" y="153266"/>
                      <a:pt x="100215" y="165140"/>
                    </a:cubicBezTo>
                    <a:lnTo>
                      <a:pt x="110724" y="213715"/>
                    </a:lnTo>
                    <a:lnTo>
                      <a:pt x="102427" y="215334"/>
                    </a:lnTo>
                    <a:lnTo>
                      <a:pt x="91366" y="234764"/>
                    </a:lnTo>
                    <a:lnTo>
                      <a:pt x="63711" y="243400"/>
                    </a:lnTo>
                    <a:lnTo>
                      <a:pt x="61499" y="213175"/>
                    </a:lnTo>
                    <a:lnTo>
                      <a:pt x="80857" y="187269"/>
                    </a:lnTo>
                    <a:lnTo>
                      <a:pt x="75879" y="180792"/>
                    </a:lnTo>
                    <a:lnTo>
                      <a:pt x="54861" y="184570"/>
                    </a:lnTo>
                    <a:lnTo>
                      <a:pt x="57074" y="173236"/>
                    </a:lnTo>
                    <a:lnTo>
                      <a:pt x="43800" y="153266"/>
                    </a:lnTo>
                    <a:lnTo>
                      <a:pt x="41587" y="143011"/>
                    </a:lnTo>
                    <a:lnTo>
                      <a:pt x="47671" y="104151"/>
                    </a:lnTo>
                    <a:lnTo>
                      <a:pt x="55415" y="96055"/>
                    </a:lnTo>
                    <a:lnTo>
                      <a:pt x="70901" y="96055"/>
                    </a:lnTo>
                    <a:lnTo>
                      <a:pt x="79197" y="104151"/>
                    </a:lnTo>
                    <a:lnTo>
                      <a:pt x="88047" y="102532"/>
                    </a:lnTo>
                    <a:close/>
                    <a:moveTo>
                      <a:pt x="-1001" y="275244"/>
                    </a:moveTo>
                    <a:cubicBezTo>
                      <a:pt x="8402" y="263909"/>
                      <a:pt x="11167" y="241781"/>
                      <a:pt x="15039" y="227748"/>
                    </a:cubicBezTo>
                    <a:lnTo>
                      <a:pt x="24994" y="241241"/>
                    </a:lnTo>
                    <a:lnTo>
                      <a:pt x="10061" y="286038"/>
                    </a:lnTo>
                    <a:lnTo>
                      <a:pt x="-1001" y="275244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6" name="Freeform 1078">
                <a:extLst>
                  <a:ext uri="{FF2B5EF4-FFF2-40B4-BE49-F238E27FC236}">
                    <a16:creationId xmlns:a16="http://schemas.microsoft.com/office/drawing/2014/main" id="{71605137-6BCD-405B-87A4-6CB1C9BB477F}"/>
                  </a:ext>
                </a:extLst>
              </p:cNvPr>
              <p:cNvSpPr/>
              <p:nvPr/>
            </p:nvSpPr>
            <p:spPr>
              <a:xfrm>
                <a:off x="4856749" y="3202054"/>
                <a:ext cx="345460" cy="410668"/>
              </a:xfrm>
              <a:custGeom>
                <a:avLst/>
                <a:gdLst>
                  <a:gd name="connsiteX0" fmla="*/ 81676 w 345460"/>
                  <a:gd name="connsiteY0" fmla="*/ 120808 h 410668"/>
                  <a:gd name="connsiteX1" fmla="*/ 78358 w 345460"/>
                  <a:gd name="connsiteY1" fmla="*/ 120808 h 410668"/>
                  <a:gd name="connsiteX2" fmla="*/ 75039 w 345460"/>
                  <a:gd name="connsiteY2" fmla="*/ 114871 h 410668"/>
                  <a:gd name="connsiteX3" fmla="*/ 68402 w 345460"/>
                  <a:gd name="connsiteY3" fmla="*/ 110014 h 410668"/>
                  <a:gd name="connsiteX4" fmla="*/ 68402 w 345460"/>
                  <a:gd name="connsiteY4" fmla="*/ 105696 h 410668"/>
                  <a:gd name="connsiteX5" fmla="*/ 81123 w 345460"/>
                  <a:gd name="connsiteY5" fmla="*/ 102458 h 410668"/>
                  <a:gd name="connsiteX6" fmla="*/ 81676 w 345460"/>
                  <a:gd name="connsiteY6" fmla="*/ 120808 h 410668"/>
                  <a:gd name="connsiteX7" fmla="*/ 303466 w 345460"/>
                  <a:gd name="connsiteY7" fmla="*/ 27976 h 410668"/>
                  <a:gd name="connsiteX8" fmla="*/ 286873 w 345460"/>
                  <a:gd name="connsiteY8" fmla="*/ 36611 h 410668"/>
                  <a:gd name="connsiteX9" fmla="*/ 274705 w 345460"/>
                  <a:gd name="connsiteY9" fmla="*/ 58740 h 410668"/>
                  <a:gd name="connsiteX10" fmla="*/ 261984 w 345460"/>
                  <a:gd name="connsiteY10" fmla="*/ 63597 h 410668"/>
                  <a:gd name="connsiteX11" fmla="*/ 256453 w 345460"/>
                  <a:gd name="connsiteY11" fmla="*/ 59280 h 410668"/>
                  <a:gd name="connsiteX12" fmla="*/ 250369 w 345460"/>
                  <a:gd name="connsiteY12" fmla="*/ 59819 h 410668"/>
                  <a:gd name="connsiteX13" fmla="*/ 249816 w 345460"/>
                  <a:gd name="connsiteY13" fmla="*/ 67375 h 410668"/>
                  <a:gd name="connsiteX14" fmla="*/ 256453 w 345460"/>
                  <a:gd name="connsiteY14" fmla="*/ 73312 h 410668"/>
                  <a:gd name="connsiteX15" fmla="*/ 248157 w 345460"/>
                  <a:gd name="connsiteY15" fmla="*/ 81408 h 410668"/>
                  <a:gd name="connsiteX16" fmla="*/ 240967 w 345460"/>
                  <a:gd name="connsiteY16" fmla="*/ 77091 h 410668"/>
                  <a:gd name="connsiteX17" fmla="*/ 228246 w 345460"/>
                  <a:gd name="connsiteY17" fmla="*/ 85726 h 410668"/>
                  <a:gd name="connsiteX18" fmla="*/ 229352 w 345460"/>
                  <a:gd name="connsiteY18" fmla="*/ 94901 h 410668"/>
                  <a:gd name="connsiteX19" fmla="*/ 238754 w 345460"/>
                  <a:gd name="connsiteY19" fmla="*/ 115411 h 410668"/>
                  <a:gd name="connsiteX20" fmla="*/ 249816 w 345460"/>
                  <a:gd name="connsiteY20" fmla="*/ 120808 h 410668"/>
                  <a:gd name="connsiteX21" fmla="*/ 255347 w 345460"/>
                  <a:gd name="connsiteY21" fmla="*/ 126745 h 410668"/>
                  <a:gd name="connsiteX22" fmla="*/ 269728 w 345460"/>
                  <a:gd name="connsiteY22" fmla="*/ 128904 h 410668"/>
                  <a:gd name="connsiteX23" fmla="*/ 277471 w 345460"/>
                  <a:gd name="connsiteY23" fmla="*/ 136460 h 410668"/>
                  <a:gd name="connsiteX24" fmla="*/ 286873 w 345460"/>
                  <a:gd name="connsiteY24" fmla="*/ 127824 h 410668"/>
                  <a:gd name="connsiteX25" fmla="*/ 287427 w 345460"/>
                  <a:gd name="connsiteY25" fmla="*/ 114871 h 410668"/>
                  <a:gd name="connsiteX26" fmla="*/ 299041 w 345460"/>
                  <a:gd name="connsiteY26" fmla="*/ 104077 h 410668"/>
                  <a:gd name="connsiteX27" fmla="*/ 310656 w 345460"/>
                  <a:gd name="connsiteY27" fmla="*/ 119729 h 410668"/>
                  <a:gd name="connsiteX28" fmla="*/ 310103 w 345460"/>
                  <a:gd name="connsiteY28" fmla="*/ 128364 h 410668"/>
                  <a:gd name="connsiteX29" fmla="*/ 321165 w 345460"/>
                  <a:gd name="connsiteY29" fmla="*/ 137000 h 410668"/>
                  <a:gd name="connsiteX30" fmla="*/ 321718 w 345460"/>
                  <a:gd name="connsiteY30" fmla="*/ 154811 h 410668"/>
                  <a:gd name="connsiteX31" fmla="*/ 344948 w 345460"/>
                  <a:gd name="connsiteY31" fmla="*/ 155890 h 410668"/>
                  <a:gd name="connsiteX32" fmla="*/ 344395 w 345460"/>
                  <a:gd name="connsiteY32" fmla="*/ 163986 h 410668"/>
                  <a:gd name="connsiteX33" fmla="*/ 334439 w 345460"/>
                  <a:gd name="connsiteY33" fmla="*/ 168304 h 410668"/>
                  <a:gd name="connsiteX34" fmla="*/ 340523 w 345460"/>
                  <a:gd name="connsiteY34" fmla="*/ 193131 h 410668"/>
                  <a:gd name="connsiteX35" fmla="*/ 338864 w 345460"/>
                  <a:gd name="connsiteY35" fmla="*/ 210942 h 410668"/>
                  <a:gd name="connsiteX36" fmla="*/ 339417 w 345460"/>
                  <a:gd name="connsiteY36" fmla="*/ 223895 h 410668"/>
                  <a:gd name="connsiteX37" fmla="*/ 333886 w 345460"/>
                  <a:gd name="connsiteY37" fmla="*/ 242786 h 410668"/>
                  <a:gd name="connsiteX38" fmla="*/ 334992 w 345460"/>
                  <a:gd name="connsiteY38" fmla="*/ 285424 h 410668"/>
                  <a:gd name="connsiteX39" fmla="*/ 315634 w 345460"/>
                  <a:gd name="connsiteY39" fmla="*/ 317807 h 410668"/>
                  <a:gd name="connsiteX40" fmla="*/ 306785 w 345460"/>
                  <a:gd name="connsiteY40" fmla="*/ 341015 h 410668"/>
                  <a:gd name="connsiteX41" fmla="*/ 301254 w 345460"/>
                  <a:gd name="connsiteY41" fmla="*/ 350730 h 410668"/>
                  <a:gd name="connsiteX42" fmla="*/ 294064 w 345460"/>
                  <a:gd name="connsiteY42" fmla="*/ 367462 h 410668"/>
                  <a:gd name="connsiteX43" fmla="*/ 270834 w 345460"/>
                  <a:gd name="connsiteY43" fmla="*/ 370160 h 410668"/>
                  <a:gd name="connsiteX44" fmla="*/ 265303 w 345460"/>
                  <a:gd name="connsiteY44" fmla="*/ 364763 h 410668"/>
                  <a:gd name="connsiteX45" fmla="*/ 262537 w 345460"/>
                  <a:gd name="connsiteY45" fmla="*/ 364763 h 410668"/>
                  <a:gd name="connsiteX46" fmla="*/ 255347 w 345460"/>
                  <a:gd name="connsiteY46" fmla="*/ 372859 h 410668"/>
                  <a:gd name="connsiteX47" fmla="*/ 249816 w 345460"/>
                  <a:gd name="connsiteY47" fmla="*/ 368541 h 410668"/>
                  <a:gd name="connsiteX48" fmla="*/ 247051 w 345460"/>
                  <a:gd name="connsiteY48" fmla="*/ 368541 h 410668"/>
                  <a:gd name="connsiteX49" fmla="*/ 242626 w 345460"/>
                  <a:gd name="connsiteY49" fmla="*/ 371240 h 410668"/>
                  <a:gd name="connsiteX50" fmla="*/ 211653 w 345460"/>
                  <a:gd name="connsiteY50" fmla="*/ 365842 h 410668"/>
                  <a:gd name="connsiteX51" fmla="*/ 200591 w 345460"/>
                  <a:gd name="connsiteY51" fmla="*/ 375018 h 410668"/>
                  <a:gd name="connsiteX52" fmla="*/ 181786 w 345460"/>
                  <a:gd name="connsiteY52" fmla="*/ 380955 h 410668"/>
                  <a:gd name="connsiteX53" fmla="*/ 171277 w 345460"/>
                  <a:gd name="connsiteY53" fmla="*/ 388511 h 410668"/>
                  <a:gd name="connsiteX54" fmla="*/ 149707 w 345460"/>
                  <a:gd name="connsiteY54" fmla="*/ 391209 h 410668"/>
                  <a:gd name="connsiteX55" fmla="*/ 147494 w 345460"/>
                  <a:gd name="connsiteY55" fmla="*/ 386892 h 410668"/>
                  <a:gd name="connsiteX56" fmla="*/ 141410 w 345460"/>
                  <a:gd name="connsiteY56" fmla="*/ 386352 h 410668"/>
                  <a:gd name="connsiteX57" fmla="*/ 136985 w 345460"/>
                  <a:gd name="connsiteY57" fmla="*/ 396607 h 410668"/>
                  <a:gd name="connsiteX58" fmla="*/ 125924 w 345460"/>
                  <a:gd name="connsiteY58" fmla="*/ 400924 h 410668"/>
                  <a:gd name="connsiteX59" fmla="*/ 109331 w 345460"/>
                  <a:gd name="connsiteY59" fmla="*/ 409020 h 410668"/>
                  <a:gd name="connsiteX60" fmla="*/ 75592 w 345460"/>
                  <a:gd name="connsiteY60" fmla="*/ 407401 h 410668"/>
                  <a:gd name="connsiteX61" fmla="*/ 57893 w 345460"/>
                  <a:gd name="connsiteY61" fmla="*/ 408481 h 410668"/>
                  <a:gd name="connsiteX62" fmla="*/ 52916 w 345460"/>
                  <a:gd name="connsiteY62" fmla="*/ 403623 h 410668"/>
                  <a:gd name="connsiteX63" fmla="*/ 28026 w 345460"/>
                  <a:gd name="connsiteY63" fmla="*/ 406322 h 410668"/>
                  <a:gd name="connsiteX64" fmla="*/ 51809 w 345460"/>
                  <a:gd name="connsiteY64" fmla="*/ 386892 h 410668"/>
                  <a:gd name="connsiteX65" fmla="*/ 50703 w 345460"/>
                  <a:gd name="connsiteY65" fmla="*/ 384193 h 410668"/>
                  <a:gd name="connsiteX66" fmla="*/ 47385 w 345460"/>
                  <a:gd name="connsiteY66" fmla="*/ 383114 h 410668"/>
                  <a:gd name="connsiteX67" fmla="*/ 26920 w 345460"/>
                  <a:gd name="connsiteY67" fmla="*/ 382574 h 410668"/>
                  <a:gd name="connsiteX68" fmla="*/ 12540 w 345460"/>
                  <a:gd name="connsiteY68" fmla="*/ 385273 h 410668"/>
                  <a:gd name="connsiteX69" fmla="*/ 10327 w 345460"/>
                  <a:gd name="connsiteY69" fmla="*/ 383653 h 410668"/>
                  <a:gd name="connsiteX70" fmla="*/ 37429 w 345460"/>
                  <a:gd name="connsiteY70" fmla="*/ 366382 h 410668"/>
                  <a:gd name="connsiteX71" fmla="*/ 36876 w 345460"/>
                  <a:gd name="connsiteY71" fmla="*/ 364223 h 410668"/>
                  <a:gd name="connsiteX72" fmla="*/ 25814 w 345460"/>
                  <a:gd name="connsiteY72" fmla="*/ 365842 h 410668"/>
                  <a:gd name="connsiteX73" fmla="*/ 15858 w 345460"/>
                  <a:gd name="connsiteY73" fmla="*/ 365303 h 410668"/>
                  <a:gd name="connsiteX74" fmla="*/ 5350 w 345460"/>
                  <a:gd name="connsiteY74" fmla="*/ 357747 h 410668"/>
                  <a:gd name="connsiteX75" fmla="*/ 925 w 345460"/>
                  <a:gd name="connsiteY75" fmla="*/ 355588 h 410668"/>
                  <a:gd name="connsiteX76" fmla="*/ -181 w 345460"/>
                  <a:gd name="connsiteY76" fmla="*/ 347492 h 410668"/>
                  <a:gd name="connsiteX77" fmla="*/ 30792 w 345460"/>
                  <a:gd name="connsiteY77" fmla="*/ 331840 h 410668"/>
                  <a:gd name="connsiteX78" fmla="*/ 30792 w 345460"/>
                  <a:gd name="connsiteY78" fmla="*/ 330760 h 410668"/>
                  <a:gd name="connsiteX79" fmla="*/ 28579 w 345460"/>
                  <a:gd name="connsiteY79" fmla="*/ 328062 h 410668"/>
                  <a:gd name="connsiteX80" fmla="*/ 2031 w 345460"/>
                  <a:gd name="connsiteY80" fmla="*/ 319426 h 410668"/>
                  <a:gd name="connsiteX81" fmla="*/ 6456 w 345460"/>
                  <a:gd name="connsiteY81" fmla="*/ 309711 h 410668"/>
                  <a:gd name="connsiteX82" fmla="*/ 21389 w 345460"/>
                  <a:gd name="connsiteY82" fmla="*/ 304854 h 410668"/>
                  <a:gd name="connsiteX83" fmla="*/ 41301 w 345460"/>
                  <a:gd name="connsiteY83" fmla="*/ 314029 h 410668"/>
                  <a:gd name="connsiteX84" fmla="*/ 47385 w 345460"/>
                  <a:gd name="connsiteY84" fmla="*/ 299996 h 410668"/>
                  <a:gd name="connsiteX85" fmla="*/ 49597 w 345460"/>
                  <a:gd name="connsiteY85" fmla="*/ 296758 h 410668"/>
                  <a:gd name="connsiteX86" fmla="*/ 57340 w 345460"/>
                  <a:gd name="connsiteY86" fmla="*/ 292980 h 410668"/>
                  <a:gd name="connsiteX87" fmla="*/ 71168 w 345460"/>
                  <a:gd name="connsiteY87" fmla="*/ 283265 h 410668"/>
                  <a:gd name="connsiteX88" fmla="*/ 85548 w 345460"/>
                  <a:gd name="connsiteY88" fmla="*/ 287043 h 410668"/>
                  <a:gd name="connsiteX89" fmla="*/ 107672 w 345460"/>
                  <a:gd name="connsiteY89" fmla="*/ 287583 h 410668"/>
                  <a:gd name="connsiteX90" fmla="*/ 132008 w 345460"/>
                  <a:gd name="connsiteY90" fmla="*/ 282725 h 410668"/>
                  <a:gd name="connsiteX91" fmla="*/ 139198 w 345460"/>
                  <a:gd name="connsiteY91" fmla="*/ 282725 h 410668"/>
                  <a:gd name="connsiteX92" fmla="*/ 138645 w 345460"/>
                  <a:gd name="connsiteY92" fmla="*/ 280566 h 410668"/>
                  <a:gd name="connsiteX93" fmla="*/ 92185 w 345460"/>
                  <a:gd name="connsiteY93" fmla="*/ 280566 h 410668"/>
                  <a:gd name="connsiteX94" fmla="*/ 75039 w 345460"/>
                  <a:gd name="connsiteY94" fmla="*/ 276788 h 410668"/>
                  <a:gd name="connsiteX95" fmla="*/ 56234 w 345460"/>
                  <a:gd name="connsiteY95" fmla="*/ 276788 h 410668"/>
                  <a:gd name="connsiteX96" fmla="*/ 54022 w 345460"/>
                  <a:gd name="connsiteY96" fmla="*/ 273550 h 410668"/>
                  <a:gd name="connsiteX97" fmla="*/ 89420 w 345460"/>
                  <a:gd name="connsiteY97" fmla="*/ 257358 h 410668"/>
                  <a:gd name="connsiteX98" fmla="*/ 106565 w 345460"/>
                  <a:gd name="connsiteY98" fmla="*/ 224435 h 410668"/>
                  <a:gd name="connsiteX99" fmla="*/ 134773 w 345460"/>
                  <a:gd name="connsiteY99" fmla="*/ 221197 h 410668"/>
                  <a:gd name="connsiteX100" fmla="*/ 135326 w 345460"/>
                  <a:gd name="connsiteY100" fmla="*/ 219038 h 410668"/>
                  <a:gd name="connsiteX101" fmla="*/ 129242 w 345460"/>
                  <a:gd name="connsiteY101" fmla="*/ 211482 h 410668"/>
                  <a:gd name="connsiteX102" fmla="*/ 92738 w 345460"/>
                  <a:gd name="connsiteY102" fmla="*/ 205545 h 410668"/>
                  <a:gd name="connsiteX103" fmla="*/ 93844 w 345460"/>
                  <a:gd name="connsiteY103" fmla="*/ 191512 h 410668"/>
                  <a:gd name="connsiteX104" fmla="*/ 73933 w 345460"/>
                  <a:gd name="connsiteY104" fmla="*/ 190972 h 410668"/>
                  <a:gd name="connsiteX105" fmla="*/ 72274 w 345460"/>
                  <a:gd name="connsiteY105" fmla="*/ 184495 h 410668"/>
                  <a:gd name="connsiteX106" fmla="*/ 65637 w 345460"/>
                  <a:gd name="connsiteY106" fmla="*/ 178019 h 410668"/>
                  <a:gd name="connsiteX107" fmla="*/ 63977 w 345460"/>
                  <a:gd name="connsiteY107" fmla="*/ 162367 h 410668"/>
                  <a:gd name="connsiteX108" fmla="*/ 80017 w 345460"/>
                  <a:gd name="connsiteY108" fmla="*/ 152652 h 410668"/>
                  <a:gd name="connsiteX109" fmla="*/ 84995 w 345460"/>
                  <a:gd name="connsiteY109" fmla="*/ 140778 h 410668"/>
                  <a:gd name="connsiteX110" fmla="*/ 104353 w 345460"/>
                  <a:gd name="connsiteY110" fmla="*/ 137540 h 410668"/>
                  <a:gd name="connsiteX111" fmla="*/ 107672 w 345460"/>
                  <a:gd name="connsiteY111" fmla="*/ 129444 h 410668"/>
                  <a:gd name="connsiteX112" fmla="*/ 89973 w 345460"/>
                  <a:gd name="connsiteY112" fmla="*/ 123507 h 410668"/>
                  <a:gd name="connsiteX113" fmla="*/ 90526 w 345460"/>
                  <a:gd name="connsiteY113" fmla="*/ 120268 h 410668"/>
                  <a:gd name="connsiteX114" fmla="*/ 91632 w 345460"/>
                  <a:gd name="connsiteY114" fmla="*/ 93282 h 410668"/>
                  <a:gd name="connsiteX115" fmla="*/ 83889 w 345460"/>
                  <a:gd name="connsiteY115" fmla="*/ 90044 h 410668"/>
                  <a:gd name="connsiteX116" fmla="*/ 94397 w 345460"/>
                  <a:gd name="connsiteY116" fmla="*/ 74932 h 410668"/>
                  <a:gd name="connsiteX117" fmla="*/ 95504 w 345460"/>
                  <a:gd name="connsiteY117" fmla="*/ 78170 h 410668"/>
                  <a:gd name="connsiteX118" fmla="*/ 97716 w 345460"/>
                  <a:gd name="connsiteY118" fmla="*/ 80329 h 410668"/>
                  <a:gd name="connsiteX119" fmla="*/ 104906 w 345460"/>
                  <a:gd name="connsiteY119" fmla="*/ 77091 h 410668"/>
                  <a:gd name="connsiteX120" fmla="*/ 138645 w 345460"/>
                  <a:gd name="connsiteY120" fmla="*/ 85186 h 410668"/>
                  <a:gd name="connsiteX121" fmla="*/ 148600 w 345460"/>
                  <a:gd name="connsiteY121" fmla="*/ 99759 h 410668"/>
                  <a:gd name="connsiteX122" fmla="*/ 166852 w 345460"/>
                  <a:gd name="connsiteY122" fmla="*/ 97060 h 410668"/>
                  <a:gd name="connsiteX123" fmla="*/ 190635 w 345460"/>
                  <a:gd name="connsiteY123" fmla="*/ 104077 h 410668"/>
                  <a:gd name="connsiteX124" fmla="*/ 191742 w 345460"/>
                  <a:gd name="connsiteY124" fmla="*/ 102458 h 410668"/>
                  <a:gd name="connsiteX125" fmla="*/ 192295 w 345460"/>
                  <a:gd name="connsiteY125" fmla="*/ 99219 h 410668"/>
                  <a:gd name="connsiteX126" fmla="*/ 186211 w 345460"/>
                  <a:gd name="connsiteY126" fmla="*/ 94362 h 410668"/>
                  <a:gd name="connsiteX127" fmla="*/ 187317 w 345460"/>
                  <a:gd name="connsiteY127" fmla="*/ 90044 h 410668"/>
                  <a:gd name="connsiteX128" fmla="*/ 200591 w 345460"/>
                  <a:gd name="connsiteY128" fmla="*/ 83567 h 410668"/>
                  <a:gd name="connsiteX129" fmla="*/ 205016 w 345460"/>
                  <a:gd name="connsiteY129" fmla="*/ 80869 h 410668"/>
                  <a:gd name="connsiteX130" fmla="*/ 226586 w 345460"/>
                  <a:gd name="connsiteY130" fmla="*/ 73852 h 410668"/>
                  <a:gd name="connsiteX131" fmla="*/ 229352 w 345460"/>
                  <a:gd name="connsiteY131" fmla="*/ 66836 h 410668"/>
                  <a:gd name="connsiteX132" fmla="*/ 190635 w 345460"/>
                  <a:gd name="connsiteY132" fmla="*/ 48485 h 410668"/>
                  <a:gd name="connsiteX133" fmla="*/ 211100 w 345460"/>
                  <a:gd name="connsiteY133" fmla="*/ 43628 h 410668"/>
                  <a:gd name="connsiteX134" fmla="*/ 221055 w 345460"/>
                  <a:gd name="connsiteY134" fmla="*/ 31754 h 410668"/>
                  <a:gd name="connsiteX135" fmla="*/ 223268 w 345460"/>
                  <a:gd name="connsiteY135" fmla="*/ 22039 h 410668"/>
                  <a:gd name="connsiteX136" fmla="*/ 235436 w 345460"/>
                  <a:gd name="connsiteY136" fmla="*/ 2609 h 410668"/>
                  <a:gd name="connsiteX137" fmla="*/ 238201 w 345460"/>
                  <a:gd name="connsiteY137" fmla="*/ 2609 h 410668"/>
                  <a:gd name="connsiteX138" fmla="*/ 253135 w 345460"/>
                  <a:gd name="connsiteY138" fmla="*/ 3148 h 410668"/>
                  <a:gd name="connsiteX139" fmla="*/ 261431 w 345460"/>
                  <a:gd name="connsiteY139" fmla="*/ 5847 h 410668"/>
                  <a:gd name="connsiteX140" fmla="*/ 278024 w 345460"/>
                  <a:gd name="connsiteY140" fmla="*/ 450 h 410668"/>
                  <a:gd name="connsiteX141" fmla="*/ 279683 w 345460"/>
                  <a:gd name="connsiteY141" fmla="*/ 4768 h 410668"/>
                  <a:gd name="connsiteX142" fmla="*/ 270834 w 345460"/>
                  <a:gd name="connsiteY142" fmla="*/ 29595 h 410668"/>
                  <a:gd name="connsiteX143" fmla="*/ 276918 w 345460"/>
                  <a:gd name="connsiteY143" fmla="*/ 30674 h 410668"/>
                  <a:gd name="connsiteX144" fmla="*/ 283002 w 345460"/>
                  <a:gd name="connsiteY144" fmla="*/ 23118 h 410668"/>
                  <a:gd name="connsiteX145" fmla="*/ 290745 w 345460"/>
                  <a:gd name="connsiteY145" fmla="*/ 2609 h 410668"/>
                  <a:gd name="connsiteX146" fmla="*/ 304572 w 345460"/>
                  <a:gd name="connsiteY146" fmla="*/ 2609 h 410668"/>
                  <a:gd name="connsiteX147" fmla="*/ 321165 w 345460"/>
                  <a:gd name="connsiteY147" fmla="*/ 10165 h 410668"/>
                  <a:gd name="connsiteX148" fmla="*/ 320612 w 345460"/>
                  <a:gd name="connsiteY148" fmla="*/ 12324 h 410668"/>
                  <a:gd name="connsiteX149" fmla="*/ 302360 w 345460"/>
                  <a:gd name="connsiteY149" fmla="*/ 25817 h 410668"/>
                  <a:gd name="connsiteX150" fmla="*/ 303466 w 345460"/>
                  <a:gd name="connsiteY150" fmla="*/ 27976 h 41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</a:cxnLst>
                <a:rect l="l" t="t" r="r" b="b"/>
                <a:pathLst>
                  <a:path w="345460" h="410668">
                    <a:moveTo>
                      <a:pt x="81676" y="120808"/>
                    </a:moveTo>
                    <a:lnTo>
                      <a:pt x="78358" y="120808"/>
                    </a:lnTo>
                    <a:cubicBezTo>
                      <a:pt x="76698" y="119189"/>
                      <a:pt x="76698" y="116490"/>
                      <a:pt x="75039" y="114871"/>
                    </a:cubicBezTo>
                    <a:cubicBezTo>
                      <a:pt x="73380" y="113252"/>
                      <a:pt x="70061" y="112173"/>
                      <a:pt x="68402" y="110014"/>
                    </a:cubicBezTo>
                    <a:cubicBezTo>
                      <a:pt x="68402" y="108934"/>
                      <a:pt x="68955" y="106775"/>
                      <a:pt x="68402" y="105696"/>
                    </a:cubicBezTo>
                    <a:cubicBezTo>
                      <a:pt x="71721" y="102997"/>
                      <a:pt x="77252" y="100838"/>
                      <a:pt x="81123" y="102458"/>
                    </a:cubicBezTo>
                    <a:cubicBezTo>
                      <a:pt x="83336" y="105696"/>
                      <a:pt x="84442" y="118109"/>
                      <a:pt x="81676" y="120808"/>
                    </a:cubicBezTo>
                    <a:close/>
                    <a:moveTo>
                      <a:pt x="303466" y="27976"/>
                    </a:moveTo>
                    <a:lnTo>
                      <a:pt x="286873" y="36611"/>
                    </a:lnTo>
                    <a:lnTo>
                      <a:pt x="274705" y="58740"/>
                    </a:lnTo>
                    <a:lnTo>
                      <a:pt x="261984" y="63597"/>
                    </a:lnTo>
                    <a:lnTo>
                      <a:pt x="256453" y="59280"/>
                    </a:lnTo>
                    <a:lnTo>
                      <a:pt x="250369" y="59819"/>
                    </a:lnTo>
                    <a:lnTo>
                      <a:pt x="249816" y="67375"/>
                    </a:lnTo>
                    <a:lnTo>
                      <a:pt x="256453" y="73312"/>
                    </a:lnTo>
                    <a:lnTo>
                      <a:pt x="248157" y="81408"/>
                    </a:lnTo>
                    <a:lnTo>
                      <a:pt x="240967" y="77091"/>
                    </a:lnTo>
                    <a:lnTo>
                      <a:pt x="228246" y="85726"/>
                    </a:lnTo>
                    <a:lnTo>
                      <a:pt x="229352" y="94901"/>
                    </a:lnTo>
                    <a:lnTo>
                      <a:pt x="238754" y="115411"/>
                    </a:lnTo>
                    <a:lnTo>
                      <a:pt x="249816" y="120808"/>
                    </a:lnTo>
                    <a:lnTo>
                      <a:pt x="255347" y="126745"/>
                    </a:lnTo>
                    <a:lnTo>
                      <a:pt x="269728" y="128904"/>
                    </a:lnTo>
                    <a:lnTo>
                      <a:pt x="277471" y="136460"/>
                    </a:lnTo>
                    <a:lnTo>
                      <a:pt x="286873" y="127824"/>
                    </a:lnTo>
                    <a:lnTo>
                      <a:pt x="287427" y="114871"/>
                    </a:lnTo>
                    <a:lnTo>
                      <a:pt x="299041" y="104077"/>
                    </a:lnTo>
                    <a:lnTo>
                      <a:pt x="310656" y="119729"/>
                    </a:lnTo>
                    <a:lnTo>
                      <a:pt x="310103" y="128364"/>
                    </a:lnTo>
                    <a:lnTo>
                      <a:pt x="321165" y="137000"/>
                    </a:lnTo>
                    <a:lnTo>
                      <a:pt x="321718" y="154811"/>
                    </a:lnTo>
                    <a:lnTo>
                      <a:pt x="344948" y="155890"/>
                    </a:lnTo>
                    <a:cubicBezTo>
                      <a:pt x="343289" y="156430"/>
                      <a:pt x="344948" y="162907"/>
                      <a:pt x="344395" y="163986"/>
                    </a:cubicBezTo>
                    <a:cubicBezTo>
                      <a:pt x="343842" y="164526"/>
                      <a:pt x="336652" y="166685"/>
                      <a:pt x="334439" y="168304"/>
                    </a:cubicBezTo>
                    <a:cubicBezTo>
                      <a:pt x="329462" y="185035"/>
                      <a:pt x="340523" y="180717"/>
                      <a:pt x="340523" y="193131"/>
                    </a:cubicBezTo>
                    <a:cubicBezTo>
                      <a:pt x="340523" y="199068"/>
                      <a:pt x="338864" y="205005"/>
                      <a:pt x="338864" y="210942"/>
                    </a:cubicBezTo>
                    <a:cubicBezTo>
                      <a:pt x="338864" y="215260"/>
                      <a:pt x="339970" y="219577"/>
                      <a:pt x="339417" y="223895"/>
                    </a:cubicBezTo>
                    <a:cubicBezTo>
                      <a:pt x="338311" y="230372"/>
                      <a:pt x="334439" y="236309"/>
                      <a:pt x="333886" y="242786"/>
                    </a:cubicBezTo>
                    <a:cubicBezTo>
                      <a:pt x="333333" y="257898"/>
                      <a:pt x="339417" y="265454"/>
                      <a:pt x="334992" y="285424"/>
                    </a:cubicBezTo>
                    <a:cubicBezTo>
                      <a:pt x="334439" y="289741"/>
                      <a:pt x="318953" y="310791"/>
                      <a:pt x="315634" y="317807"/>
                    </a:cubicBezTo>
                    <a:cubicBezTo>
                      <a:pt x="311763" y="325363"/>
                      <a:pt x="310103" y="333459"/>
                      <a:pt x="306785" y="341015"/>
                    </a:cubicBezTo>
                    <a:cubicBezTo>
                      <a:pt x="305679" y="344254"/>
                      <a:pt x="302913" y="347492"/>
                      <a:pt x="301254" y="350730"/>
                    </a:cubicBezTo>
                    <a:cubicBezTo>
                      <a:pt x="299595" y="354508"/>
                      <a:pt x="296829" y="365303"/>
                      <a:pt x="294064" y="367462"/>
                    </a:cubicBezTo>
                    <a:cubicBezTo>
                      <a:pt x="288533" y="372859"/>
                      <a:pt x="277471" y="373938"/>
                      <a:pt x="270834" y="370160"/>
                    </a:cubicBezTo>
                    <a:cubicBezTo>
                      <a:pt x="268621" y="368541"/>
                      <a:pt x="267515" y="365842"/>
                      <a:pt x="265303" y="364763"/>
                    </a:cubicBezTo>
                    <a:lnTo>
                      <a:pt x="262537" y="364763"/>
                    </a:lnTo>
                    <a:cubicBezTo>
                      <a:pt x="259772" y="366922"/>
                      <a:pt x="258113" y="370700"/>
                      <a:pt x="255347" y="372859"/>
                    </a:cubicBezTo>
                    <a:cubicBezTo>
                      <a:pt x="249816" y="371779"/>
                      <a:pt x="252582" y="370700"/>
                      <a:pt x="249816" y="368541"/>
                    </a:cubicBezTo>
                    <a:lnTo>
                      <a:pt x="247051" y="368541"/>
                    </a:lnTo>
                    <a:cubicBezTo>
                      <a:pt x="245945" y="370160"/>
                      <a:pt x="243732" y="370700"/>
                      <a:pt x="242626" y="371240"/>
                    </a:cubicBezTo>
                    <a:cubicBezTo>
                      <a:pt x="241520" y="371240"/>
                      <a:pt x="216078" y="365842"/>
                      <a:pt x="211653" y="365842"/>
                    </a:cubicBezTo>
                    <a:cubicBezTo>
                      <a:pt x="204463" y="365303"/>
                      <a:pt x="203910" y="371240"/>
                      <a:pt x="200591" y="375018"/>
                    </a:cubicBezTo>
                    <a:cubicBezTo>
                      <a:pt x="195060" y="380955"/>
                      <a:pt x="188423" y="378796"/>
                      <a:pt x="181786" y="380955"/>
                    </a:cubicBezTo>
                    <a:cubicBezTo>
                      <a:pt x="175702" y="382574"/>
                      <a:pt x="175702" y="386352"/>
                      <a:pt x="171277" y="388511"/>
                    </a:cubicBezTo>
                    <a:cubicBezTo>
                      <a:pt x="165746" y="391749"/>
                      <a:pt x="155791" y="395527"/>
                      <a:pt x="149707" y="391209"/>
                    </a:cubicBezTo>
                    <a:cubicBezTo>
                      <a:pt x="148600" y="390130"/>
                      <a:pt x="148600" y="387431"/>
                      <a:pt x="147494" y="386892"/>
                    </a:cubicBezTo>
                    <a:cubicBezTo>
                      <a:pt x="145835" y="385812"/>
                      <a:pt x="143070" y="385812"/>
                      <a:pt x="141410" y="386352"/>
                    </a:cubicBezTo>
                    <a:cubicBezTo>
                      <a:pt x="140304" y="387971"/>
                      <a:pt x="137539" y="396607"/>
                      <a:pt x="136985" y="396607"/>
                    </a:cubicBezTo>
                    <a:cubicBezTo>
                      <a:pt x="133114" y="399845"/>
                      <a:pt x="129795" y="399305"/>
                      <a:pt x="125924" y="400924"/>
                    </a:cubicBezTo>
                    <a:cubicBezTo>
                      <a:pt x="120393" y="403623"/>
                      <a:pt x="115968" y="407941"/>
                      <a:pt x="109331" y="409020"/>
                    </a:cubicBezTo>
                    <a:cubicBezTo>
                      <a:pt x="96057" y="411179"/>
                      <a:pt x="86654" y="406861"/>
                      <a:pt x="75592" y="407401"/>
                    </a:cubicBezTo>
                    <a:cubicBezTo>
                      <a:pt x="69508" y="407401"/>
                      <a:pt x="64530" y="413338"/>
                      <a:pt x="57893" y="408481"/>
                    </a:cubicBezTo>
                    <a:cubicBezTo>
                      <a:pt x="55681" y="407401"/>
                      <a:pt x="57893" y="406322"/>
                      <a:pt x="52916" y="403623"/>
                    </a:cubicBezTo>
                    <a:cubicBezTo>
                      <a:pt x="42960" y="404703"/>
                      <a:pt x="39088" y="409020"/>
                      <a:pt x="28026" y="406322"/>
                    </a:cubicBezTo>
                    <a:cubicBezTo>
                      <a:pt x="22495" y="396067"/>
                      <a:pt x="47385" y="392289"/>
                      <a:pt x="51809" y="386892"/>
                    </a:cubicBezTo>
                    <a:lnTo>
                      <a:pt x="50703" y="384193"/>
                    </a:lnTo>
                    <a:lnTo>
                      <a:pt x="47385" y="383114"/>
                    </a:lnTo>
                    <a:cubicBezTo>
                      <a:pt x="38535" y="385273"/>
                      <a:pt x="35217" y="382574"/>
                      <a:pt x="26920" y="382574"/>
                    </a:cubicBezTo>
                    <a:cubicBezTo>
                      <a:pt x="21942" y="382574"/>
                      <a:pt x="16965" y="384733"/>
                      <a:pt x="12540" y="385273"/>
                    </a:cubicBezTo>
                    <a:lnTo>
                      <a:pt x="10327" y="383653"/>
                    </a:lnTo>
                    <a:cubicBezTo>
                      <a:pt x="10881" y="373938"/>
                      <a:pt x="33004" y="372319"/>
                      <a:pt x="37429" y="366382"/>
                    </a:cubicBezTo>
                    <a:lnTo>
                      <a:pt x="36876" y="364223"/>
                    </a:lnTo>
                    <a:cubicBezTo>
                      <a:pt x="33557" y="362604"/>
                      <a:pt x="28579" y="364763"/>
                      <a:pt x="25814" y="365842"/>
                    </a:cubicBezTo>
                    <a:cubicBezTo>
                      <a:pt x="24708" y="366382"/>
                      <a:pt x="17518" y="365842"/>
                      <a:pt x="15858" y="365303"/>
                    </a:cubicBezTo>
                    <a:cubicBezTo>
                      <a:pt x="7009" y="364223"/>
                      <a:pt x="10327" y="362064"/>
                      <a:pt x="5350" y="357747"/>
                    </a:cubicBezTo>
                    <a:cubicBezTo>
                      <a:pt x="4243" y="356667"/>
                      <a:pt x="1478" y="356127"/>
                      <a:pt x="925" y="355588"/>
                    </a:cubicBezTo>
                    <a:cubicBezTo>
                      <a:pt x="-734" y="353429"/>
                      <a:pt x="-734" y="350191"/>
                      <a:pt x="-181" y="347492"/>
                    </a:cubicBezTo>
                    <a:cubicBezTo>
                      <a:pt x="2584" y="338317"/>
                      <a:pt x="23049" y="338856"/>
                      <a:pt x="30792" y="331840"/>
                    </a:cubicBezTo>
                    <a:lnTo>
                      <a:pt x="30792" y="330760"/>
                    </a:lnTo>
                    <a:lnTo>
                      <a:pt x="28579" y="328062"/>
                    </a:lnTo>
                    <a:cubicBezTo>
                      <a:pt x="21389" y="325363"/>
                      <a:pt x="7562" y="323744"/>
                      <a:pt x="2031" y="319426"/>
                    </a:cubicBezTo>
                    <a:cubicBezTo>
                      <a:pt x="1478" y="315648"/>
                      <a:pt x="3690" y="312950"/>
                      <a:pt x="6456" y="309711"/>
                    </a:cubicBezTo>
                    <a:cubicBezTo>
                      <a:pt x="9774" y="305933"/>
                      <a:pt x="16411" y="303235"/>
                      <a:pt x="21389" y="304854"/>
                    </a:cubicBezTo>
                    <a:cubicBezTo>
                      <a:pt x="26920" y="307013"/>
                      <a:pt x="28026" y="314569"/>
                      <a:pt x="41301" y="314029"/>
                    </a:cubicBezTo>
                    <a:cubicBezTo>
                      <a:pt x="51809" y="313489"/>
                      <a:pt x="45172" y="303774"/>
                      <a:pt x="47385" y="299996"/>
                    </a:cubicBezTo>
                    <a:lnTo>
                      <a:pt x="49597" y="296758"/>
                    </a:lnTo>
                    <a:cubicBezTo>
                      <a:pt x="49597" y="296218"/>
                      <a:pt x="56234" y="294059"/>
                      <a:pt x="57340" y="292980"/>
                    </a:cubicBezTo>
                    <a:cubicBezTo>
                      <a:pt x="62318" y="289741"/>
                      <a:pt x="65637" y="285424"/>
                      <a:pt x="71168" y="283265"/>
                    </a:cubicBezTo>
                    <a:cubicBezTo>
                      <a:pt x="76145" y="284344"/>
                      <a:pt x="80570" y="286503"/>
                      <a:pt x="85548" y="287043"/>
                    </a:cubicBezTo>
                    <a:cubicBezTo>
                      <a:pt x="92738" y="288122"/>
                      <a:pt x="100481" y="288122"/>
                      <a:pt x="107672" y="287583"/>
                    </a:cubicBezTo>
                    <a:cubicBezTo>
                      <a:pt x="111543" y="287043"/>
                      <a:pt x="131455" y="282725"/>
                      <a:pt x="132008" y="282725"/>
                    </a:cubicBezTo>
                    <a:cubicBezTo>
                      <a:pt x="134773" y="283265"/>
                      <a:pt x="136985" y="283805"/>
                      <a:pt x="139198" y="282725"/>
                    </a:cubicBezTo>
                    <a:lnTo>
                      <a:pt x="138645" y="280566"/>
                    </a:lnTo>
                    <a:cubicBezTo>
                      <a:pt x="118180" y="262755"/>
                      <a:pt x="112096" y="278407"/>
                      <a:pt x="92185" y="280566"/>
                    </a:cubicBezTo>
                    <a:cubicBezTo>
                      <a:pt x="88313" y="281106"/>
                      <a:pt x="79464" y="277328"/>
                      <a:pt x="75039" y="276788"/>
                    </a:cubicBezTo>
                    <a:cubicBezTo>
                      <a:pt x="69508" y="276248"/>
                      <a:pt x="61765" y="279487"/>
                      <a:pt x="56234" y="276788"/>
                    </a:cubicBezTo>
                    <a:cubicBezTo>
                      <a:pt x="55681" y="276248"/>
                      <a:pt x="54575" y="274629"/>
                      <a:pt x="54022" y="273550"/>
                    </a:cubicBezTo>
                    <a:cubicBezTo>
                      <a:pt x="54575" y="263295"/>
                      <a:pt x="77805" y="265994"/>
                      <a:pt x="89420" y="257358"/>
                    </a:cubicBezTo>
                    <a:cubicBezTo>
                      <a:pt x="96610" y="251961"/>
                      <a:pt x="85548" y="240087"/>
                      <a:pt x="106565" y="224435"/>
                    </a:cubicBezTo>
                    <a:cubicBezTo>
                      <a:pt x="117074" y="216879"/>
                      <a:pt x="122605" y="229292"/>
                      <a:pt x="134773" y="221197"/>
                    </a:cubicBezTo>
                    <a:lnTo>
                      <a:pt x="135326" y="219038"/>
                    </a:lnTo>
                    <a:cubicBezTo>
                      <a:pt x="134220" y="217419"/>
                      <a:pt x="131455" y="212021"/>
                      <a:pt x="129242" y="211482"/>
                    </a:cubicBezTo>
                    <a:cubicBezTo>
                      <a:pt x="123158" y="209323"/>
                      <a:pt x="93844" y="210402"/>
                      <a:pt x="92738" y="205545"/>
                    </a:cubicBezTo>
                    <a:cubicBezTo>
                      <a:pt x="91632" y="201767"/>
                      <a:pt x="94950" y="196909"/>
                      <a:pt x="93844" y="191512"/>
                    </a:cubicBezTo>
                    <a:cubicBezTo>
                      <a:pt x="89420" y="189353"/>
                      <a:pt x="79464" y="195290"/>
                      <a:pt x="73933" y="190972"/>
                    </a:cubicBezTo>
                    <a:cubicBezTo>
                      <a:pt x="72827" y="189893"/>
                      <a:pt x="73380" y="186115"/>
                      <a:pt x="72274" y="184495"/>
                    </a:cubicBezTo>
                    <a:cubicBezTo>
                      <a:pt x="71168" y="181797"/>
                      <a:pt x="67296" y="180178"/>
                      <a:pt x="65637" y="178019"/>
                    </a:cubicBezTo>
                    <a:cubicBezTo>
                      <a:pt x="63424" y="174780"/>
                      <a:pt x="60106" y="165605"/>
                      <a:pt x="63977" y="162367"/>
                    </a:cubicBezTo>
                    <a:cubicBezTo>
                      <a:pt x="66190" y="160208"/>
                      <a:pt x="73933" y="161287"/>
                      <a:pt x="80017" y="152652"/>
                    </a:cubicBezTo>
                    <a:cubicBezTo>
                      <a:pt x="82229" y="148874"/>
                      <a:pt x="82782" y="144556"/>
                      <a:pt x="84995" y="140778"/>
                    </a:cubicBezTo>
                    <a:cubicBezTo>
                      <a:pt x="89973" y="137540"/>
                      <a:pt x="98269" y="142397"/>
                      <a:pt x="104353" y="137540"/>
                    </a:cubicBezTo>
                    <a:cubicBezTo>
                      <a:pt x="106012" y="136460"/>
                      <a:pt x="107672" y="131063"/>
                      <a:pt x="107672" y="129444"/>
                    </a:cubicBezTo>
                    <a:cubicBezTo>
                      <a:pt x="104353" y="125666"/>
                      <a:pt x="94950" y="128904"/>
                      <a:pt x="89973" y="123507"/>
                    </a:cubicBezTo>
                    <a:lnTo>
                      <a:pt x="90526" y="120268"/>
                    </a:lnTo>
                    <a:cubicBezTo>
                      <a:pt x="95504" y="115411"/>
                      <a:pt x="94950" y="98679"/>
                      <a:pt x="91632" y="93282"/>
                    </a:cubicBezTo>
                    <a:cubicBezTo>
                      <a:pt x="90526" y="91663"/>
                      <a:pt x="85548" y="91123"/>
                      <a:pt x="83889" y="90044"/>
                    </a:cubicBezTo>
                    <a:cubicBezTo>
                      <a:pt x="81676" y="84107"/>
                      <a:pt x="89420" y="76551"/>
                      <a:pt x="94397" y="74932"/>
                    </a:cubicBezTo>
                    <a:lnTo>
                      <a:pt x="95504" y="78170"/>
                    </a:lnTo>
                    <a:lnTo>
                      <a:pt x="97716" y="80329"/>
                    </a:lnTo>
                    <a:cubicBezTo>
                      <a:pt x="102141" y="80869"/>
                      <a:pt x="101588" y="78170"/>
                      <a:pt x="104906" y="77091"/>
                    </a:cubicBezTo>
                    <a:cubicBezTo>
                      <a:pt x="108778" y="75471"/>
                      <a:pt x="133667" y="83027"/>
                      <a:pt x="138645" y="85186"/>
                    </a:cubicBezTo>
                    <a:cubicBezTo>
                      <a:pt x="149154" y="88964"/>
                      <a:pt x="143070" y="94901"/>
                      <a:pt x="148600" y="99759"/>
                    </a:cubicBezTo>
                    <a:cubicBezTo>
                      <a:pt x="152472" y="102997"/>
                      <a:pt x="156897" y="94901"/>
                      <a:pt x="166852" y="97060"/>
                    </a:cubicBezTo>
                    <a:cubicBezTo>
                      <a:pt x="175702" y="98679"/>
                      <a:pt x="180680" y="103537"/>
                      <a:pt x="190635" y="104077"/>
                    </a:cubicBezTo>
                    <a:lnTo>
                      <a:pt x="191742" y="102458"/>
                    </a:lnTo>
                    <a:lnTo>
                      <a:pt x="192295" y="99219"/>
                    </a:lnTo>
                    <a:cubicBezTo>
                      <a:pt x="191189" y="97600"/>
                      <a:pt x="186764" y="95441"/>
                      <a:pt x="186211" y="94362"/>
                    </a:cubicBezTo>
                    <a:cubicBezTo>
                      <a:pt x="185658" y="93282"/>
                      <a:pt x="186764" y="90584"/>
                      <a:pt x="187317" y="90044"/>
                    </a:cubicBezTo>
                    <a:cubicBezTo>
                      <a:pt x="189529" y="87885"/>
                      <a:pt x="197273" y="85186"/>
                      <a:pt x="200591" y="83567"/>
                    </a:cubicBezTo>
                    <a:cubicBezTo>
                      <a:pt x="202250" y="83027"/>
                      <a:pt x="203357" y="81408"/>
                      <a:pt x="205016" y="80869"/>
                    </a:cubicBezTo>
                    <a:cubicBezTo>
                      <a:pt x="215525" y="78170"/>
                      <a:pt x="217737" y="84647"/>
                      <a:pt x="226586" y="73852"/>
                    </a:cubicBezTo>
                    <a:cubicBezTo>
                      <a:pt x="228799" y="71693"/>
                      <a:pt x="229352" y="69534"/>
                      <a:pt x="229352" y="66836"/>
                    </a:cubicBezTo>
                    <a:cubicBezTo>
                      <a:pt x="217737" y="61439"/>
                      <a:pt x="182892" y="68995"/>
                      <a:pt x="190635" y="48485"/>
                    </a:cubicBezTo>
                    <a:cubicBezTo>
                      <a:pt x="197273" y="43628"/>
                      <a:pt x="203357" y="50644"/>
                      <a:pt x="211100" y="43628"/>
                    </a:cubicBezTo>
                    <a:cubicBezTo>
                      <a:pt x="213312" y="41469"/>
                      <a:pt x="219396" y="34452"/>
                      <a:pt x="221055" y="31754"/>
                    </a:cubicBezTo>
                    <a:cubicBezTo>
                      <a:pt x="222162" y="29055"/>
                      <a:pt x="222162" y="25277"/>
                      <a:pt x="223268" y="22039"/>
                    </a:cubicBezTo>
                    <a:cubicBezTo>
                      <a:pt x="225480" y="15562"/>
                      <a:pt x="231011" y="8006"/>
                      <a:pt x="235436" y="2609"/>
                    </a:cubicBezTo>
                    <a:lnTo>
                      <a:pt x="238201" y="2609"/>
                    </a:lnTo>
                    <a:cubicBezTo>
                      <a:pt x="242073" y="9085"/>
                      <a:pt x="248157" y="2069"/>
                      <a:pt x="253135" y="3148"/>
                    </a:cubicBezTo>
                    <a:cubicBezTo>
                      <a:pt x="255347" y="3148"/>
                      <a:pt x="259219" y="6387"/>
                      <a:pt x="261431" y="5847"/>
                    </a:cubicBezTo>
                    <a:cubicBezTo>
                      <a:pt x="262537" y="5847"/>
                      <a:pt x="270281" y="-2789"/>
                      <a:pt x="278024" y="450"/>
                    </a:cubicBezTo>
                    <a:cubicBezTo>
                      <a:pt x="278577" y="990"/>
                      <a:pt x="279130" y="3688"/>
                      <a:pt x="279683" y="4768"/>
                    </a:cubicBezTo>
                    <a:cubicBezTo>
                      <a:pt x="280789" y="13943"/>
                      <a:pt x="268068" y="18800"/>
                      <a:pt x="270834" y="29595"/>
                    </a:cubicBezTo>
                    <a:cubicBezTo>
                      <a:pt x="272493" y="30674"/>
                      <a:pt x="274705" y="31214"/>
                      <a:pt x="276918" y="30674"/>
                    </a:cubicBezTo>
                    <a:cubicBezTo>
                      <a:pt x="278577" y="29055"/>
                      <a:pt x="281896" y="25277"/>
                      <a:pt x="283002" y="23118"/>
                    </a:cubicBezTo>
                    <a:cubicBezTo>
                      <a:pt x="284661" y="19880"/>
                      <a:pt x="288533" y="4228"/>
                      <a:pt x="290745" y="2609"/>
                    </a:cubicBezTo>
                    <a:cubicBezTo>
                      <a:pt x="294064" y="990"/>
                      <a:pt x="300701" y="1529"/>
                      <a:pt x="304572" y="2609"/>
                    </a:cubicBezTo>
                    <a:cubicBezTo>
                      <a:pt x="308444" y="3688"/>
                      <a:pt x="318953" y="6926"/>
                      <a:pt x="321165" y="10165"/>
                    </a:cubicBezTo>
                    <a:lnTo>
                      <a:pt x="320612" y="12324"/>
                    </a:lnTo>
                    <a:cubicBezTo>
                      <a:pt x="316187" y="16102"/>
                      <a:pt x="301254" y="13403"/>
                      <a:pt x="302360" y="25817"/>
                    </a:cubicBezTo>
                    <a:lnTo>
                      <a:pt x="303466" y="27976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7" name="Freeform 1079">
                <a:extLst>
                  <a:ext uri="{FF2B5EF4-FFF2-40B4-BE49-F238E27FC236}">
                    <a16:creationId xmlns:a16="http://schemas.microsoft.com/office/drawing/2014/main" id="{07BBB298-2A56-49E1-869C-A9C5F2BA8D1F}"/>
                  </a:ext>
                </a:extLst>
              </p:cNvPr>
              <p:cNvSpPr/>
              <p:nvPr/>
            </p:nvSpPr>
            <p:spPr>
              <a:xfrm>
                <a:off x="6883609" y="3991856"/>
                <a:ext cx="523225" cy="372948"/>
              </a:xfrm>
              <a:custGeom>
                <a:avLst/>
                <a:gdLst>
                  <a:gd name="connsiteX0" fmla="*/ 86059 w 523225"/>
                  <a:gd name="connsiteY0" fmla="*/ 121062 h 372948"/>
                  <a:gd name="connsiteX1" fmla="*/ 58958 w 523225"/>
                  <a:gd name="connsiteY1" fmla="*/ 119443 h 372948"/>
                  <a:gd name="connsiteX2" fmla="*/ 63935 w 523225"/>
                  <a:gd name="connsiteY2" fmla="*/ 134016 h 372948"/>
                  <a:gd name="connsiteX3" fmla="*/ 58958 w 523225"/>
                  <a:gd name="connsiteY3" fmla="*/ 140492 h 372948"/>
                  <a:gd name="connsiteX4" fmla="*/ 66148 w 523225"/>
                  <a:gd name="connsiteY4" fmla="*/ 153446 h 372948"/>
                  <a:gd name="connsiteX5" fmla="*/ 60064 w 523225"/>
                  <a:gd name="connsiteY5" fmla="*/ 159922 h 372948"/>
                  <a:gd name="connsiteX6" fmla="*/ 43471 w 523225"/>
                  <a:gd name="connsiteY6" fmla="*/ 161541 h 372948"/>
                  <a:gd name="connsiteX7" fmla="*/ 39046 w 523225"/>
                  <a:gd name="connsiteY7" fmla="*/ 159383 h 372948"/>
                  <a:gd name="connsiteX8" fmla="*/ 31303 w 523225"/>
                  <a:gd name="connsiteY8" fmla="*/ 156144 h 372948"/>
                  <a:gd name="connsiteX9" fmla="*/ 15816 w 523225"/>
                  <a:gd name="connsiteY9" fmla="*/ 164780 h 372948"/>
                  <a:gd name="connsiteX10" fmla="*/ 19135 w 523225"/>
                  <a:gd name="connsiteY10" fmla="*/ 169637 h 372948"/>
                  <a:gd name="connsiteX11" fmla="*/ 27984 w 523225"/>
                  <a:gd name="connsiteY11" fmla="*/ 171796 h 372948"/>
                  <a:gd name="connsiteX12" fmla="*/ 35728 w 523225"/>
                  <a:gd name="connsiteY12" fmla="*/ 176654 h 372948"/>
                  <a:gd name="connsiteX13" fmla="*/ 32409 w 523225"/>
                  <a:gd name="connsiteY13" fmla="*/ 186908 h 372948"/>
                  <a:gd name="connsiteX14" fmla="*/ 21347 w 523225"/>
                  <a:gd name="connsiteY14" fmla="*/ 195544 h 372948"/>
                  <a:gd name="connsiteX15" fmla="*/ 27431 w 523225"/>
                  <a:gd name="connsiteY15" fmla="*/ 243040 h 372948"/>
                  <a:gd name="connsiteX16" fmla="*/ 11392 w 523225"/>
                  <a:gd name="connsiteY16" fmla="*/ 248437 h 372948"/>
                  <a:gd name="connsiteX17" fmla="*/ -776 w 523225"/>
                  <a:gd name="connsiteY17" fmla="*/ 267867 h 372948"/>
                  <a:gd name="connsiteX18" fmla="*/ 18029 w 523225"/>
                  <a:gd name="connsiteY18" fmla="*/ 265708 h 372948"/>
                  <a:gd name="connsiteX19" fmla="*/ 25219 w 523225"/>
                  <a:gd name="connsiteY19" fmla="*/ 285678 h 372948"/>
                  <a:gd name="connsiteX20" fmla="*/ 39599 w 523225"/>
                  <a:gd name="connsiteY20" fmla="*/ 302409 h 372948"/>
                  <a:gd name="connsiteX21" fmla="*/ 64488 w 523225"/>
                  <a:gd name="connsiteY21" fmla="*/ 315902 h 372948"/>
                  <a:gd name="connsiteX22" fmla="*/ 74997 w 523225"/>
                  <a:gd name="connsiteY22" fmla="*/ 327237 h 372948"/>
                  <a:gd name="connsiteX23" fmla="*/ 83847 w 523225"/>
                  <a:gd name="connsiteY23" fmla="*/ 333174 h 372948"/>
                  <a:gd name="connsiteX24" fmla="*/ 91037 w 523225"/>
                  <a:gd name="connsiteY24" fmla="*/ 341809 h 372948"/>
                  <a:gd name="connsiteX25" fmla="*/ 110948 w 523225"/>
                  <a:gd name="connsiteY25" fmla="*/ 357461 h 372948"/>
                  <a:gd name="connsiteX26" fmla="*/ 138050 w 523225"/>
                  <a:gd name="connsiteY26" fmla="*/ 359080 h 372948"/>
                  <a:gd name="connsiteX27" fmla="*/ 161280 w 523225"/>
                  <a:gd name="connsiteY27" fmla="*/ 369335 h 372948"/>
                  <a:gd name="connsiteX28" fmla="*/ 197784 w 523225"/>
                  <a:gd name="connsiteY28" fmla="*/ 368256 h 372948"/>
                  <a:gd name="connsiteX29" fmla="*/ 202761 w 523225"/>
                  <a:gd name="connsiteY29" fmla="*/ 372573 h 372948"/>
                  <a:gd name="connsiteX30" fmla="*/ 214929 w 523225"/>
                  <a:gd name="connsiteY30" fmla="*/ 366097 h 372948"/>
                  <a:gd name="connsiteX31" fmla="*/ 223226 w 523225"/>
                  <a:gd name="connsiteY31" fmla="*/ 353143 h 372948"/>
                  <a:gd name="connsiteX32" fmla="*/ 243690 w 523225"/>
                  <a:gd name="connsiteY32" fmla="*/ 350984 h 372948"/>
                  <a:gd name="connsiteX33" fmla="*/ 258624 w 523225"/>
                  <a:gd name="connsiteY33" fmla="*/ 333713 h 372948"/>
                  <a:gd name="connsiteX34" fmla="*/ 273004 w 523225"/>
                  <a:gd name="connsiteY34" fmla="*/ 332094 h 372948"/>
                  <a:gd name="connsiteX35" fmla="*/ 301212 w 523225"/>
                  <a:gd name="connsiteY35" fmla="*/ 305108 h 372948"/>
                  <a:gd name="connsiteX36" fmla="*/ 318358 w 523225"/>
                  <a:gd name="connsiteY36" fmla="*/ 308886 h 372948"/>
                  <a:gd name="connsiteX37" fmla="*/ 338822 w 523225"/>
                  <a:gd name="connsiteY37" fmla="*/ 302409 h 372948"/>
                  <a:gd name="connsiteX38" fmla="*/ 357627 w 523225"/>
                  <a:gd name="connsiteY38" fmla="*/ 305108 h 372948"/>
                  <a:gd name="connsiteX39" fmla="*/ 369795 w 523225"/>
                  <a:gd name="connsiteY39" fmla="*/ 295933 h 372948"/>
                  <a:gd name="connsiteX40" fmla="*/ 382516 w 523225"/>
                  <a:gd name="connsiteY40" fmla="*/ 295393 h 372948"/>
                  <a:gd name="connsiteX41" fmla="*/ 390813 w 523225"/>
                  <a:gd name="connsiteY41" fmla="*/ 281360 h 372948"/>
                  <a:gd name="connsiteX42" fmla="*/ 415149 w 523225"/>
                  <a:gd name="connsiteY42" fmla="*/ 276503 h 372948"/>
                  <a:gd name="connsiteX43" fmla="*/ 446122 w 523225"/>
                  <a:gd name="connsiteY43" fmla="*/ 194465 h 372948"/>
                  <a:gd name="connsiteX44" fmla="*/ 453312 w 523225"/>
                  <a:gd name="connsiteY44" fmla="*/ 153446 h 372948"/>
                  <a:gd name="connsiteX45" fmla="*/ 467139 w 523225"/>
                  <a:gd name="connsiteY45" fmla="*/ 132396 h 372948"/>
                  <a:gd name="connsiteX46" fmla="*/ 460502 w 523225"/>
                  <a:gd name="connsiteY46" fmla="*/ 114586 h 372948"/>
                  <a:gd name="connsiteX47" fmla="*/ 474883 w 523225"/>
                  <a:gd name="connsiteY47" fmla="*/ 91377 h 372948"/>
                  <a:gd name="connsiteX48" fmla="*/ 497560 w 523225"/>
                  <a:gd name="connsiteY48" fmla="*/ 73027 h 372948"/>
                  <a:gd name="connsiteX49" fmla="*/ 513599 w 523225"/>
                  <a:gd name="connsiteY49" fmla="*/ 68169 h 372948"/>
                  <a:gd name="connsiteX50" fmla="*/ 522449 w 523225"/>
                  <a:gd name="connsiteY50" fmla="*/ 44961 h 372948"/>
                  <a:gd name="connsiteX51" fmla="*/ 513046 w 523225"/>
                  <a:gd name="connsiteY51" fmla="*/ 35786 h 372948"/>
                  <a:gd name="connsiteX52" fmla="*/ 494794 w 523225"/>
                  <a:gd name="connsiteY52" fmla="*/ 31468 h 372948"/>
                  <a:gd name="connsiteX53" fmla="*/ 451653 w 523225"/>
                  <a:gd name="connsiteY53" fmla="*/ 6101 h 372948"/>
                  <a:gd name="connsiteX54" fmla="*/ 428423 w 523225"/>
                  <a:gd name="connsiteY54" fmla="*/ 21753 h 372948"/>
                  <a:gd name="connsiteX55" fmla="*/ 399109 w 523225"/>
                  <a:gd name="connsiteY55" fmla="*/ -375 h 372948"/>
                  <a:gd name="connsiteX56" fmla="*/ 368689 w 523225"/>
                  <a:gd name="connsiteY56" fmla="*/ 13657 h 372948"/>
                  <a:gd name="connsiteX57" fmla="*/ 336057 w 523225"/>
                  <a:gd name="connsiteY57" fmla="*/ 9340 h 372948"/>
                  <a:gd name="connsiteX58" fmla="*/ 321123 w 523225"/>
                  <a:gd name="connsiteY58" fmla="*/ 17975 h 372948"/>
                  <a:gd name="connsiteX59" fmla="*/ 310061 w 523225"/>
                  <a:gd name="connsiteY59" fmla="*/ 51438 h 372948"/>
                  <a:gd name="connsiteX60" fmla="*/ 298446 w 523225"/>
                  <a:gd name="connsiteY60" fmla="*/ 56835 h 372948"/>
                  <a:gd name="connsiteX61" fmla="*/ 288491 w 523225"/>
                  <a:gd name="connsiteY61" fmla="*/ 70328 h 372948"/>
                  <a:gd name="connsiteX62" fmla="*/ 257518 w 523225"/>
                  <a:gd name="connsiteY62" fmla="*/ 61693 h 372948"/>
                  <a:gd name="connsiteX63" fmla="*/ 245903 w 523225"/>
                  <a:gd name="connsiteY63" fmla="*/ 83821 h 372948"/>
                  <a:gd name="connsiteX64" fmla="*/ 205527 w 523225"/>
                  <a:gd name="connsiteY64" fmla="*/ 93536 h 372948"/>
                  <a:gd name="connsiteX65" fmla="*/ 198890 w 523225"/>
                  <a:gd name="connsiteY65" fmla="*/ 107569 h 372948"/>
                  <a:gd name="connsiteX66" fmla="*/ 202208 w 523225"/>
                  <a:gd name="connsiteY66" fmla="*/ 115125 h 372948"/>
                  <a:gd name="connsiteX67" fmla="*/ 197231 w 523225"/>
                  <a:gd name="connsiteY67" fmla="*/ 128079 h 372948"/>
                  <a:gd name="connsiteX68" fmla="*/ 145793 w 523225"/>
                  <a:gd name="connsiteY68" fmla="*/ 140492 h 372948"/>
                  <a:gd name="connsiteX69" fmla="*/ 116479 w 523225"/>
                  <a:gd name="connsiteY69" fmla="*/ 139953 h 372948"/>
                  <a:gd name="connsiteX70" fmla="*/ 86059 w 523225"/>
                  <a:gd name="connsiteY70" fmla="*/ 121062 h 372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523225" h="372948">
                    <a:moveTo>
                      <a:pt x="86059" y="121062"/>
                    </a:moveTo>
                    <a:lnTo>
                      <a:pt x="58958" y="119443"/>
                    </a:lnTo>
                    <a:lnTo>
                      <a:pt x="63935" y="134016"/>
                    </a:lnTo>
                    <a:lnTo>
                      <a:pt x="58958" y="140492"/>
                    </a:lnTo>
                    <a:lnTo>
                      <a:pt x="66148" y="153446"/>
                    </a:lnTo>
                    <a:lnTo>
                      <a:pt x="60064" y="159922"/>
                    </a:lnTo>
                    <a:lnTo>
                      <a:pt x="43471" y="161541"/>
                    </a:lnTo>
                    <a:lnTo>
                      <a:pt x="39046" y="159383"/>
                    </a:lnTo>
                    <a:lnTo>
                      <a:pt x="31303" y="156144"/>
                    </a:lnTo>
                    <a:lnTo>
                      <a:pt x="15816" y="164780"/>
                    </a:lnTo>
                    <a:lnTo>
                      <a:pt x="19135" y="169637"/>
                    </a:lnTo>
                    <a:lnTo>
                      <a:pt x="27984" y="171796"/>
                    </a:lnTo>
                    <a:lnTo>
                      <a:pt x="35728" y="176654"/>
                    </a:lnTo>
                    <a:lnTo>
                      <a:pt x="32409" y="186908"/>
                    </a:lnTo>
                    <a:lnTo>
                      <a:pt x="21347" y="195544"/>
                    </a:lnTo>
                    <a:lnTo>
                      <a:pt x="27431" y="243040"/>
                    </a:lnTo>
                    <a:lnTo>
                      <a:pt x="11392" y="248437"/>
                    </a:lnTo>
                    <a:lnTo>
                      <a:pt x="-776" y="267867"/>
                    </a:lnTo>
                    <a:lnTo>
                      <a:pt x="18029" y="265708"/>
                    </a:lnTo>
                    <a:lnTo>
                      <a:pt x="25219" y="285678"/>
                    </a:lnTo>
                    <a:lnTo>
                      <a:pt x="39599" y="302409"/>
                    </a:lnTo>
                    <a:lnTo>
                      <a:pt x="64488" y="315902"/>
                    </a:lnTo>
                    <a:lnTo>
                      <a:pt x="74997" y="327237"/>
                    </a:lnTo>
                    <a:cubicBezTo>
                      <a:pt x="77763" y="329395"/>
                      <a:pt x="81081" y="331015"/>
                      <a:pt x="83847" y="333174"/>
                    </a:cubicBezTo>
                    <a:cubicBezTo>
                      <a:pt x="86612" y="335332"/>
                      <a:pt x="88271" y="339110"/>
                      <a:pt x="91037" y="341809"/>
                    </a:cubicBezTo>
                    <a:cubicBezTo>
                      <a:pt x="97121" y="347206"/>
                      <a:pt x="104311" y="353143"/>
                      <a:pt x="110948" y="357461"/>
                    </a:cubicBezTo>
                    <a:cubicBezTo>
                      <a:pt x="114267" y="359080"/>
                      <a:pt x="131966" y="357461"/>
                      <a:pt x="138050" y="359080"/>
                    </a:cubicBezTo>
                    <a:cubicBezTo>
                      <a:pt x="145240" y="361239"/>
                      <a:pt x="144687" y="369875"/>
                      <a:pt x="161280" y="369335"/>
                    </a:cubicBezTo>
                    <a:cubicBezTo>
                      <a:pt x="172341" y="369335"/>
                      <a:pt x="186722" y="364477"/>
                      <a:pt x="197784" y="368256"/>
                    </a:cubicBezTo>
                    <a:cubicBezTo>
                      <a:pt x="199996" y="369335"/>
                      <a:pt x="201102" y="371494"/>
                      <a:pt x="202761" y="372573"/>
                    </a:cubicBezTo>
                    <a:lnTo>
                      <a:pt x="214929" y="366097"/>
                    </a:lnTo>
                    <a:lnTo>
                      <a:pt x="223226" y="353143"/>
                    </a:lnTo>
                    <a:lnTo>
                      <a:pt x="243690" y="350984"/>
                    </a:lnTo>
                    <a:lnTo>
                      <a:pt x="258624" y="333713"/>
                    </a:lnTo>
                    <a:lnTo>
                      <a:pt x="273004" y="332094"/>
                    </a:lnTo>
                    <a:lnTo>
                      <a:pt x="301212" y="305108"/>
                    </a:lnTo>
                    <a:lnTo>
                      <a:pt x="318358" y="308886"/>
                    </a:lnTo>
                    <a:lnTo>
                      <a:pt x="338822" y="302409"/>
                    </a:lnTo>
                    <a:lnTo>
                      <a:pt x="357627" y="305108"/>
                    </a:lnTo>
                    <a:lnTo>
                      <a:pt x="369795" y="295933"/>
                    </a:lnTo>
                    <a:lnTo>
                      <a:pt x="382516" y="295393"/>
                    </a:lnTo>
                    <a:lnTo>
                      <a:pt x="390813" y="281360"/>
                    </a:lnTo>
                    <a:lnTo>
                      <a:pt x="415149" y="276503"/>
                    </a:lnTo>
                    <a:lnTo>
                      <a:pt x="446122" y="194465"/>
                    </a:lnTo>
                    <a:lnTo>
                      <a:pt x="453312" y="153446"/>
                    </a:lnTo>
                    <a:lnTo>
                      <a:pt x="467139" y="132396"/>
                    </a:lnTo>
                    <a:lnTo>
                      <a:pt x="460502" y="114586"/>
                    </a:lnTo>
                    <a:lnTo>
                      <a:pt x="474883" y="91377"/>
                    </a:lnTo>
                    <a:lnTo>
                      <a:pt x="497560" y="73027"/>
                    </a:lnTo>
                    <a:lnTo>
                      <a:pt x="513599" y="68169"/>
                    </a:lnTo>
                    <a:lnTo>
                      <a:pt x="522449" y="44961"/>
                    </a:lnTo>
                    <a:lnTo>
                      <a:pt x="513046" y="35786"/>
                    </a:lnTo>
                    <a:lnTo>
                      <a:pt x="494794" y="31468"/>
                    </a:lnTo>
                    <a:lnTo>
                      <a:pt x="451653" y="6101"/>
                    </a:lnTo>
                    <a:lnTo>
                      <a:pt x="428423" y="21753"/>
                    </a:lnTo>
                    <a:lnTo>
                      <a:pt x="399109" y="-375"/>
                    </a:lnTo>
                    <a:lnTo>
                      <a:pt x="368689" y="13657"/>
                    </a:lnTo>
                    <a:lnTo>
                      <a:pt x="336057" y="9340"/>
                    </a:lnTo>
                    <a:lnTo>
                      <a:pt x="321123" y="17975"/>
                    </a:lnTo>
                    <a:lnTo>
                      <a:pt x="310061" y="51438"/>
                    </a:lnTo>
                    <a:lnTo>
                      <a:pt x="298446" y="56835"/>
                    </a:lnTo>
                    <a:lnTo>
                      <a:pt x="288491" y="70328"/>
                    </a:lnTo>
                    <a:lnTo>
                      <a:pt x="257518" y="61693"/>
                    </a:lnTo>
                    <a:lnTo>
                      <a:pt x="245903" y="83821"/>
                    </a:lnTo>
                    <a:lnTo>
                      <a:pt x="205527" y="93536"/>
                    </a:lnTo>
                    <a:lnTo>
                      <a:pt x="198890" y="107569"/>
                    </a:lnTo>
                    <a:lnTo>
                      <a:pt x="202208" y="115125"/>
                    </a:lnTo>
                    <a:lnTo>
                      <a:pt x="197231" y="128079"/>
                    </a:lnTo>
                    <a:cubicBezTo>
                      <a:pt x="180085" y="134016"/>
                      <a:pt x="163492" y="137794"/>
                      <a:pt x="145793" y="140492"/>
                    </a:cubicBezTo>
                    <a:cubicBezTo>
                      <a:pt x="137497" y="142111"/>
                      <a:pt x="124775" y="141572"/>
                      <a:pt x="116479" y="139953"/>
                    </a:cubicBezTo>
                    <a:cubicBezTo>
                      <a:pt x="107630" y="138873"/>
                      <a:pt x="93802" y="126459"/>
                      <a:pt x="86059" y="121062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8" name="Freeform 1080">
                <a:extLst>
                  <a:ext uri="{FF2B5EF4-FFF2-40B4-BE49-F238E27FC236}">
                    <a16:creationId xmlns:a16="http://schemas.microsoft.com/office/drawing/2014/main" id="{768DC303-207D-4D08-B592-3812D5941FAC}"/>
                  </a:ext>
                </a:extLst>
              </p:cNvPr>
              <p:cNvSpPr/>
              <p:nvPr/>
            </p:nvSpPr>
            <p:spPr>
              <a:xfrm>
                <a:off x="6684563" y="4294641"/>
                <a:ext cx="495503" cy="459304"/>
              </a:xfrm>
              <a:custGeom>
                <a:avLst/>
                <a:gdLst>
                  <a:gd name="connsiteX0" fmla="*/ 287344 w 495503"/>
                  <a:gd name="connsiteY0" fmla="*/ 144226 h 459304"/>
                  <a:gd name="connsiteX1" fmla="*/ 249734 w 495503"/>
                  <a:gd name="connsiteY1" fmla="*/ 156100 h 459304"/>
                  <a:gd name="connsiteX2" fmla="*/ 238672 w 495503"/>
                  <a:gd name="connsiteY2" fmla="*/ 172292 h 459304"/>
                  <a:gd name="connsiteX3" fmla="*/ 227610 w 495503"/>
                  <a:gd name="connsiteY3" fmla="*/ 169053 h 459304"/>
                  <a:gd name="connsiteX4" fmla="*/ 222079 w 495503"/>
                  <a:gd name="connsiteY4" fmla="*/ 157719 h 459304"/>
                  <a:gd name="connsiteX5" fmla="*/ 208805 w 495503"/>
                  <a:gd name="connsiteY5" fmla="*/ 155560 h 459304"/>
                  <a:gd name="connsiteX6" fmla="*/ 200509 w 495503"/>
                  <a:gd name="connsiteY6" fmla="*/ 194420 h 459304"/>
                  <a:gd name="connsiteX7" fmla="*/ 255818 w 495503"/>
                  <a:gd name="connsiteY7" fmla="*/ 277538 h 459304"/>
                  <a:gd name="connsiteX8" fmla="*/ 281813 w 495503"/>
                  <a:gd name="connsiteY8" fmla="*/ 295349 h 459304"/>
                  <a:gd name="connsiteX9" fmla="*/ 322742 w 495503"/>
                  <a:gd name="connsiteY9" fmla="*/ 340146 h 459304"/>
                  <a:gd name="connsiteX10" fmla="*/ 350950 w 495503"/>
                  <a:gd name="connsiteY10" fmla="*/ 349321 h 459304"/>
                  <a:gd name="connsiteX11" fmla="*/ 381370 w 495503"/>
                  <a:gd name="connsiteY11" fmla="*/ 386562 h 459304"/>
                  <a:gd name="connsiteX12" fmla="*/ 379157 w 495503"/>
                  <a:gd name="connsiteY12" fmla="*/ 398975 h 459304"/>
                  <a:gd name="connsiteX13" fmla="*/ 370861 w 495503"/>
                  <a:gd name="connsiteY13" fmla="*/ 404912 h 459304"/>
                  <a:gd name="connsiteX14" fmla="*/ 349290 w 495503"/>
                  <a:gd name="connsiteY14" fmla="*/ 384943 h 459304"/>
                  <a:gd name="connsiteX15" fmla="*/ 324954 w 495503"/>
                  <a:gd name="connsiteY15" fmla="*/ 375228 h 459304"/>
                  <a:gd name="connsiteX16" fmla="*/ 308362 w 495503"/>
                  <a:gd name="connsiteY16" fmla="*/ 360655 h 459304"/>
                  <a:gd name="connsiteX17" fmla="*/ 299512 w 495503"/>
                  <a:gd name="connsiteY17" fmla="*/ 359036 h 459304"/>
                  <a:gd name="connsiteX18" fmla="*/ 266327 w 495503"/>
                  <a:gd name="connsiteY18" fmla="*/ 348781 h 459304"/>
                  <a:gd name="connsiteX19" fmla="*/ 231482 w 495503"/>
                  <a:gd name="connsiteY19" fmla="*/ 359036 h 459304"/>
                  <a:gd name="connsiteX20" fmla="*/ 224845 w 495503"/>
                  <a:gd name="connsiteY20" fmla="*/ 357417 h 459304"/>
                  <a:gd name="connsiteX21" fmla="*/ 224845 w 495503"/>
                  <a:gd name="connsiteY21" fmla="*/ 348781 h 459304"/>
                  <a:gd name="connsiteX22" fmla="*/ 211017 w 495503"/>
                  <a:gd name="connsiteY22" fmla="*/ 328811 h 459304"/>
                  <a:gd name="connsiteX23" fmla="*/ 206593 w 495503"/>
                  <a:gd name="connsiteY23" fmla="*/ 325033 h 459304"/>
                  <a:gd name="connsiteX24" fmla="*/ 159580 w 495503"/>
                  <a:gd name="connsiteY24" fmla="*/ 281856 h 459304"/>
                  <a:gd name="connsiteX25" fmla="*/ 176173 w 495503"/>
                  <a:gd name="connsiteY25" fmla="*/ 267823 h 459304"/>
                  <a:gd name="connsiteX26" fmla="*/ 175066 w 495503"/>
                  <a:gd name="connsiteY26" fmla="*/ 266204 h 459304"/>
                  <a:gd name="connsiteX27" fmla="*/ 149071 w 495503"/>
                  <a:gd name="connsiteY27" fmla="*/ 255409 h 459304"/>
                  <a:gd name="connsiteX28" fmla="*/ 145752 w 495503"/>
                  <a:gd name="connsiteY28" fmla="*/ 249472 h 459304"/>
                  <a:gd name="connsiteX29" fmla="*/ 133584 w 495503"/>
                  <a:gd name="connsiteY29" fmla="*/ 237058 h 459304"/>
                  <a:gd name="connsiteX30" fmla="*/ 130266 w 495503"/>
                  <a:gd name="connsiteY30" fmla="*/ 232201 h 459304"/>
                  <a:gd name="connsiteX31" fmla="*/ 124735 w 495503"/>
                  <a:gd name="connsiteY31" fmla="*/ 228423 h 459304"/>
                  <a:gd name="connsiteX32" fmla="*/ 116992 w 495503"/>
                  <a:gd name="connsiteY32" fmla="*/ 180388 h 459304"/>
                  <a:gd name="connsiteX33" fmla="*/ 115886 w 495503"/>
                  <a:gd name="connsiteY33" fmla="*/ 180388 h 459304"/>
                  <a:gd name="connsiteX34" fmla="*/ 104824 w 495503"/>
                  <a:gd name="connsiteY34" fmla="*/ 177149 h 459304"/>
                  <a:gd name="connsiteX35" fmla="*/ 92656 w 495503"/>
                  <a:gd name="connsiteY35" fmla="*/ 164736 h 459304"/>
                  <a:gd name="connsiteX36" fmla="*/ 67213 w 495503"/>
                  <a:gd name="connsiteY36" fmla="*/ 155560 h 459304"/>
                  <a:gd name="connsiteX37" fmla="*/ 57258 w 495503"/>
                  <a:gd name="connsiteY37" fmla="*/ 184705 h 459304"/>
                  <a:gd name="connsiteX38" fmla="*/ 40112 w 495503"/>
                  <a:gd name="connsiteY38" fmla="*/ 218708 h 459304"/>
                  <a:gd name="connsiteX39" fmla="*/ 23519 w 495503"/>
                  <a:gd name="connsiteY39" fmla="*/ 205215 h 459304"/>
                  <a:gd name="connsiteX40" fmla="*/ 10245 w 495503"/>
                  <a:gd name="connsiteY40" fmla="*/ 176609 h 459304"/>
                  <a:gd name="connsiteX41" fmla="*/ 3055 w 495503"/>
                  <a:gd name="connsiteY41" fmla="*/ 166355 h 459304"/>
                  <a:gd name="connsiteX42" fmla="*/ 5820 w 495503"/>
                  <a:gd name="connsiteY42" fmla="*/ 141527 h 459304"/>
                  <a:gd name="connsiteX43" fmla="*/ 47855 w 495503"/>
                  <a:gd name="connsiteY43" fmla="*/ 142067 h 459304"/>
                  <a:gd name="connsiteX44" fmla="*/ 69426 w 495503"/>
                  <a:gd name="connsiteY44" fmla="*/ 131812 h 459304"/>
                  <a:gd name="connsiteX45" fmla="*/ 85465 w 495503"/>
                  <a:gd name="connsiteY45" fmla="*/ 116160 h 459304"/>
                  <a:gd name="connsiteX46" fmla="*/ 95974 w 495503"/>
                  <a:gd name="connsiteY46" fmla="*/ 110223 h 459304"/>
                  <a:gd name="connsiteX47" fmla="*/ 104824 w 495503"/>
                  <a:gd name="connsiteY47" fmla="*/ 127495 h 459304"/>
                  <a:gd name="connsiteX48" fmla="*/ 118651 w 495503"/>
                  <a:gd name="connsiteY48" fmla="*/ 128574 h 459304"/>
                  <a:gd name="connsiteX49" fmla="*/ 130266 w 495503"/>
                  <a:gd name="connsiteY49" fmla="*/ 124796 h 459304"/>
                  <a:gd name="connsiteX50" fmla="*/ 145199 w 495503"/>
                  <a:gd name="connsiteY50" fmla="*/ 128574 h 459304"/>
                  <a:gd name="connsiteX51" fmla="*/ 155155 w 495503"/>
                  <a:gd name="connsiteY51" fmla="*/ 123717 h 459304"/>
                  <a:gd name="connsiteX52" fmla="*/ 159580 w 495503"/>
                  <a:gd name="connsiteY52" fmla="*/ 115621 h 459304"/>
                  <a:gd name="connsiteX53" fmla="*/ 160686 w 495503"/>
                  <a:gd name="connsiteY53" fmla="*/ 90793 h 459304"/>
                  <a:gd name="connsiteX54" fmla="*/ 181703 w 495503"/>
                  <a:gd name="connsiteY54" fmla="*/ 74062 h 459304"/>
                  <a:gd name="connsiteX55" fmla="*/ 182810 w 495503"/>
                  <a:gd name="connsiteY55" fmla="*/ 30344 h 459304"/>
                  <a:gd name="connsiteX56" fmla="*/ 208805 w 495503"/>
                  <a:gd name="connsiteY56" fmla="*/ 20629 h 459304"/>
                  <a:gd name="connsiteX57" fmla="*/ 238672 w 495503"/>
                  <a:gd name="connsiteY57" fmla="*/ -420 h 459304"/>
                  <a:gd name="connsiteX58" fmla="*/ 263561 w 495503"/>
                  <a:gd name="connsiteY58" fmla="*/ 13073 h 459304"/>
                  <a:gd name="connsiteX59" fmla="*/ 274070 w 495503"/>
                  <a:gd name="connsiteY59" fmla="*/ 24407 h 459304"/>
                  <a:gd name="connsiteX60" fmla="*/ 282919 w 495503"/>
                  <a:gd name="connsiteY60" fmla="*/ 30344 h 459304"/>
                  <a:gd name="connsiteX61" fmla="*/ 290110 w 495503"/>
                  <a:gd name="connsiteY61" fmla="*/ 38980 h 459304"/>
                  <a:gd name="connsiteX62" fmla="*/ 310021 w 495503"/>
                  <a:gd name="connsiteY62" fmla="*/ 54632 h 459304"/>
                  <a:gd name="connsiteX63" fmla="*/ 337122 w 495503"/>
                  <a:gd name="connsiteY63" fmla="*/ 56251 h 459304"/>
                  <a:gd name="connsiteX64" fmla="*/ 360352 w 495503"/>
                  <a:gd name="connsiteY64" fmla="*/ 66506 h 459304"/>
                  <a:gd name="connsiteX65" fmla="*/ 396856 w 495503"/>
                  <a:gd name="connsiteY65" fmla="*/ 65426 h 459304"/>
                  <a:gd name="connsiteX66" fmla="*/ 401834 w 495503"/>
                  <a:gd name="connsiteY66" fmla="*/ 69744 h 459304"/>
                  <a:gd name="connsiteX67" fmla="*/ 414002 w 495503"/>
                  <a:gd name="connsiteY67" fmla="*/ 63268 h 459304"/>
                  <a:gd name="connsiteX68" fmla="*/ 422299 w 495503"/>
                  <a:gd name="connsiteY68" fmla="*/ 50314 h 459304"/>
                  <a:gd name="connsiteX69" fmla="*/ 442763 w 495503"/>
                  <a:gd name="connsiteY69" fmla="*/ 48155 h 459304"/>
                  <a:gd name="connsiteX70" fmla="*/ 444975 w 495503"/>
                  <a:gd name="connsiteY70" fmla="*/ 60029 h 459304"/>
                  <a:gd name="connsiteX71" fmla="*/ 456590 w 495503"/>
                  <a:gd name="connsiteY71" fmla="*/ 85936 h 459304"/>
                  <a:gd name="connsiteX72" fmla="*/ 468205 w 495503"/>
                  <a:gd name="connsiteY72" fmla="*/ 105906 h 459304"/>
                  <a:gd name="connsiteX73" fmla="*/ 487563 w 495503"/>
                  <a:gd name="connsiteY73" fmla="*/ 112922 h 459304"/>
                  <a:gd name="connsiteX74" fmla="*/ 481479 w 495503"/>
                  <a:gd name="connsiteY74" fmla="*/ 139908 h 459304"/>
                  <a:gd name="connsiteX75" fmla="*/ 494754 w 495503"/>
                  <a:gd name="connsiteY75" fmla="*/ 155021 h 459304"/>
                  <a:gd name="connsiteX76" fmla="*/ 480373 w 495503"/>
                  <a:gd name="connsiteY76" fmla="*/ 155560 h 459304"/>
                  <a:gd name="connsiteX77" fmla="*/ 451059 w 495503"/>
                  <a:gd name="connsiteY77" fmla="*/ 164736 h 459304"/>
                  <a:gd name="connsiteX78" fmla="*/ 438891 w 495503"/>
                  <a:gd name="connsiteY78" fmla="*/ 146925 h 459304"/>
                  <a:gd name="connsiteX79" fmla="*/ 417874 w 495503"/>
                  <a:gd name="connsiteY79" fmla="*/ 145306 h 459304"/>
                  <a:gd name="connsiteX80" fmla="*/ 399069 w 495503"/>
                  <a:gd name="connsiteY80" fmla="*/ 142607 h 459304"/>
                  <a:gd name="connsiteX81" fmla="*/ 389666 w 495503"/>
                  <a:gd name="connsiteY81" fmla="*/ 148004 h 459304"/>
                  <a:gd name="connsiteX82" fmla="*/ 378604 w 495503"/>
                  <a:gd name="connsiteY82" fmla="*/ 145845 h 459304"/>
                  <a:gd name="connsiteX83" fmla="*/ 365883 w 495503"/>
                  <a:gd name="connsiteY83" fmla="*/ 154481 h 459304"/>
                  <a:gd name="connsiteX84" fmla="*/ 351503 w 495503"/>
                  <a:gd name="connsiteY84" fmla="*/ 151782 h 459304"/>
                  <a:gd name="connsiteX85" fmla="*/ 339888 w 495503"/>
                  <a:gd name="connsiteY85" fmla="*/ 152862 h 459304"/>
                  <a:gd name="connsiteX86" fmla="*/ 287344 w 495503"/>
                  <a:gd name="connsiteY86" fmla="*/ 144226 h 459304"/>
                  <a:gd name="connsiteX87" fmla="*/ 458249 w 495503"/>
                  <a:gd name="connsiteY87" fmla="*/ 458885 h 459304"/>
                  <a:gd name="connsiteX88" fmla="*/ 438891 w 495503"/>
                  <a:gd name="connsiteY88" fmla="*/ 439994 h 459304"/>
                  <a:gd name="connsiteX89" fmla="*/ 424511 w 495503"/>
                  <a:gd name="connsiteY89" fmla="*/ 435677 h 459304"/>
                  <a:gd name="connsiteX90" fmla="*/ 420086 w 495503"/>
                  <a:gd name="connsiteY90" fmla="*/ 428660 h 459304"/>
                  <a:gd name="connsiteX91" fmla="*/ 407918 w 495503"/>
                  <a:gd name="connsiteY91" fmla="*/ 423263 h 459304"/>
                  <a:gd name="connsiteX92" fmla="*/ 396856 w 495503"/>
                  <a:gd name="connsiteY92" fmla="*/ 417326 h 459304"/>
                  <a:gd name="connsiteX93" fmla="*/ 391325 w 495503"/>
                  <a:gd name="connsiteY93" fmla="*/ 418406 h 459304"/>
                  <a:gd name="connsiteX94" fmla="*/ 392985 w 495503"/>
                  <a:gd name="connsiteY94" fmla="*/ 424882 h 459304"/>
                  <a:gd name="connsiteX95" fmla="*/ 375286 w 495503"/>
                  <a:gd name="connsiteY95" fmla="*/ 417866 h 459304"/>
                  <a:gd name="connsiteX96" fmla="*/ 340994 w 495503"/>
                  <a:gd name="connsiteY96" fmla="*/ 409230 h 459304"/>
                  <a:gd name="connsiteX97" fmla="*/ 333804 w 495503"/>
                  <a:gd name="connsiteY97" fmla="*/ 406532 h 459304"/>
                  <a:gd name="connsiteX98" fmla="*/ 328826 w 495503"/>
                  <a:gd name="connsiteY98" fmla="*/ 405452 h 459304"/>
                  <a:gd name="connsiteX99" fmla="*/ 327720 w 495503"/>
                  <a:gd name="connsiteY99" fmla="*/ 403293 h 459304"/>
                  <a:gd name="connsiteX100" fmla="*/ 332145 w 495503"/>
                  <a:gd name="connsiteY100" fmla="*/ 401134 h 459304"/>
                  <a:gd name="connsiteX101" fmla="*/ 360905 w 495503"/>
                  <a:gd name="connsiteY101" fmla="*/ 408690 h 459304"/>
                  <a:gd name="connsiteX102" fmla="*/ 370861 w 495503"/>
                  <a:gd name="connsiteY102" fmla="*/ 411389 h 459304"/>
                  <a:gd name="connsiteX103" fmla="*/ 375839 w 495503"/>
                  <a:gd name="connsiteY103" fmla="*/ 413008 h 459304"/>
                  <a:gd name="connsiteX104" fmla="*/ 378604 w 495503"/>
                  <a:gd name="connsiteY104" fmla="*/ 411929 h 459304"/>
                  <a:gd name="connsiteX105" fmla="*/ 395197 w 495503"/>
                  <a:gd name="connsiteY105" fmla="*/ 406532 h 459304"/>
                  <a:gd name="connsiteX106" fmla="*/ 441657 w 495503"/>
                  <a:gd name="connsiteY106" fmla="*/ 428660 h 459304"/>
                  <a:gd name="connsiteX107" fmla="*/ 456590 w 495503"/>
                  <a:gd name="connsiteY107" fmla="*/ 444852 h 459304"/>
                  <a:gd name="connsiteX108" fmla="*/ 458249 w 495503"/>
                  <a:gd name="connsiteY108" fmla="*/ 458885 h 459304"/>
                  <a:gd name="connsiteX109" fmla="*/ 305596 w 495503"/>
                  <a:gd name="connsiteY109" fmla="*/ 390340 h 459304"/>
                  <a:gd name="connsiteX110" fmla="*/ 313339 w 495503"/>
                  <a:gd name="connsiteY110" fmla="*/ 390340 h 459304"/>
                  <a:gd name="connsiteX111" fmla="*/ 326614 w 495503"/>
                  <a:gd name="connsiteY111" fmla="*/ 391959 h 459304"/>
                  <a:gd name="connsiteX112" fmla="*/ 327720 w 495503"/>
                  <a:gd name="connsiteY112" fmla="*/ 393578 h 459304"/>
                  <a:gd name="connsiteX113" fmla="*/ 303384 w 495503"/>
                  <a:gd name="connsiteY113" fmla="*/ 396277 h 459304"/>
                  <a:gd name="connsiteX114" fmla="*/ 290663 w 495503"/>
                  <a:gd name="connsiteY114" fmla="*/ 393578 h 459304"/>
                  <a:gd name="connsiteX115" fmla="*/ 273517 w 495503"/>
                  <a:gd name="connsiteY115" fmla="*/ 389260 h 459304"/>
                  <a:gd name="connsiteX116" fmla="*/ 296747 w 495503"/>
                  <a:gd name="connsiteY116" fmla="*/ 386562 h 459304"/>
                  <a:gd name="connsiteX117" fmla="*/ 305596 w 495503"/>
                  <a:gd name="connsiteY117" fmla="*/ 390340 h 459304"/>
                  <a:gd name="connsiteX118" fmla="*/ 125841 w 495503"/>
                  <a:gd name="connsiteY118" fmla="*/ 289951 h 459304"/>
                  <a:gd name="connsiteX119" fmla="*/ 129713 w 495503"/>
                  <a:gd name="connsiteY119" fmla="*/ 288332 h 459304"/>
                  <a:gd name="connsiteX120" fmla="*/ 131925 w 495503"/>
                  <a:gd name="connsiteY120" fmla="*/ 289412 h 459304"/>
                  <a:gd name="connsiteX121" fmla="*/ 155708 w 495503"/>
                  <a:gd name="connsiteY121" fmla="*/ 310461 h 459304"/>
                  <a:gd name="connsiteX122" fmla="*/ 150730 w 495503"/>
                  <a:gd name="connsiteY122" fmla="*/ 319096 h 459304"/>
                  <a:gd name="connsiteX123" fmla="*/ 145199 w 495503"/>
                  <a:gd name="connsiteY123" fmla="*/ 311540 h 459304"/>
                  <a:gd name="connsiteX124" fmla="*/ 136903 w 495503"/>
                  <a:gd name="connsiteY124" fmla="*/ 302905 h 459304"/>
                  <a:gd name="connsiteX125" fmla="*/ 130266 w 495503"/>
                  <a:gd name="connsiteY125" fmla="*/ 295888 h 459304"/>
                  <a:gd name="connsiteX126" fmla="*/ 125841 w 495503"/>
                  <a:gd name="connsiteY126" fmla="*/ 291571 h 459304"/>
                  <a:gd name="connsiteX127" fmla="*/ 125841 w 495503"/>
                  <a:gd name="connsiteY127" fmla="*/ 289951 h 459304"/>
                  <a:gd name="connsiteX128" fmla="*/ 127500 w 495503"/>
                  <a:gd name="connsiteY128" fmla="*/ 249472 h 459304"/>
                  <a:gd name="connsiteX129" fmla="*/ 151283 w 495503"/>
                  <a:gd name="connsiteY129" fmla="*/ 266743 h 459304"/>
                  <a:gd name="connsiteX130" fmla="*/ 151837 w 495503"/>
                  <a:gd name="connsiteY130" fmla="*/ 274839 h 459304"/>
                  <a:gd name="connsiteX131" fmla="*/ 150730 w 495503"/>
                  <a:gd name="connsiteY131" fmla="*/ 277538 h 459304"/>
                  <a:gd name="connsiteX132" fmla="*/ 147965 w 495503"/>
                  <a:gd name="connsiteY132" fmla="*/ 277538 h 459304"/>
                  <a:gd name="connsiteX133" fmla="*/ 143540 w 495503"/>
                  <a:gd name="connsiteY133" fmla="*/ 266204 h 459304"/>
                  <a:gd name="connsiteX134" fmla="*/ 131925 w 495503"/>
                  <a:gd name="connsiteY134" fmla="*/ 260267 h 459304"/>
                  <a:gd name="connsiteX135" fmla="*/ 128054 w 495503"/>
                  <a:gd name="connsiteY135" fmla="*/ 256489 h 459304"/>
                  <a:gd name="connsiteX136" fmla="*/ 125841 w 495503"/>
                  <a:gd name="connsiteY136" fmla="*/ 253790 h 459304"/>
                  <a:gd name="connsiteX137" fmla="*/ 127500 w 495503"/>
                  <a:gd name="connsiteY137" fmla="*/ 249472 h 459304"/>
                  <a:gd name="connsiteX138" fmla="*/ 81594 w 495503"/>
                  <a:gd name="connsiteY138" fmla="*/ 199278 h 459304"/>
                  <a:gd name="connsiteX139" fmla="*/ 83253 w 495503"/>
                  <a:gd name="connsiteY139" fmla="*/ 216549 h 459304"/>
                  <a:gd name="connsiteX140" fmla="*/ 90996 w 495503"/>
                  <a:gd name="connsiteY140" fmla="*/ 232741 h 459304"/>
                  <a:gd name="connsiteX141" fmla="*/ 89890 w 495503"/>
                  <a:gd name="connsiteY141" fmla="*/ 238138 h 459304"/>
                  <a:gd name="connsiteX142" fmla="*/ 87125 w 495503"/>
                  <a:gd name="connsiteY142" fmla="*/ 237598 h 459304"/>
                  <a:gd name="connsiteX143" fmla="*/ 72744 w 495503"/>
                  <a:gd name="connsiteY143" fmla="*/ 209533 h 459304"/>
                  <a:gd name="connsiteX144" fmla="*/ 74404 w 495503"/>
                  <a:gd name="connsiteY144" fmla="*/ 197659 h 459304"/>
                  <a:gd name="connsiteX145" fmla="*/ 64448 w 495503"/>
                  <a:gd name="connsiteY145" fmla="*/ 182007 h 459304"/>
                  <a:gd name="connsiteX146" fmla="*/ 66107 w 495503"/>
                  <a:gd name="connsiteY146" fmla="*/ 178229 h 459304"/>
                  <a:gd name="connsiteX147" fmla="*/ 75510 w 495503"/>
                  <a:gd name="connsiteY147" fmla="*/ 187944 h 459304"/>
                  <a:gd name="connsiteX148" fmla="*/ 81594 w 495503"/>
                  <a:gd name="connsiteY148" fmla="*/ 199278 h 459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</a:cxnLst>
                <a:rect l="l" t="t" r="r" b="b"/>
                <a:pathLst>
                  <a:path w="495503" h="459304">
                    <a:moveTo>
                      <a:pt x="287344" y="144226"/>
                    </a:moveTo>
                    <a:lnTo>
                      <a:pt x="249734" y="156100"/>
                    </a:lnTo>
                    <a:lnTo>
                      <a:pt x="238672" y="172292"/>
                    </a:lnTo>
                    <a:lnTo>
                      <a:pt x="227610" y="169053"/>
                    </a:lnTo>
                    <a:lnTo>
                      <a:pt x="222079" y="157719"/>
                    </a:lnTo>
                    <a:lnTo>
                      <a:pt x="208805" y="155560"/>
                    </a:lnTo>
                    <a:lnTo>
                      <a:pt x="200509" y="194420"/>
                    </a:lnTo>
                    <a:lnTo>
                      <a:pt x="255818" y="277538"/>
                    </a:lnTo>
                    <a:lnTo>
                      <a:pt x="281813" y="295349"/>
                    </a:lnTo>
                    <a:lnTo>
                      <a:pt x="322742" y="340146"/>
                    </a:lnTo>
                    <a:lnTo>
                      <a:pt x="350950" y="349321"/>
                    </a:lnTo>
                    <a:lnTo>
                      <a:pt x="381370" y="386562"/>
                    </a:lnTo>
                    <a:lnTo>
                      <a:pt x="379157" y="398975"/>
                    </a:lnTo>
                    <a:lnTo>
                      <a:pt x="370861" y="404912"/>
                    </a:lnTo>
                    <a:cubicBezTo>
                      <a:pt x="360905" y="398975"/>
                      <a:pt x="358693" y="389800"/>
                      <a:pt x="349290" y="384943"/>
                    </a:cubicBezTo>
                    <a:cubicBezTo>
                      <a:pt x="341547" y="381165"/>
                      <a:pt x="332145" y="380085"/>
                      <a:pt x="324954" y="375228"/>
                    </a:cubicBezTo>
                    <a:cubicBezTo>
                      <a:pt x="318870" y="371450"/>
                      <a:pt x="314999" y="364433"/>
                      <a:pt x="308362" y="360655"/>
                    </a:cubicBezTo>
                    <a:cubicBezTo>
                      <a:pt x="306702" y="359576"/>
                      <a:pt x="302278" y="359576"/>
                      <a:pt x="299512" y="359036"/>
                    </a:cubicBezTo>
                    <a:cubicBezTo>
                      <a:pt x="290663" y="356877"/>
                      <a:pt x="274623" y="348781"/>
                      <a:pt x="266327" y="348781"/>
                    </a:cubicBezTo>
                    <a:cubicBezTo>
                      <a:pt x="254712" y="348781"/>
                      <a:pt x="244756" y="360115"/>
                      <a:pt x="231482" y="359036"/>
                    </a:cubicBezTo>
                    <a:cubicBezTo>
                      <a:pt x="229822" y="358496"/>
                      <a:pt x="225951" y="358496"/>
                      <a:pt x="224845" y="357417"/>
                    </a:cubicBezTo>
                    <a:cubicBezTo>
                      <a:pt x="224292" y="355798"/>
                      <a:pt x="225398" y="350940"/>
                      <a:pt x="224845" y="348781"/>
                    </a:cubicBezTo>
                    <a:cubicBezTo>
                      <a:pt x="223738" y="346083"/>
                      <a:pt x="213783" y="331510"/>
                      <a:pt x="211017" y="328811"/>
                    </a:cubicBezTo>
                    <a:cubicBezTo>
                      <a:pt x="209911" y="327732"/>
                      <a:pt x="208252" y="326113"/>
                      <a:pt x="206593" y="325033"/>
                    </a:cubicBezTo>
                    <a:cubicBezTo>
                      <a:pt x="184469" y="312620"/>
                      <a:pt x="164005" y="310461"/>
                      <a:pt x="159580" y="281856"/>
                    </a:cubicBezTo>
                    <a:cubicBezTo>
                      <a:pt x="157921" y="273220"/>
                      <a:pt x="173960" y="279697"/>
                      <a:pt x="176173" y="267823"/>
                    </a:cubicBezTo>
                    <a:cubicBezTo>
                      <a:pt x="175619" y="267283"/>
                      <a:pt x="175619" y="266743"/>
                      <a:pt x="175066" y="266204"/>
                    </a:cubicBezTo>
                    <a:cubicBezTo>
                      <a:pt x="173960" y="265664"/>
                      <a:pt x="152943" y="258647"/>
                      <a:pt x="149071" y="255409"/>
                    </a:cubicBezTo>
                    <a:cubicBezTo>
                      <a:pt x="147965" y="253790"/>
                      <a:pt x="146859" y="251091"/>
                      <a:pt x="145752" y="249472"/>
                    </a:cubicBezTo>
                    <a:cubicBezTo>
                      <a:pt x="141881" y="244615"/>
                      <a:pt x="137456" y="241376"/>
                      <a:pt x="133584" y="237058"/>
                    </a:cubicBezTo>
                    <a:cubicBezTo>
                      <a:pt x="132478" y="235439"/>
                      <a:pt x="131925" y="233820"/>
                      <a:pt x="130266" y="232201"/>
                    </a:cubicBezTo>
                    <a:cubicBezTo>
                      <a:pt x="129160" y="231122"/>
                      <a:pt x="125841" y="230042"/>
                      <a:pt x="124735" y="228423"/>
                    </a:cubicBezTo>
                    <a:cubicBezTo>
                      <a:pt x="116439" y="216549"/>
                      <a:pt x="126947" y="187404"/>
                      <a:pt x="116992" y="180388"/>
                    </a:cubicBezTo>
                    <a:lnTo>
                      <a:pt x="115886" y="180388"/>
                    </a:lnTo>
                    <a:cubicBezTo>
                      <a:pt x="114779" y="180927"/>
                      <a:pt x="105930" y="177689"/>
                      <a:pt x="104824" y="177149"/>
                    </a:cubicBezTo>
                    <a:cubicBezTo>
                      <a:pt x="99846" y="173911"/>
                      <a:pt x="97080" y="167974"/>
                      <a:pt x="92656" y="164736"/>
                    </a:cubicBezTo>
                    <a:cubicBezTo>
                      <a:pt x="84359" y="157719"/>
                      <a:pt x="78275" y="155021"/>
                      <a:pt x="67213" y="155560"/>
                    </a:cubicBezTo>
                    <a:cubicBezTo>
                      <a:pt x="59470" y="160957"/>
                      <a:pt x="60023" y="177149"/>
                      <a:pt x="57258" y="184705"/>
                    </a:cubicBezTo>
                    <a:cubicBezTo>
                      <a:pt x="55045" y="190103"/>
                      <a:pt x="42877" y="216009"/>
                      <a:pt x="40112" y="218708"/>
                    </a:cubicBezTo>
                    <a:cubicBezTo>
                      <a:pt x="35687" y="223026"/>
                      <a:pt x="24625" y="207913"/>
                      <a:pt x="23519" y="205215"/>
                    </a:cubicBezTo>
                    <a:cubicBezTo>
                      <a:pt x="17988" y="196040"/>
                      <a:pt x="15223" y="185785"/>
                      <a:pt x="10245" y="176609"/>
                    </a:cubicBezTo>
                    <a:cubicBezTo>
                      <a:pt x="8033" y="172831"/>
                      <a:pt x="4714" y="170133"/>
                      <a:pt x="3055" y="166355"/>
                    </a:cubicBezTo>
                    <a:cubicBezTo>
                      <a:pt x="-817" y="158799"/>
                      <a:pt x="-4135" y="146385"/>
                      <a:pt x="5820" y="141527"/>
                    </a:cubicBezTo>
                    <a:lnTo>
                      <a:pt x="47855" y="142067"/>
                    </a:lnTo>
                    <a:lnTo>
                      <a:pt x="69426" y="131812"/>
                    </a:lnTo>
                    <a:lnTo>
                      <a:pt x="85465" y="116160"/>
                    </a:lnTo>
                    <a:lnTo>
                      <a:pt x="95974" y="110223"/>
                    </a:lnTo>
                    <a:lnTo>
                      <a:pt x="104824" y="127495"/>
                    </a:lnTo>
                    <a:lnTo>
                      <a:pt x="118651" y="128574"/>
                    </a:lnTo>
                    <a:lnTo>
                      <a:pt x="130266" y="124796"/>
                    </a:lnTo>
                    <a:lnTo>
                      <a:pt x="145199" y="128574"/>
                    </a:lnTo>
                    <a:lnTo>
                      <a:pt x="155155" y="123717"/>
                    </a:lnTo>
                    <a:lnTo>
                      <a:pt x="159580" y="115621"/>
                    </a:lnTo>
                    <a:lnTo>
                      <a:pt x="160686" y="90793"/>
                    </a:lnTo>
                    <a:lnTo>
                      <a:pt x="181703" y="74062"/>
                    </a:lnTo>
                    <a:lnTo>
                      <a:pt x="182810" y="30344"/>
                    </a:lnTo>
                    <a:lnTo>
                      <a:pt x="208805" y="20629"/>
                    </a:lnTo>
                    <a:lnTo>
                      <a:pt x="238672" y="-420"/>
                    </a:lnTo>
                    <a:lnTo>
                      <a:pt x="263561" y="13073"/>
                    </a:lnTo>
                    <a:lnTo>
                      <a:pt x="274070" y="24407"/>
                    </a:lnTo>
                    <a:cubicBezTo>
                      <a:pt x="276835" y="26566"/>
                      <a:pt x="280154" y="28186"/>
                      <a:pt x="282919" y="30344"/>
                    </a:cubicBezTo>
                    <a:cubicBezTo>
                      <a:pt x="285685" y="32503"/>
                      <a:pt x="287344" y="36281"/>
                      <a:pt x="290110" y="38980"/>
                    </a:cubicBezTo>
                    <a:cubicBezTo>
                      <a:pt x="296194" y="44377"/>
                      <a:pt x="303384" y="50314"/>
                      <a:pt x="310021" y="54632"/>
                    </a:cubicBezTo>
                    <a:cubicBezTo>
                      <a:pt x="313339" y="56251"/>
                      <a:pt x="331038" y="54632"/>
                      <a:pt x="337122" y="56251"/>
                    </a:cubicBezTo>
                    <a:cubicBezTo>
                      <a:pt x="344313" y="58410"/>
                      <a:pt x="343759" y="67046"/>
                      <a:pt x="360352" y="66506"/>
                    </a:cubicBezTo>
                    <a:cubicBezTo>
                      <a:pt x="371414" y="66506"/>
                      <a:pt x="385794" y="61648"/>
                      <a:pt x="396856" y="65426"/>
                    </a:cubicBezTo>
                    <a:cubicBezTo>
                      <a:pt x="399069" y="66506"/>
                      <a:pt x="400175" y="68665"/>
                      <a:pt x="401834" y="69744"/>
                    </a:cubicBezTo>
                    <a:lnTo>
                      <a:pt x="414002" y="63268"/>
                    </a:lnTo>
                    <a:lnTo>
                      <a:pt x="422299" y="50314"/>
                    </a:lnTo>
                    <a:lnTo>
                      <a:pt x="442763" y="48155"/>
                    </a:lnTo>
                    <a:lnTo>
                      <a:pt x="444975" y="60029"/>
                    </a:lnTo>
                    <a:cubicBezTo>
                      <a:pt x="446081" y="70284"/>
                      <a:pt x="453272" y="81078"/>
                      <a:pt x="456590" y="85936"/>
                    </a:cubicBezTo>
                    <a:cubicBezTo>
                      <a:pt x="465440" y="99429"/>
                      <a:pt x="452719" y="93492"/>
                      <a:pt x="468205" y="105906"/>
                    </a:cubicBezTo>
                    <a:cubicBezTo>
                      <a:pt x="473736" y="110223"/>
                      <a:pt x="480373" y="112382"/>
                      <a:pt x="487563" y="112922"/>
                    </a:cubicBezTo>
                    <a:lnTo>
                      <a:pt x="481479" y="139908"/>
                    </a:lnTo>
                    <a:lnTo>
                      <a:pt x="494754" y="155021"/>
                    </a:lnTo>
                    <a:cubicBezTo>
                      <a:pt x="489776" y="156100"/>
                      <a:pt x="484798" y="154481"/>
                      <a:pt x="480373" y="155560"/>
                    </a:cubicBezTo>
                    <a:cubicBezTo>
                      <a:pt x="472630" y="158259"/>
                      <a:pt x="459356" y="171212"/>
                      <a:pt x="451059" y="164736"/>
                    </a:cubicBezTo>
                    <a:cubicBezTo>
                      <a:pt x="445528" y="159878"/>
                      <a:pt x="444422" y="151242"/>
                      <a:pt x="438891" y="146925"/>
                    </a:cubicBezTo>
                    <a:cubicBezTo>
                      <a:pt x="435020" y="143686"/>
                      <a:pt x="423405" y="144766"/>
                      <a:pt x="417874" y="145306"/>
                    </a:cubicBezTo>
                    <a:cubicBezTo>
                      <a:pt x="411237" y="145845"/>
                      <a:pt x="405153" y="142067"/>
                      <a:pt x="399069" y="142607"/>
                    </a:cubicBezTo>
                    <a:cubicBezTo>
                      <a:pt x="395750" y="143147"/>
                      <a:pt x="392985" y="147464"/>
                      <a:pt x="389666" y="148004"/>
                    </a:cubicBezTo>
                    <a:cubicBezTo>
                      <a:pt x="386348" y="148544"/>
                      <a:pt x="381923" y="144766"/>
                      <a:pt x="378604" y="145845"/>
                    </a:cubicBezTo>
                    <a:cubicBezTo>
                      <a:pt x="373626" y="146925"/>
                      <a:pt x="370308" y="154481"/>
                      <a:pt x="365883" y="154481"/>
                    </a:cubicBezTo>
                    <a:cubicBezTo>
                      <a:pt x="360905" y="154481"/>
                      <a:pt x="355927" y="151782"/>
                      <a:pt x="351503" y="151782"/>
                    </a:cubicBezTo>
                    <a:cubicBezTo>
                      <a:pt x="347631" y="151782"/>
                      <a:pt x="343759" y="153401"/>
                      <a:pt x="339888" y="152862"/>
                    </a:cubicBezTo>
                    <a:cubicBezTo>
                      <a:pt x="332145" y="152322"/>
                      <a:pt x="292875" y="146385"/>
                      <a:pt x="287344" y="144226"/>
                    </a:cubicBezTo>
                    <a:close/>
                    <a:moveTo>
                      <a:pt x="458249" y="458885"/>
                    </a:moveTo>
                    <a:cubicBezTo>
                      <a:pt x="453272" y="456726"/>
                      <a:pt x="445528" y="443773"/>
                      <a:pt x="438891" y="439994"/>
                    </a:cubicBezTo>
                    <a:cubicBezTo>
                      <a:pt x="435020" y="437296"/>
                      <a:pt x="428383" y="437836"/>
                      <a:pt x="424511" y="435677"/>
                    </a:cubicBezTo>
                    <a:cubicBezTo>
                      <a:pt x="422852" y="434597"/>
                      <a:pt x="421745" y="430279"/>
                      <a:pt x="420086" y="428660"/>
                    </a:cubicBezTo>
                    <a:cubicBezTo>
                      <a:pt x="418427" y="427041"/>
                      <a:pt x="411237" y="424342"/>
                      <a:pt x="407918" y="423263"/>
                    </a:cubicBezTo>
                    <a:cubicBezTo>
                      <a:pt x="405706" y="421644"/>
                      <a:pt x="399622" y="417326"/>
                      <a:pt x="396856" y="417326"/>
                    </a:cubicBezTo>
                    <a:cubicBezTo>
                      <a:pt x="395750" y="417326"/>
                      <a:pt x="392432" y="417326"/>
                      <a:pt x="391325" y="418406"/>
                    </a:cubicBezTo>
                    <a:cubicBezTo>
                      <a:pt x="391325" y="420564"/>
                      <a:pt x="392985" y="424882"/>
                      <a:pt x="392985" y="424882"/>
                    </a:cubicBezTo>
                    <a:cubicBezTo>
                      <a:pt x="391325" y="429200"/>
                      <a:pt x="376945" y="418406"/>
                      <a:pt x="375286" y="417866"/>
                    </a:cubicBezTo>
                    <a:cubicBezTo>
                      <a:pt x="364224" y="412469"/>
                      <a:pt x="352056" y="411929"/>
                      <a:pt x="340994" y="409230"/>
                    </a:cubicBezTo>
                    <a:cubicBezTo>
                      <a:pt x="338229" y="408690"/>
                      <a:pt x="336016" y="407611"/>
                      <a:pt x="333804" y="406532"/>
                    </a:cubicBezTo>
                    <a:cubicBezTo>
                      <a:pt x="332145" y="405992"/>
                      <a:pt x="330485" y="405992"/>
                      <a:pt x="328826" y="405452"/>
                    </a:cubicBezTo>
                    <a:lnTo>
                      <a:pt x="327720" y="403293"/>
                    </a:lnTo>
                    <a:cubicBezTo>
                      <a:pt x="328273" y="402754"/>
                      <a:pt x="331038" y="401134"/>
                      <a:pt x="332145" y="401134"/>
                    </a:cubicBezTo>
                    <a:cubicBezTo>
                      <a:pt x="342100" y="400595"/>
                      <a:pt x="351503" y="405452"/>
                      <a:pt x="360905" y="408690"/>
                    </a:cubicBezTo>
                    <a:cubicBezTo>
                      <a:pt x="364224" y="409770"/>
                      <a:pt x="367542" y="410310"/>
                      <a:pt x="370861" y="411389"/>
                    </a:cubicBezTo>
                    <a:cubicBezTo>
                      <a:pt x="371967" y="411929"/>
                      <a:pt x="375286" y="413008"/>
                      <a:pt x="375839" y="413008"/>
                    </a:cubicBezTo>
                    <a:cubicBezTo>
                      <a:pt x="376945" y="413008"/>
                      <a:pt x="378051" y="412469"/>
                      <a:pt x="378604" y="411929"/>
                    </a:cubicBezTo>
                    <a:lnTo>
                      <a:pt x="395197" y="406532"/>
                    </a:lnTo>
                    <a:lnTo>
                      <a:pt x="441657" y="428660"/>
                    </a:lnTo>
                    <a:lnTo>
                      <a:pt x="456590" y="444852"/>
                    </a:lnTo>
                    <a:lnTo>
                      <a:pt x="458249" y="458885"/>
                    </a:lnTo>
                    <a:close/>
                    <a:moveTo>
                      <a:pt x="305596" y="390340"/>
                    </a:moveTo>
                    <a:cubicBezTo>
                      <a:pt x="307808" y="390880"/>
                      <a:pt x="310574" y="390340"/>
                      <a:pt x="313339" y="390340"/>
                    </a:cubicBezTo>
                    <a:cubicBezTo>
                      <a:pt x="314999" y="390340"/>
                      <a:pt x="325507" y="391419"/>
                      <a:pt x="326614" y="391959"/>
                    </a:cubicBezTo>
                    <a:cubicBezTo>
                      <a:pt x="326614" y="391959"/>
                      <a:pt x="327720" y="393039"/>
                      <a:pt x="327720" y="393578"/>
                    </a:cubicBezTo>
                    <a:cubicBezTo>
                      <a:pt x="326614" y="395197"/>
                      <a:pt x="306149" y="396817"/>
                      <a:pt x="303384" y="396277"/>
                    </a:cubicBezTo>
                    <a:cubicBezTo>
                      <a:pt x="298959" y="396277"/>
                      <a:pt x="295087" y="394658"/>
                      <a:pt x="290663" y="393578"/>
                    </a:cubicBezTo>
                    <a:cubicBezTo>
                      <a:pt x="288450" y="393039"/>
                      <a:pt x="272964" y="392499"/>
                      <a:pt x="273517" y="389260"/>
                    </a:cubicBezTo>
                    <a:cubicBezTo>
                      <a:pt x="274070" y="386022"/>
                      <a:pt x="293428" y="385482"/>
                      <a:pt x="296747" y="386562"/>
                    </a:cubicBezTo>
                    <a:cubicBezTo>
                      <a:pt x="299512" y="387641"/>
                      <a:pt x="302278" y="389800"/>
                      <a:pt x="305596" y="390340"/>
                    </a:cubicBezTo>
                    <a:close/>
                    <a:moveTo>
                      <a:pt x="125841" y="289951"/>
                    </a:moveTo>
                    <a:cubicBezTo>
                      <a:pt x="126947" y="289412"/>
                      <a:pt x="128054" y="288332"/>
                      <a:pt x="129713" y="288332"/>
                    </a:cubicBezTo>
                    <a:cubicBezTo>
                      <a:pt x="129713" y="288332"/>
                      <a:pt x="131372" y="288872"/>
                      <a:pt x="131925" y="289412"/>
                    </a:cubicBezTo>
                    <a:cubicBezTo>
                      <a:pt x="133584" y="290491"/>
                      <a:pt x="155155" y="309381"/>
                      <a:pt x="155708" y="310461"/>
                    </a:cubicBezTo>
                    <a:cubicBezTo>
                      <a:pt x="157921" y="314239"/>
                      <a:pt x="155155" y="322335"/>
                      <a:pt x="150730" y="319096"/>
                    </a:cubicBezTo>
                    <a:cubicBezTo>
                      <a:pt x="149624" y="318557"/>
                      <a:pt x="146859" y="313159"/>
                      <a:pt x="145199" y="311540"/>
                    </a:cubicBezTo>
                    <a:cubicBezTo>
                      <a:pt x="142987" y="308842"/>
                      <a:pt x="139668" y="306143"/>
                      <a:pt x="136903" y="302905"/>
                    </a:cubicBezTo>
                    <a:cubicBezTo>
                      <a:pt x="134691" y="300746"/>
                      <a:pt x="132478" y="298047"/>
                      <a:pt x="130266" y="295888"/>
                    </a:cubicBezTo>
                    <a:cubicBezTo>
                      <a:pt x="128607" y="294269"/>
                      <a:pt x="126947" y="293190"/>
                      <a:pt x="125841" y="291571"/>
                    </a:cubicBezTo>
                    <a:lnTo>
                      <a:pt x="125841" y="289951"/>
                    </a:lnTo>
                    <a:close/>
                    <a:moveTo>
                      <a:pt x="127500" y="249472"/>
                    </a:moveTo>
                    <a:cubicBezTo>
                      <a:pt x="131372" y="250012"/>
                      <a:pt x="149071" y="262965"/>
                      <a:pt x="151283" y="266743"/>
                    </a:cubicBezTo>
                    <a:cubicBezTo>
                      <a:pt x="153496" y="269442"/>
                      <a:pt x="152943" y="271601"/>
                      <a:pt x="151837" y="274839"/>
                    </a:cubicBezTo>
                    <a:cubicBezTo>
                      <a:pt x="151837" y="275379"/>
                      <a:pt x="151283" y="277538"/>
                      <a:pt x="150730" y="277538"/>
                    </a:cubicBezTo>
                    <a:cubicBezTo>
                      <a:pt x="150177" y="278077"/>
                      <a:pt x="148518" y="277538"/>
                      <a:pt x="147965" y="277538"/>
                    </a:cubicBezTo>
                    <a:cubicBezTo>
                      <a:pt x="142434" y="274839"/>
                      <a:pt x="144646" y="267283"/>
                      <a:pt x="143540" y="266204"/>
                    </a:cubicBezTo>
                    <a:cubicBezTo>
                      <a:pt x="141881" y="264045"/>
                      <a:pt x="134691" y="261886"/>
                      <a:pt x="131925" y="260267"/>
                    </a:cubicBezTo>
                    <a:cubicBezTo>
                      <a:pt x="130819" y="259727"/>
                      <a:pt x="129160" y="258108"/>
                      <a:pt x="128054" y="256489"/>
                    </a:cubicBezTo>
                    <a:cubicBezTo>
                      <a:pt x="127500" y="255949"/>
                      <a:pt x="125841" y="254869"/>
                      <a:pt x="125841" y="253790"/>
                    </a:cubicBezTo>
                    <a:cubicBezTo>
                      <a:pt x="125288" y="252710"/>
                      <a:pt x="125288" y="248932"/>
                      <a:pt x="127500" y="249472"/>
                    </a:cubicBezTo>
                    <a:close/>
                    <a:moveTo>
                      <a:pt x="81594" y="199278"/>
                    </a:moveTo>
                    <a:cubicBezTo>
                      <a:pt x="82700" y="204675"/>
                      <a:pt x="81594" y="211152"/>
                      <a:pt x="83253" y="216549"/>
                    </a:cubicBezTo>
                    <a:cubicBezTo>
                      <a:pt x="85465" y="221946"/>
                      <a:pt x="89890" y="222486"/>
                      <a:pt x="90996" y="232741"/>
                    </a:cubicBezTo>
                    <a:cubicBezTo>
                      <a:pt x="90996" y="233820"/>
                      <a:pt x="90443" y="237598"/>
                      <a:pt x="89890" y="238138"/>
                    </a:cubicBezTo>
                    <a:cubicBezTo>
                      <a:pt x="89337" y="238138"/>
                      <a:pt x="87678" y="238138"/>
                      <a:pt x="87125" y="237598"/>
                    </a:cubicBezTo>
                    <a:cubicBezTo>
                      <a:pt x="85465" y="237058"/>
                      <a:pt x="72744" y="212231"/>
                      <a:pt x="72744" y="209533"/>
                    </a:cubicBezTo>
                    <a:cubicBezTo>
                      <a:pt x="72191" y="204675"/>
                      <a:pt x="76063" y="202516"/>
                      <a:pt x="74404" y="197659"/>
                    </a:cubicBezTo>
                    <a:cubicBezTo>
                      <a:pt x="72744" y="192801"/>
                      <a:pt x="64448" y="186864"/>
                      <a:pt x="64448" y="182007"/>
                    </a:cubicBezTo>
                    <a:cubicBezTo>
                      <a:pt x="64448" y="180927"/>
                      <a:pt x="65554" y="178768"/>
                      <a:pt x="66107" y="178229"/>
                    </a:cubicBezTo>
                    <a:cubicBezTo>
                      <a:pt x="71085" y="172831"/>
                      <a:pt x="74404" y="185245"/>
                      <a:pt x="75510" y="187944"/>
                    </a:cubicBezTo>
                    <a:cubicBezTo>
                      <a:pt x="77722" y="191722"/>
                      <a:pt x="80488" y="194960"/>
                      <a:pt x="81594" y="199278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9" name="Freeform 1081">
                <a:extLst>
                  <a:ext uri="{FF2B5EF4-FFF2-40B4-BE49-F238E27FC236}">
                    <a16:creationId xmlns:a16="http://schemas.microsoft.com/office/drawing/2014/main" id="{3507424D-25A7-474C-B363-0DB0A6DBFE24}"/>
                  </a:ext>
                </a:extLst>
              </p:cNvPr>
              <p:cNvSpPr/>
              <p:nvPr/>
            </p:nvSpPr>
            <p:spPr>
              <a:xfrm>
                <a:off x="7301808" y="4703212"/>
                <a:ext cx="865623" cy="827962"/>
              </a:xfrm>
              <a:custGeom>
                <a:avLst/>
                <a:gdLst>
                  <a:gd name="connsiteX0" fmla="*/ 858040 w 865623"/>
                  <a:gd name="connsiteY0" fmla="*/ 620726 h 827962"/>
                  <a:gd name="connsiteX1" fmla="*/ 851956 w 865623"/>
                  <a:gd name="connsiteY1" fmla="*/ 622885 h 827962"/>
                  <a:gd name="connsiteX2" fmla="*/ 835917 w 865623"/>
                  <a:gd name="connsiteY2" fmla="*/ 646633 h 827962"/>
                  <a:gd name="connsiteX3" fmla="*/ 833151 w 865623"/>
                  <a:gd name="connsiteY3" fmla="*/ 646633 h 827962"/>
                  <a:gd name="connsiteX4" fmla="*/ 830386 w 865623"/>
                  <a:gd name="connsiteY4" fmla="*/ 645013 h 827962"/>
                  <a:gd name="connsiteX5" fmla="*/ 827067 w 865623"/>
                  <a:gd name="connsiteY5" fmla="*/ 627203 h 827962"/>
                  <a:gd name="connsiteX6" fmla="*/ 820430 w 865623"/>
                  <a:gd name="connsiteY6" fmla="*/ 618567 h 827962"/>
                  <a:gd name="connsiteX7" fmla="*/ 824302 w 865623"/>
                  <a:gd name="connsiteY7" fmla="*/ 613170 h 827962"/>
                  <a:gd name="connsiteX8" fmla="*/ 830386 w 865623"/>
                  <a:gd name="connsiteY8" fmla="*/ 598057 h 827962"/>
                  <a:gd name="connsiteX9" fmla="*/ 835917 w 865623"/>
                  <a:gd name="connsiteY9" fmla="*/ 594819 h 827962"/>
                  <a:gd name="connsiteX10" fmla="*/ 849191 w 865623"/>
                  <a:gd name="connsiteY10" fmla="*/ 582945 h 827962"/>
                  <a:gd name="connsiteX11" fmla="*/ 856381 w 865623"/>
                  <a:gd name="connsiteY11" fmla="*/ 576469 h 827962"/>
                  <a:gd name="connsiteX12" fmla="*/ 861359 w 865623"/>
                  <a:gd name="connsiteY12" fmla="*/ 574849 h 827962"/>
                  <a:gd name="connsiteX13" fmla="*/ 864678 w 865623"/>
                  <a:gd name="connsiteY13" fmla="*/ 582406 h 827962"/>
                  <a:gd name="connsiteX14" fmla="*/ 856381 w 865623"/>
                  <a:gd name="connsiteY14" fmla="*/ 615329 h 827962"/>
                  <a:gd name="connsiteX15" fmla="*/ 858040 w 865623"/>
                  <a:gd name="connsiteY15" fmla="*/ 620726 h 827962"/>
                  <a:gd name="connsiteX16" fmla="*/ 717002 w 865623"/>
                  <a:gd name="connsiteY16" fmla="*/ 451253 h 827962"/>
                  <a:gd name="connsiteX17" fmla="*/ 714237 w 865623"/>
                  <a:gd name="connsiteY17" fmla="*/ 455571 h 827962"/>
                  <a:gd name="connsiteX18" fmla="*/ 699303 w 865623"/>
                  <a:gd name="connsiteY18" fmla="*/ 466365 h 827962"/>
                  <a:gd name="connsiteX19" fmla="*/ 693772 w 865623"/>
                  <a:gd name="connsiteY19" fmla="*/ 462047 h 827962"/>
                  <a:gd name="connsiteX20" fmla="*/ 677179 w 865623"/>
                  <a:gd name="connsiteY20" fmla="*/ 462047 h 827962"/>
                  <a:gd name="connsiteX21" fmla="*/ 676626 w 865623"/>
                  <a:gd name="connsiteY21" fmla="*/ 459349 h 827962"/>
                  <a:gd name="connsiteX22" fmla="*/ 678286 w 865623"/>
                  <a:gd name="connsiteY22" fmla="*/ 457190 h 827962"/>
                  <a:gd name="connsiteX23" fmla="*/ 686582 w 865623"/>
                  <a:gd name="connsiteY23" fmla="*/ 450173 h 827962"/>
                  <a:gd name="connsiteX24" fmla="*/ 709812 w 865623"/>
                  <a:gd name="connsiteY24" fmla="*/ 448014 h 827962"/>
                  <a:gd name="connsiteX25" fmla="*/ 713130 w 865623"/>
                  <a:gd name="connsiteY25" fmla="*/ 443697 h 827962"/>
                  <a:gd name="connsiteX26" fmla="*/ 716449 w 865623"/>
                  <a:gd name="connsiteY26" fmla="*/ 443697 h 827962"/>
                  <a:gd name="connsiteX27" fmla="*/ 717002 w 865623"/>
                  <a:gd name="connsiteY27" fmla="*/ 451253 h 827962"/>
                  <a:gd name="connsiteX28" fmla="*/ 624636 w 865623"/>
                  <a:gd name="connsiteY28" fmla="*/ 302829 h 827962"/>
                  <a:gd name="connsiteX29" fmla="*/ 636251 w 865623"/>
                  <a:gd name="connsiteY29" fmla="*/ 314703 h 827962"/>
                  <a:gd name="connsiteX30" fmla="*/ 633485 w 865623"/>
                  <a:gd name="connsiteY30" fmla="*/ 317941 h 827962"/>
                  <a:gd name="connsiteX31" fmla="*/ 630720 w 865623"/>
                  <a:gd name="connsiteY31" fmla="*/ 320100 h 827962"/>
                  <a:gd name="connsiteX32" fmla="*/ 619105 w 865623"/>
                  <a:gd name="connsiteY32" fmla="*/ 321179 h 827962"/>
                  <a:gd name="connsiteX33" fmla="*/ 599746 w 865623"/>
                  <a:gd name="connsiteY33" fmla="*/ 315782 h 827962"/>
                  <a:gd name="connsiteX34" fmla="*/ 599746 w 865623"/>
                  <a:gd name="connsiteY34" fmla="*/ 312544 h 827962"/>
                  <a:gd name="connsiteX35" fmla="*/ 605277 w 865623"/>
                  <a:gd name="connsiteY35" fmla="*/ 307147 h 827962"/>
                  <a:gd name="connsiteX36" fmla="*/ 606937 w 865623"/>
                  <a:gd name="connsiteY36" fmla="*/ 296352 h 827962"/>
                  <a:gd name="connsiteX37" fmla="*/ 599193 w 865623"/>
                  <a:gd name="connsiteY37" fmla="*/ 297971 h 827962"/>
                  <a:gd name="connsiteX38" fmla="*/ 590344 w 865623"/>
                  <a:gd name="connsiteY38" fmla="*/ 310925 h 827962"/>
                  <a:gd name="connsiteX39" fmla="*/ 575410 w 865623"/>
                  <a:gd name="connsiteY39" fmla="*/ 303369 h 827962"/>
                  <a:gd name="connsiteX40" fmla="*/ 578176 w 865623"/>
                  <a:gd name="connsiteY40" fmla="*/ 294193 h 827962"/>
                  <a:gd name="connsiteX41" fmla="*/ 594769 w 865623"/>
                  <a:gd name="connsiteY41" fmla="*/ 285558 h 827962"/>
                  <a:gd name="connsiteX42" fmla="*/ 599193 w 865623"/>
                  <a:gd name="connsiteY42" fmla="*/ 276382 h 827962"/>
                  <a:gd name="connsiteX43" fmla="*/ 609702 w 865623"/>
                  <a:gd name="connsiteY43" fmla="*/ 275843 h 827962"/>
                  <a:gd name="connsiteX44" fmla="*/ 610808 w 865623"/>
                  <a:gd name="connsiteY44" fmla="*/ 276922 h 827962"/>
                  <a:gd name="connsiteX45" fmla="*/ 615786 w 865623"/>
                  <a:gd name="connsiteY45" fmla="*/ 278002 h 827962"/>
                  <a:gd name="connsiteX46" fmla="*/ 617445 w 865623"/>
                  <a:gd name="connsiteY46" fmla="*/ 286637 h 827962"/>
                  <a:gd name="connsiteX47" fmla="*/ 628507 w 865623"/>
                  <a:gd name="connsiteY47" fmla="*/ 293654 h 827962"/>
                  <a:gd name="connsiteX48" fmla="*/ 640122 w 865623"/>
                  <a:gd name="connsiteY48" fmla="*/ 303908 h 827962"/>
                  <a:gd name="connsiteX49" fmla="*/ 642888 w 865623"/>
                  <a:gd name="connsiteY49" fmla="*/ 308226 h 827962"/>
                  <a:gd name="connsiteX50" fmla="*/ 624636 w 865623"/>
                  <a:gd name="connsiteY50" fmla="*/ 302829 h 827962"/>
                  <a:gd name="connsiteX51" fmla="*/ 617445 w 865623"/>
                  <a:gd name="connsiteY51" fmla="*/ 400519 h 827962"/>
                  <a:gd name="connsiteX52" fmla="*/ 611914 w 865623"/>
                  <a:gd name="connsiteY52" fmla="*/ 425346 h 827962"/>
                  <a:gd name="connsiteX53" fmla="*/ 600300 w 865623"/>
                  <a:gd name="connsiteY53" fmla="*/ 421028 h 827962"/>
                  <a:gd name="connsiteX54" fmla="*/ 603065 w 865623"/>
                  <a:gd name="connsiteY54" fmla="*/ 399979 h 827962"/>
                  <a:gd name="connsiteX55" fmla="*/ 600853 w 865623"/>
                  <a:gd name="connsiteY55" fmla="*/ 393502 h 827962"/>
                  <a:gd name="connsiteX56" fmla="*/ 599746 w 865623"/>
                  <a:gd name="connsiteY56" fmla="*/ 392963 h 827962"/>
                  <a:gd name="connsiteX57" fmla="*/ 587578 w 865623"/>
                  <a:gd name="connsiteY57" fmla="*/ 380009 h 827962"/>
                  <a:gd name="connsiteX58" fmla="*/ 587578 w 865623"/>
                  <a:gd name="connsiteY58" fmla="*/ 376771 h 827962"/>
                  <a:gd name="connsiteX59" fmla="*/ 595875 w 865623"/>
                  <a:gd name="connsiteY59" fmla="*/ 371913 h 827962"/>
                  <a:gd name="connsiteX60" fmla="*/ 611914 w 865623"/>
                  <a:gd name="connsiteY60" fmla="*/ 375691 h 827962"/>
                  <a:gd name="connsiteX61" fmla="*/ 617445 w 865623"/>
                  <a:gd name="connsiteY61" fmla="*/ 400519 h 827962"/>
                  <a:gd name="connsiteX62" fmla="*/ 429394 w 865623"/>
                  <a:gd name="connsiteY62" fmla="*/ 143610 h 827962"/>
                  <a:gd name="connsiteX63" fmla="*/ 438797 w 865623"/>
                  <a:gd name="connsiteY63" fmla="*/ 152786 h 827962"/>
                  <a:gd name="connsiteX64" fmla="*/ 437690 w 865623"/>
                  <a:gd name="connsiteY64" fmla="*/ 164660 h 827962"/>
                  <a:gd name="connsiteX65" fmla="*/ 433266 w 865623"/>
                  <a:gd name="connsiteY65" fmla="*/ 166819 h 827962"/>
                  <a:gd name="connsiteX66" fmla="*/ 421651 w 865623"/>
                  <a:gd name="connsiteY66" fmla="*/ 164660 h 827962"/>
                  <a:gd name="connsiteX67" fmla="*/ 416120 w 865623"/>
                  <a:gd name="connsiteY67" fmla="*/ 158183 h 827962"/>
                  <a:gd name="connsiteX68" fmla="*/ 417226 w 865623"/>
                  <a:gd name="connsiteY68" fmla="*/ 147389 h 827962"/>
                  <a:gd name="connsiteX69" fmla="*/ 425522 w 865623"/>
                  <a:gd name="connsiteY69" fmla="*/ 145230 h 827962"/>
                  <a:gd name="connsiteX70" fmla="*/ 429394 w 865623"/>
                  <a:gd name="connsiteY70" fmla="*/ 143610 h 827962"/>
                  <a:gd name="connsiteX71" fmla="*/ 512358 w 865623"/>
                  <a:gd name="connsiteY71" fmla="*/ 240761 h 827962"/>
                  <a:gd name="connsiteX72" fmla="*/ 514017 w 865623"/>
                  <a:gd name="connsiteY72" fmla="*/ 242380 h 827962"/>
                  <a:gd name="connsiteX73" fmla="*/ 510699 w 865623"/>
                  <a:gd name="connsiteY73" fmla="*/ 248317 h 827962"/>
                  <a:gd name="connsiteX74" fmla="*/ 505168 w 865623"/>
                  <a:gd name="connsiteY74" fmla="*/ 244539 h 827962"/>
                  <a:gd name="connsiteX75" fmla="*/ 499637 w 865623"/>
                  <a:gd name="connsiteY75" fmla="*/ 237522 h 827962"/>
                  <a:gd name="connsiteX76" fmla="*/ 489128 w 865623"/>
                  <a:gd name="connsiteY76" fmla="*/ 242380 h 827962"/>
                  <a:gd name="connsiteX77" fmla="*/ 481385 w 865623"/>
                  <a:gd name="connsiteY77" fmla="*/ 241840 h 827962"/>
                  <a:gd name="connsiteX78" fmla="*/ 479725 w 865623"/>
                  <a:gd name="connsiteY78" fmla="*/ 231585 h 827962"/>
                  <a:gd name="connsiteX79" fmla="*/ 483044 w 865623"/>
                  <a:gd name="connsiteY79" fmla="*/ 228347 h 827962"/>
                  <a:gd name="connsiteX80" fmla="*/ 492447 w 865623"/>
                  <a:gd name="connsiteY80" fmla="*/ 225109 h 827962"/>
                  <a:gd name="connsiteX81" fmla="*/ 501296 w 865623"/>
                  <a:gd name="connsiteY81" fmla="*/ 227268 h 827962"/>
                  <a:gd name="connsiteX82" fmla="*/ 506274 w 865623"/>
                  <a:gd name="connsiteY82" fmla="*/ 219172 h 827962"/>
                  <a:gd name="connsiteX83" fmla="*/ 513464 w 865623"/>
                  <a:gd name="connsiteY83" fmla="*/ 215394 h 827962"/>
                  <a:gd name="connsiteX84" fmla="*/ 515123 w 865623"/>
                  <a:gd name="connsiteY84" fmla="*/ 219172 h 827962"/>
                  <a:gd name="connsiteX85" fmla="*/ 508486 w 865623"/>
                  <a:gd name="connsiteY85" fmla="*/ 236443 h 827962"/>
                  <a:gd name="connsiteX86" fmla="*/ 512358 w 865623"/>
                  <a:gd name="connsiteY86" fmla="*/ 240761 h 827962"/>
                  <a:gd name="connsiteX87" fmla="*/ 600300 w 865623"/>
                  <a:gd name="connsiteY87" fmla="*/ 563515 h 827962"/>
                  <a:gd name="connsiteX88" fmla="*/ 599193 w 865623"/>
                  <a:gd name="connsiteY88" fmla="*/ 576469 h 827962"/>
                  <a:gd name="connsiteX89" fmla="*/ 594769 w 865623"/>
                  <a:gd name="connsiteY89" fmla="*/ 579167 h 827962"/>
                  <a:gd name="connsiteX90" fmla="*/ 593109 w 865623"/>
                  <a:gd name="connsiteY90" fmla="*/ 579167 h 827962"/>
                  <a:gd name="connsiteX91" fmla="*/ 586472 w 865623"/>
                  <a:gd name="connsiteY91" fmla="*/ 573770 h 827962"/>
                  <a:gd name="connsiteX92" fmla="*/ 582601 w 865623"/>
                  <a:gd name="connsiteY92" fmla="*/ 561896 h 827962"/>
                  <a:gd name="connsiteX93" fmla="*/ 585366 w 865623"/>
                  <a:gd name="connsiteY93" fmla="*/ 548403 h 827962"/>
                  <a:gd name="connsiteX94" fmla="*/ 598640 w 865623"/>
                  <a:gd name="connsiteY94" fmla="*/ 548943 h 827962"/>
                  <a:gd name="connsiteX95" fmla="*/ 600300 w 865623"/>
                  <a:gd name="connsiteY95" fmla="*/ 563515 h 827962"/>
                  <a:gd name="connsiteX96" fmla="*/ 447646 w 865623"/>
                  <a:gd name="connsiteY96" fmla="*/ 777246 h 827962"/>
                  <a:gd name="connsiteX97" fmla="*/ 449859 w 865623"/>
                  <a:gd name="connsiteY97" fmla="*/ 776166 h 827962"/>
                  <a:gd name="connsiteX98" fmla="*/ 452071 w 865623"/>
                  <a:gd name="connsiteY98" fmla="*/ 778865 h 827962"/>
                  <a:gd name="connsiteX99" fmla="*/ 458708 w 865623"/>
                  <a:gd name="connsiteY99" fmla="*/ 778325 h 827962"/>
                  <a:gd name="connsiteX100" fmla="*/ 461473 w 865623"/>
                  <a:gd name="connsiteY100" fmla="*/ 762673 h 827962"/>
                  <a:gd name="connsiteX101" fmla="*/ 469217 w 865623"/>
                  <a:gd name="connsiteY101" fmla="*/ 772928 h 827962"/>
                  <a:gd name="connsiteX102" fmla="*/ 481938 w 865623"/>
                  <a:gd name="connsiteY102" fmla="*/ 775626 h 827962"/>
                  <a:gd name="connsiteX103" fmla="*/ 490787 w 865623"/>
                  <a:gd name="connsiteY103" fmla="*/ 775087 h 827962"/>
                  <a:gd name="connsiteX104" fmla="*/ 502402 w 865623"/>
                  <a:gd name="connsiteY104" fmla="*/ 778865 h 827962"/>
                  <a:gd name="connsiteX105" fmla="*/ 513464 w 865623"/>
                  <a:gd name="connsiteY105" fmla="*/ 778865 h 827962"/>
                  <a:gd name="connsiteX106" fmla="*/ 517889 w 865623"/>
                  <a:gd name="connsiteY106" fmla="*/ 786421 h 827962"/>
                  <a:gd name="connsiteX107" fmla="*/ 525079 w 865623"/>
                  <a:gd name="connsiteY107" fmla="*/ 788580 h 827962"/>
                  <a:gd name="connsiteX108" fmla="*/ 548862 w 865623"/>
                  <a:gd name="connsiteY108" fmla="*/ 777785 h 827962"/>
                  <a:gd name="connsiteX109" fmla="*/ 574857 w 865623"/>
                  <a:gd name="connsiteY109" fmla="*/ 769150 h 827962"/>
                  <a:gd name="connsiteX110" fmla="*/ 587578 w 865623"/>
                  <a:gd name="connsiteY110" fmla="*/ 768610 h 827962"/>
                  <a:gd name="connsiteX111" fmla="*/ 599193 w 865623"/>
                  <a:gd name="connsiteY111" fmla="*/ 774007 h 827962"/>
                  <a:gd name="connsiteX112" fmla="*/ 617999 w 865623"/>
                  <a:gd name="connsiteY112" fmla="*/ 769689 h 827962"/>
                  <a:gd name="connsiteX113" fmla="*/ 634038 w 865623"/>
                  <a:gd name="connsiteY113" fmla="*/ 770229 h 827962"/>
                  <a:gd name="connsiteX114" fmla="*/ 646206 w 865623"/>
                  <a:gd name="connsiteY114" fmla="*/ 762133 h 827962"/>
                  <a:gd name="connsiteX115" fmla="*/ 653949 w 865623"/>
                  <a:gd name="connsiteY115" fmla="*/ 760514 h 827962"/>
                  <a:gd name="connsiteX116" fmla="*/ 657821 w 865623"/>
                  <a:gd name="connsiteY116" fmla="*/ 762673 h 827962"/>
                  <a:gd name="connsiteX117" fmla="*/ 662799 w 865623"/>
                  <a:gd name="connsiteY117" fmla="*/ 782643 h 827962"/>
                  <a:gd name="connsiteX118" fmla="*/ 667777 w 865623"/>
                  <a:gd name="connsiteY118" fmla="*/ 784262 h 827962"/>
                  <a:gd name="connsiteX119" fmla="*/ 681604 w 865623"/>
                  <a:gd name="connsiteY119" fmla="*/ 767531 h 827962"/>
                  <a:gd name="connsiteX120" fmla="*/ 705940 w 865623"/>
                  <a:gd name="connsiteY120" fmla="*/ 764292 h 827962"/>
                  <a:gd name="connsiteX121" fmla="*/ 713683 w 865623"/>
                  <a:gd name="connsiteY121" fmla="*/ 750259 h 827962"/>
                  <a:gd name="connsiteX122" fmla="*/ 717555 w 865623"/>
                  <a:gd name="connsiteY122" fmla="*/ 749180 h 827962"/>
                  <a:gd name="connsiteX123" fmla="*/ 720874 w 865623"/>
                  <a:gd name="connsiteY123" fmla="*/ 751879 h 827962"/>
                  <a:gd name="connsiteX124" fmla="*/ 720321 w 865623"/>
                  <a:gd name="connsiteY124" fmla="*/ 761054 h 827962"/>
                  <a:gd name="connsiteX125" fmla="*/ 719214 w 865623"/>
                  <a:gd name="connsiteY125" fmla="*/ 769150 h 827962"/>
                  <a:gd name="connsiteX126" fmla="*/ 718661 w 865623"/>
                  <a:gd name="connsiteY126" fmla="*/ 787500 h 827962"/>
                  <a:gd name="connsiteX127" fmla="*/ 707599 w 865623"/>
                  <a:gd name="connsiteY127" fmla="*/ 789659 h 827962"/>
                  <a:gd name="connsiteX128" fmla="*/ 700962 w 865623"/>
                  <a:gd name="connsiteY128" fmla="*/ 784802 h 827962"/>
                  <a:gd name="connsiteX129" fmla="*/ 694325 w 865623"/>
                  <a:gd name="connsiteY129" fmla="*/ 791278 h 827962"/>
                  <a:gd name="connsiteX130" fmla="*/ 679945 w 865623"/>
                  <a:gd name="connsiteY130" fmla="*/ 794517 h 827962"/>
                  <a:gd name="connsiteX131" fmla="*/ 671648 w 865623"/>
                  <a:gd name="connsiteY131" fmla="*/ 797755 h 827962"/>
                  <a:gd name="connsiteX132" fmla="*/ 644547 w 865623"/>
                  <a:gd name="connsiteY132" fmla="*/ 805311 h 827962"/>
                  <a:gd name="connsiteX133" fmla="*/ 635144 w 865623"/>
                  <a:gd name="connsiteY133" fmla="*/ 808550 h 827962"/>
                  <a:gd name="connsiteX134" fmla="*/ 613574 w 865623"/>
                  <a:gd name="connsiteY134" fmla="*/ 816106 h 827962"/>
                  <a:gd name="connsiteX135" fmla="*/ 580941 w 865623"/>
                  <a:gd name="connsiteY135" fmla="*/ 827440 h 827962"/>
                  <a:gd name="connsiteX136" fmla="*/ 571539 w 865623"/>
                  <a:gd name="connsiteY136" fmla="*/ 817185 h 827962"/>
                  <a:gd name="connsiteX137" fmla="*/ 567114 w 865623"/>
                  <a:gd name="connsiteY137" fmla="*/ 811788 h 827962"/>
                  <a:gd name="connsiteX138" fmla="*/ 556605 w 865623"/>
                  <a:gd name="connsiteY138" fmla="*/ 811248 h 827962"/>
                  <a:gd name="connsiteX139" fmla="*/ 528398 w 865623"/>
                  <a:gd name="connsiteY139" fmla="*/ 805851 h 827962"/>
                  <a:gd name="connsiteX140" fmla="*/ 508486 w 865623"/>
                  <a:gd name="connsiteY140" fmla="*/ 809629 h 827962"/>
                  <a:gd name="connsiteX141" fmla="*/ 478619 w 865623"/>
                  <a:gd name="connsiteY141" fmla="*/ 809629 h 827962"/>
                  <a:gd name="connsiteX142" fmla="*/ 449305 w 865623"/>
                  <a:gd name="connsiteY142" fmla="*/ 813407 h 827962"/>
                  <a:gd name="connsiteX143" fmla="*/ 447093 w 865623"/>
                  <a:gd name="connsiteY143" fmla="*/ 811788 h 827962"/>
                  <a:gd name="connsiteX144" fmla="*/ 447646 w 865623"/>
                  <a:gd name="connsiteY144" fmla="*/ 777246 h 827962"/>
                  <a:gd name="connsiteX145" fmla="*/ 12916 w 865623"/>
                  <a:gd name="connsiteY145" fmla="*/ 340070 h 827962"/>
                  <a:gd name="connsiteX146" fmla="*/ 16787 w 865623"/>
                  <a:gd name="connsiteY146" fmla="*/ 340070 h 827962"/>
                  <a:gd name="connsiteX147" fmla="*/ 17894 w 865623"/>
                  <a:gd name="connsiteY147" fmla="*/ 351944 h 827962"/>
                  <a:gd name="connsiteX148" fmla="*/ 22871 w 865623"/>
                  <a:gd name="connsiteY148" fmla="*/ 361659 h 827962"/>
                  <a:gd name="connsiteX149" fmla="*/ 25084 w 865623"/>
                  <a:gd name="connsiteY149" fmla="*/ 369215 h 827962"/>
                  <a:gd name="connsiteX150" fmla="*/ 28402 w 865623"/>
                  <a:gd name="connsiteY150" fmla="*/ 375152 h 827962"/>
                  <a:gd name="connsiteX151" fmla="*/ 44995 w 865623"/>
                  <a:gd name="connsiteY151" fmla="*/ 387565 h 827962"/>
                  <a:gd name="connsiteX152" fmla="*/ 26743 w 865623"/>
                  <a:gd name="connsiteY152" fmla="*/ 384327 h 827962"/>
                  <a:gd name="connsiteX153" fmla="*/ 13469 w 865623"/>
                  <a:gd name="connsiteY153" fmla="*/ 365437 h 827962"/>
                  <a:gd name="connsiteX154" fmla="*/ -358 w 865623"/>
                  <a:gd name="connsiteY154" fmla="*/ 355182 h 827962"/>
                  <a:gd name="connsiteX155" fmla="*/ -358 w 865623"/>
                  <a:gd name="connsiteY155" fmla="*/ 348166 h 827962"/>
                  <a:gd name="connsiteX156" fmla="*/ 12916 w 865623"/>
                  <a:gd name="connsiteY156" fmla="*/ 340070 h 827962"/>
                  <a:gd name="connsiteX157" fmla="*/ 93667 w 865623"/>
                  <a:gd name="connsiteY157" fmla="*/ 524655 h 827962"/>
                  <a:gd name="connsiteX158" fmla="*/ 90349 w 865623"/>
                  <a:gd name="connsiteY158" fmla="*/ 523576 h 827962"/>
                  <a:gd name="connsiteX159" fmla="*/ 90902 w 865623"/>
                  <a:gd name="connsiteY159" fmla="*/ 504146 h 827962"/>
                  <a:gd name="connsiteX160" fmla="*/ 100857 w 865623"/>
                  <a:gd name="connsiteY160" fmla="*/ 505225 h 827962"/>
                  <a:gd name="connsiteX161" fmla="*/ 102517 w 865623"/>
                  <a:gd name="connsiteY161" fmla="*/ 501987 h 827962"/>
                  <a:gd name="connsiteX162" fmla="*/ 103070 w 865623"/>
                  <a:gd name="connsiteY162" fmla="*/ 498748 h 827962"/>
                  <a:gd name="connsiteX163" fmla="*/ 105835 w 865623"/>
                  <a:gd name="connsiteY163" fmla="*/ 491732 h 827962"/>
                  <a:gd name="connsiteX164" fmla="*/ 110260 w 865623"/>
                  <a:gd name="connsiteY164" fmla="*/ 500368 h 827962"/>
                  <a:gd name="connsiteX165" fmla="*/ 116897 w 865623"/>
                  <a:gd name="connsiteY165" fmla="*/ 510083 h 827962"/>
                  <a:gd name="connsiteX166" fmla="*/ 131278 w 865623"/>
                  <a:gd name="connsiteY166" fmla="*/ 523576 h 827962"/>
                  <a:gd name="connsiteX167" fmla="*/ 130724 w 865623"/>
                  <a:gd name="connsiteY167" fmla="*/ 527893 h 827962"/>
                  <a:gd name="connsiteX168" fmla="*/ 120216 w 865623"/>
                  <a:gd name="connsiteY168" fmla="*/ 528973 h 827962"/>
                  <a:gd name="connsiteX169" fmla="*/ 104729 w 865623"/>
                  <a:gd name="connsiteY169" fmla="*/ 529513 h 827962"/>
                  <a:gd name="connsiteX170" fmla="*/ 100304 w 865623"/>
                  <a:gd name="connsiteY170" fmla="*/ 520337 h 827962"/>
                  <a:gd name="connsiteX171" fmla="*/ 98645 w 865623"/>
                  <a:gd name="connsiteY171" fmla="*/ 519798 h 827962"/>
                  <a:gd name="connsiteX172" fmla="*/ 93667 w 865623"/>
                  <a:gd name="connsiteY172" fmla="*/ 524655 h 827962"/>
                  <a:gd name="connsiteX173" fmla="*/ 129618 w 865623"/>
                  <a:gd name="connsiteY173" fmla="*/ 557039 h 827962"/>
                  <a:gd name="connsiteX174" fmla="*/ 141786 w 865623"/>
                  <a:gd name="connsiteY174" fmla="*/ 560277 h 827962"/>
                  <a:gd name="connsiteX175" fmla="*/ 153401 w 865623"/>
                  <a:gd name="connsiteY175" fmla="*/ 566214 h 827962"/>
                  <a:gd name="connsiteX176" fmla="*/ 146211 w 865623"/>
                  <a:gd name="connsiteY176" fmla="*/ 571071 h 827962"/>
                  <a:gd name="connsiteX177" fmla="*/ 139021 w 865623"/>
                  <a:gd name="connsiteY177" fmla="*/ 577548 h 827962"/>
                  <a:gd name="connsiteX178" fmla="*/ 134043 w 865623"/>
                  <a:gd name="connsiteY178" fmla="*/ 572151 h 827962"/>
                  <a:gd name="connsiteX179" fmla="*/ 121875 w 865623"/>
                  <a:gd name="connsiteY179" fmla="*/ 559197 h 827962"/>
                  <a:gd name="connsiteX180" fmla="*/ 123534 w 865623"/>
                  <a:gd name="connsiteY180" fmla="*/ 551641 h 827962"/>
                  <a:gd name="connsiteX181" fmla="*/ 126300 w 865623"/>
                  <a:gd name="connsiteY181" fmla="*/ 551641 h 827962"/>
                  <a:gd name="connsiteX182" fmla="*/ 129618 w 865623"/>
                  <a:gd name="connsiteY182" fmla="*/ 557039 h 827962"/>
                  <a:gd name="connsiteX183" fmla="*/ 131278 w 865623"/>
                  <a:gd name="connsiteY183" fmla="*/ 410773 h 827962"/>
                  <a:gd name="connsiteX184" fmla="*/ 114685 w 865623"/>
                  <a:gd name="connsiteY184" fmla="*/ 410234 h 827962"/>
                  <a:gd name="connsiteX185" fmla="*/ 110813 w 865623"/>
                  <a:gd name="connsiteY185" fmla="*/ 416710 h 827962"/>
                  <a:gd name="connsiteX186" fmla="*/ 108048 w 865623"/>
                  <a:gd name="connsiteY186" fmla="*/ 417250 h 827962"/>
                  <a:gd name="connsiteX187" fmla="*/ 100304 w 865623"/>
                  <a:gd name="connsiteY187" fmla="*/ 408615 h 827962"/>
                  <a:gd name="connsiteX188" fmla="*/ 85371 w 865623"/>
                  <a:gd name="connsiteY188" fmla="*/ 399979 h 827962"/>
                  <a:gd name="connsiteX189" fmla="*/ 83158 w 865623"/>
                  <a:gd name="connsiteY189" fmla="*/ 393502 h 827962"/>
                  <a:gd name="connsiteX190" fmla="*/ 67672 w 865623"/>
                  <a:gd name="connsiteY190" fmla="*/ 390804 h 827962"/>
                  <a:gd name="connsiteX191" fmla="*/ 59376 w 865623"/>
                  <a:gd name="connsiteY191" fmla="*/ 383787 h 827962"/>
                  <a:gd name="connsiteX192" fmla="*/ 53845 w 865623"/>
                  <a:gd name="connsiteY192" fmla="*/ 370294 h 827962"/>
                  <a:gd name="connsiteX193" fmla="*/ 46101 w 865623"/>
                  <a:gd name="connsiteY193" fmla="*/ 365976 h 827962"/>
                  <a:gd name="connsiteX194" fmla="*/ 46101 w 865623"/>
                  <a:gd name="connsiteY194" fmla="*/ 358420 h 827962"/>
                  <a:gd name="connsiteX195" fmla="*/ 64353 w 865623"/>
                  <a:gd name="connsiteY195" fmla="*/ 329275 h 827962"/>
                  <a:gd name="connsiteX196" fmla="*/ 59929 w 865623"/>
                  <a:gd name="connsiteY196" fmla="*/ 317401 h 827962"/>
                  <a:gd name="connsiteX197" fmla="*/ 59929 w 865623"/>
                  <a:gd name="connsiteY197" fmla="*/ 309845 h 827962"/>
                  <a:gd name="connsiteX198" fmla="*/ 66566 w 865623"/>
                  <a:gd name="connsiteY198" fmla="*/ 301210 h 827962"/>
                  <a:gd name="connsiteX199" fmla="*/ 84818 w 865623"/>
                  <a:gd name="connsiteY199" fmla="*/ 294733 h 827962"/>
                  <a:gd name="connsiteX200" fmla="*/ 88689 w 865623"/>
                  <a:gd name="connsiteY200" fmla="*/ 273684 h 827962"/>
                  <a:gd name="connsiteX201" fmla="*/ 97539 w 865623"/>
                  <a:gd name="connsiteY201" fmla="*/ 262350 h 827962"/>
                  <a:gd name="connsiteX202" fmla="*/ 106388 w 865623"/>
                  <a:gd name="connsiteY202" fmla="*/ 238062 h 827962"/>
                  <a:gd name="connsiteX203" fmla="*/ 98645 w 865623"/>
                  <a:gd name="connsiteY203" fmla="*/ 223489 h 827962"/>
                  <a:gd name="connsiteX204" fmla="*/ 96986 w 865623"/>
                  <a:gd name="connsiteY204" fmla="*/ 215933 h 827962"/>
                  <a:gd name="connsiteX205" fmla="*/ 98092 w 865623"/>
                  <a:gd name="connsiteY205" fmla="*/ 202980 h 827962"/>
                  <a:gd name="connsiteX206" fmla="*/ 130724 w 865623"/>
                  <a:gd name="connsiteY206" fmla="*/ 191646 h 827962"/>
                  <a:gd name="connsiteX207" fmla="*/ 148976 w 865623"/>
                  <a:gd name="connsiteY207" fmla="*/ 191106 h 827962"/>
                  <a:gd name="connsiteX208" fmla="*/ 165016 w 865623"/>
                  <a:gd name="connsiteY208" fmla="*/ 181391 h 827962"/>
                  <a:gd name="connsiteX209" fmla="*/ 184374 w 865623"/>
                  <a:gd name="connsiteY209" fmla="*/ 151167 h 827962"/>
                  <a:gd name="connsiteX210" fmla="*/ 217007 w 865623"/>
                  <a:gd name="connsiteY210" fmla="*/ 150087 h 827962"/>
                  <a:gd name="connsiteX211" fmla="*/ 246874 w 865623"/>
                  <a:gd name="connsiteY211" fmla="*/ 136594 h 827962"/>
                  <a:gd name="connsiteX212" fmla="*/ 247427 w 865623"/>
                  <a:gd name="connsiteY212" fmla="*/ 120402 h 827962"/>
                  <a:gd name="connsiteX213" fmla="*/ 266785 w 865623"/>
                  <a:gd name="connsiteY213" fmla="*/ 115005 h 827962"/>
                  <a:gd name="connsiteX214" fmla="*/ 275635 w 865623"/>
                  <a:gd name="connsiteY214" fmla="*/ 113386 h 827962"/>
                  <a:gd name="connsiteX215" fmla="*/ 297758 w 865623"/>
                  <a:gd name="connsiteY215" fmla="*/ 99353 h 827962"/>
                  <a:gd name="connsiteX216" fmla="*/ 317116 w 865623"/>
                  <a:gd name="connsiteY216" fmla="*/ 97734 h 827962"/>
                  <a:gd name="connsiteX217" fmla="*/ 324307 w 865623"/>
                  <a:gd name="connsiteY217" fmla="*/ 93956 h 827962"/>
                  <a:gd name="connsiteX218" fmla="*/ 354727 w 865623"/>
                  <a:gd name="connsiteY218" fmla="*/ 77764 h 827962"/>
                  <a:gd name="connsiteX219" fmla="*/ 371873 w 865623"/>
                  <a:gd name="connsiteY219" fmla="*/ 61033 h 827962"/>
                  <a:gd name="connsiteX220" fmla="*/ 384041 w 865623"/>
                  <a:gd name="connsiteY220" fmla="*/ 64811 h 827962"/>
                  <a:gd name="connsiteX221" fmla="*/ 394549 w 865623"/>
                  <a:gd name="connsiteY221" fmla="*/ 58334 h 827962"/>
                  <a:gd name="connsiteX222" fmla="*/ 403952 w 865623"/>
                  <a:gd name="connsiteY222" fmla="*/ 69668 h 827962"/>
                  <a:gd name="connsiteX223" fmla="*/ 422757 w 865623"/>
                  <a:gd name="connsiteY223" fmla="*/ 73986 h 827962"/>
                  <a:gd name="connsiteX224" fmla="*/ 435478 w 865623"/>
                  <a:gd name="connsiteY224" fmla="*/ 68049 h 827962"/>
                  <a:gd name="connsiteX225" fmla="*/ 471982 w 865623"/>
                  <a:gd name="connsiteY225" fmla="*/ 78304 h 827962"/>
                  <a:gd name="connsiteX226" fmla="*/ 511805 w 865623"/>
                  <a:gd name="connsiteY226" fmla="*/ 58334 h 827962"/>
                  <a:gd name="connsiteX227" fmla="*/ 519548 w 865623"/>
                  <a:gd name="connsiteY227" fmla="*/ 58334 h 827962"/>
                  <a:gd name="connsiteX228" fmla="*/ 531163 w 865623"/>
                  <a:gd name="connsiteY228" fmla="*/ 47540 h 827962"/>
                  <a:gd name="connsiteX229" fmla="*/ 537800 w 865623"/>
                  <a:gd name="connsiteY229" fmla="*/ 29189 h 827962"/>
                  <a:gd name="connsiteX230" fmla="*/ 529504 w 865623"/>
                  <a:gd name="connsiteY230" fmla="*/ 12997 h 827962"/>
                  <a:gd name="connsiteX231" fmla="*/ 530057 w 865623"/>
                  <a:gd name="connsiteY231" fmla="*/ 7060 h 827962"/>
                  <a:gd name="connsiteX232" fmla="*/ 546650 w 865623"/>
                  <a:gd name="connsiteY232" fmla="*/ -496 h 827962"/>
                  <a:gd name="connsiteX233" fmla="*/ 572645 w 865623"/>
                  <a:gd name="connsiteY233" fmla="*/ 27570 h 827962"/>
                  <a:gd name="connsiteX234" fmla="*/ 571539 w 865623"/>
                  <a:gd name="connsiteY234" fmla="*/ 34586 h 827962"/>
                  <a:gd name="connsiteX235" fmla="*/ 556052 w 865623"/>
                  <a:gd name="connsiteY235" fmla="*/ 45921 h 827962"/>
                  <a:gd name="connsiteX236" fmla="*/ 562136 w 865623"/>
                  <a:gd name="connsiteY236" fmla="*/ 84241 h 827962"/>
                  <a:gd name="connsiteX237" fmla="*/ 548862 w 865623"/>
                  <a:gd name="connsiteY237" fmla="*/ 113926 h 827962"/>
                  <a:gd name="connsiteX238" fmla="*/ 544990 w 865623"/>
                  <a:gd name="connsiteY238" fmla="*/ 107989 h 827962"/>
                  <a:gd name="connsiteX239" fmla="*/ 530610 w 865623"/>
                  <a:gd name="connsiteY239" fmla="*/ 106370 h 827962"/>
                  <a:gd name="connsiteX240" fmla="*/ 510146 w 865623"/>
                  <a:gd name="connsiteY240" fmla="*/ 113386 h 827962"/>
                  <a:gd name="connsiteX241" fmla="*/ 482491 w 865623"/>
                  <a:gd name="connsiteY241" fmla="*/ 111227 h 827962"/>
                  <a:gd name="connsiteX242" fmla="*/ 471429 w 865623"/>
                  <a:gd name="connsiteY242" fmla="*/ 113926 h 827962"/>
                  <a:gd name="connsiteX243" fmla="*/ 462027 w 865623"/>
                  <a:gd name="connsiteY243" fmla="*/ 108528 h 827962"/>
                  <a:gd name="connsiteX244" fmla="*/ 458708 w 865623"/>
                  <a:gd name="connsiteY244" fmla="*/ 107989 h 827962"/>
                  <a:gd name="connsiteX245" fmla="*/ 445987 w 865623"/>
                  <a:gd name="connsiteY245" fmla="*/ 121482 h 827962"/>
                  <a:gd name="connsiteX246" fmla="*/ 425522 w 865623"/>
                  <a:gd name="connsiteY246" fmla="*/ 135515 h 827962"/>
                  <a:gd name="connsiteX247" fmla="*/ 419992 w 865623"/>
                  <a:gd name="connsiteY247" fmla="*/ 134975 h 827962"/>
                  <a:gd name="connsiteX248" fmla="*/ 404505 w 865623"/>
                  <a:gd name="connsiteY248" fmla="*/ 127419 h 827962"/>
                  <a:gd name="connsiteX249" fmla="*/ 401740 w 865623"/>
                  <a:gd name="connsiteY249" fmla="*/ 129038 h 827962"/>
                  <a:gd name="connsiteX250" fmla="*/ 394549 w 865623"/>
                  <a:gd name="connsiteY250" fmla="*/ 134975 h 827962"/>
                  <a:gd name="connsiteX251" fmla="*/ 393443 w 865623"/>
                  <a:gd name="connsiteY251" fmla="*/ 145230 h 827962"/>
                  <a:gd name="connsiteX252" fmla="*/ 375191 w 865623"/>
                  <a:gd name="connsiteY252" fmla="*/ 161421 h 827962"/>
                  <a:gd name="connsiteX253" fmla="*/ 360811 w 865623"/>
                  <a:gd name="connsiteY253" fmla="*/ 160342 h 827962"/>
                  <a:gd name="connsiteX254" fmla="*/ 352514 w 865623"/>
                  <a:gd name="connsiteY254" fmla="*/ 159262 h 827962"/>
                  <a:gd name="connsiteX255" fmla="*/ 342006 w 865623"/>
                  <a:gd name="connsiteY255" fmla="*/ 170597 h 827962"/>
                  <a:gd name="connsiteX256" fmla="*/ 361364 w 865623"/>
                  <a:gd name="connsiteY256" fmla="*/ 184090 h 827962"/>
                  <a:gd name="connsiteX257" fmla="*/ 361917 w 865623"/>
                  <a:gd name="connsiteY257" fmla="*/ 195964 h 827962"/>
                  <a:gd name="connsiteX258" fmla="*/ 365789 w 865623"/>
                  <a:gd name="connsiteY258" fmla="*/ 200281 h 827962"/>
                  <a:gd name="connsiteX259" fmla="*/ 403952 w 865623"/>
                  <a:gd name="connsiteY259" fmla="*/ 207838 h 827962"/>
                  <a:gd name="connsiteX260" fmla="*/ 415014 w 865623"/>
                  <a:gd name="connsiteY260" fmla="*/ 220791 h 827962"/>
                  <a:gd name="connsiteX261" fmla="*/ 415014 w 865623"/>
                  <a:gd name="connsiteY261" fmla="*/ 223489 h 827962"/>
                  <a:gd name="connsiteX262" fmla="*/ 405058 w 865623"/>
                  <a:gd name="connsiteY262" fmla="*/ 222410 h 827962"/>
                  <a:gd name="connsiteX263" fmla="*/ 398974 w 865623"/>
                  <a:gd name="connsiteY263" fmla="*/ 213774 h 827962"/>
                  <a:gd name="connsiteX264" fmla="*/ 377403 w 865623"/>
                  <a:gd name="connsiteY264" fmla="*/ 207298 h 827962"/>
                  <a:gd name="connsiteX265" fmla="*/ 366895 w 865623"/>
                  <a:gd name="connsiteY265" fmla="*/ 205679 h 827962"/>
                  <a:gd name="connsiteX266" fmla="*/ 353067 w 865623"/>
                  <a:gd name="connsiteY266" fmla="*/ 216473 h 827962"/>
                  <a:gd name="connsiteX267" fmla="*/ 354727 w 865623"/>
                  <a:gd name="connsiteY267" fmla="*/ 221870 h 827962"/>
                  <a:gd name="connsiteX268" fmla="*/ 384594 w 865623"/>
                  <a:gd name="connsiteY268" fmla="*/ 244539 h 827962"/>
                  <a:gd name="connsiteX269" fmla="*/ 384594 w 865623"/>
                  <a:gd name="connsiteY269" fmla="*/ 253174 h 827962"/>
                  <a:gd name="connsiteX270" fmla="*/ 363576 w 865623"/>
                  <a:gd name="connsiteY270" fmla="*/ 239141 h 827962"/>
                  <a:gd name="connsiteX271" fmla="*/ 356386 w 865623"/>
                  <a:gd name="connsiteY271" fmla="*/ 228887 h 827962"/>
                  <a:gd name="connsiteX272" fmla="*/ 350855 w 865623"/>
                  <a:gd name="connsiteY272" fmla="*/ 226188 h 827962"/>
                  <a:gd name="connsiteX273" fmla="*/ 336475 w 865623"/>
                  <a:gd name="connsiteY273" fmla="*/ 224029 h 827962"/>
                  <a:gd name="connsiteX274" fmla="*/ 329838 w 865623"/>
                  <a:gd name="connsiteY274" fmla="*/ 246158 h 827962"/>
                  <a:gd name="connsiteX275" fmla="*/ 339240 w 865623"/>
                  <a:gd name="connsiteY275" fmla="*/ 252095 h 827962"/>
                  <a:gd name="connsiteX276" fmla="*/ 364682 w 865623"/>
                  <a:gd name="connsiteY276" fmla="*/ 262350 h 827962"/>
                  <a:gd name="connsiteX277" fmla="*/ 354174 w 865623"/>
                  <a:gd name="connsiteY277" fmla="*/ 261270 h 827962"/>
                  <a:gd name="connsiteX278" fmla="*/ 338134 w 865623"/>
                  <a:gd name="connsiteY278" fmla="*/ 261270 h 827962"/>
                  <a:gd name="connsiteX279" fmla="*/ 333156 w 865623"/>
                  <a:gd name="connsiteY279" fmla="*/ 262350 h 827962"/>
                  <a:gd name="connsiteX280" fmla="*/ 320988 w 865623"/>
                  <a:gd name="connsiteY280" fmla="*/ 243999 h 827962"/>
                  <a:gd name="connsiteX281" fmla="*/ 320435 w 865623"/>
                  <a:gd name="connsiteY281" fmla="*/ 240221 h 827962"/>
                  <a:gd name="connsiteX282" fmla="*/ 315457 w 865623"/>
                  <a:gd name="connsiteY282" fmla="*/ 233744 h 827962"/>
                  <a:gd name="connsiteX283" fmla="*/ 304948 w 865623"/>
                  <a:gd name="connsiteY283" fmla="*/ 233205 h 827962"/>
                  <a:gd name="connsiteX284" fmla="*/ 291674 w 865623"/>
                  <a:gd name="connsiteY284" fmla="*/ 227268 h 827962"/>
                  <a:gd name="connsiteX285" fmla="*/ 278953 w 865623"/>
                  <a:gd name="connsiteY285" fmla="*/ 223489 h 827962"/>
                  <a:gd name="connsiteX286" fmla="*/ 273422 w 865623"/>
                  <a:gd name="connsiteY286" fmla="*/ 217013 h 827962"/>
                  <a:gd name="connsiteX287" fmla="*/ 278953 w 865623"/>
                  <a:gd name="connsiteY287" fmla="*/ 195424 h 827962"/>
                  <a:gd name="connsiteX288" fmla="*/ 274528 w 865623"/>
                  <a:gd name="connsiteY288" fmla="*/ 192725 h 827962"/>
                  <a:gd name="connsiteX289" fmla="*/ 264573 w 865623"/>
                  <a:gd name="connsiteY289" fmla="*/ 204059 h 827962"/>
                  <a:gd name="connsiteX290" fmla="*/ 254617 w 865623"/>
                  <a:gd name="connsiteY290" fmla="*/ 212155 h 827962"/>
                  <a:gd name="connsiteX291" fmla="*/ 251298 w 865623"/>
                  <a:gd name="connsiteY291" fmla="*/ 215933 h 827962"/>
                  <a:gd name="connsiteX292" fmla="*/ 252958 w 865623"/>
                  <a:gd name="connsiteY292" fmla="*/ 225109 h 827962"/>
                  <a:gd name="connsiteX293" fmla="*/ 252958 w 865623"/>
                  <a:gd name="connsiteY293" fmla="*/ 256413 h 827962"/>
                  <a:gd name="connsiteX294" fmla="*/ 275635 w 865623"/>
                  <a:gd name="connsiteY294" fmla="*/ 282859 h 827962"/>
                  <a:gd name="connsiteX295" fmla="*/ 291121 w 865623"/>
                  <a:gd name="connsiteY295" fmla="*/ 307686 h 827962"/>
                  <a:gd name="connsiteX296" fmla="*/ 327625 w 865623"/>
                  <a:gd name="connsiteY296" fmla="*/ 331434 h 827962"/>
                  <a:gd name="connsiteX297" fmla="*/ 338687 w 865623"/>
                  <a:gd name="connsiteY297" fmla="*/ 349785 h 827962"/>
                  <a:gd name="connsiteX298" fmla="*/ 341452 w 865623"/>
                  <a:gd name="connsiteY298" fmla="*/ 352483 h 827962"/>
                  <a:gd name="connsiteX299" fmla="*/ 342559 w 865623"/>
                  <a:gd name="connsiteY299" fmla="*/ 358960 h 827962"/>
                  <a:gd name="connsiteX300" fmla="*/ 326519 w 865623"/>
                  <a:gd name="connsiteY300" fmla="*/ 371374 h 827962"/>
                  <a:gd name="connsiteX301" fmla="*/ 321541 w 865623"/>
                  <a:gd name="connsiteY301" fmla="*/ 370294 h 827962"/>
                  <a:gd name="connsiteX302" fmla="*/ 330944 w 865623"/>
                  <a:gd name="connsiteY302" fmla="*/ 357341 h 827962"/>
                  <a:gd name="connsiteX303" fmla="*/ 330944 w 865623"/>
                  <a:gd name="connsiteY303" fmla="*/ 353023 h 827962"/>
                  <a:gd name="connsiteX304" fmla="*/ 316010 w 865623"/>
                  <a:gd name="connsiteY304" fmla="*/ 342768 h 827962"/>
                  <a:gd name="connsiteX305" fmla="*/ 306055 w 865623"/>
                  <a:gd name="connsiteY305" fmla="*/ 341689 h 827962"/>
                  <a:gd name="connsiteX306" fmla="*/ 304395 w 865623"/>
                  <a:gd name="connsiteY306" fmla="*/ 342229 h 827962"/>
                  <a:gd name="connsiteX307" fmla="*/ 303842 w 865623"/>
                  <a:gd name="connsiteY307" fmla="*/ 349785 h 827962"/>
                  <a:gd name="connsiteX308" fmla="*/ 298311 w 865623"/>
                  <a:gd name="connsiteY308" fmla="*/ 353563 h 827962"/>
                  <a:gd name="connsiteX309" fmla="*/ 298864 w 865623"/>
                  <a:gd name="connsiteY309" fmla="*/ 362738 h 827962"/>
                  <a:gd name="connsiteX310" fmla="*/ 311032 w 865623"/>
                  <a:gd name="connsiteY310" fmla="*/ 372993 h 827962"/>
                  <a:gd name="connsiteX311" fmla="*/ 314904 w 865623"/>
                  <a:gd name="connsiteY311" fmla="*/ 380009 h 827962"/>
                  <a:gd name="connsiteX312" fmla="*/ 320435 w 865623"/>
                  <a:gd name="connsiteY312" fmla="*/ 382168 h 827962"/>
                  <a:gd name="connsiteX313" fmla="*/ 314351 w 865623"/>
                  <a:gd name="connsiteY313" fmla="*/ 390264 h 827962"/>
                  <a:gd name="connsiteX314" fmla="*/ 293887 w 865623"/>
                  <a:gd name="connsiteY314" fmla="*/ 401598 h 827962"/>
                  <a:gd name="connsiteX315" fmla="*/ 290568 w 865623"/>
                  <a:gd name="connsiteY315" fmla="*/ 401598 h 827962"/>
                  <a:gd name="connsiteX316" fmla="*/ 282272 w 865623"/>
                  <a:gd name="connsiteY316" fmla="*/ 404837 h 827962"/>
                  <a:gd name="connsiteX317" fmla="*/ 281719 w 865623"/>
                  <a:gd name="connsiteY317" fmla="*/ 409154 h 827962"/>
                  <a:gd name="connsiteX318" fmla="*/ 296099 w 865623"/>
                  <a:gd name="connsiteY318" fmla="*/ 410234 h 827962"/>
                  <a:gd name="connsiteX319" fmla="*/ 308267 w 865623"/>
                  <a:gd name="connsiteY319" fmla="*/ 415091 h 827962"/>
                  <a:gd name="connsiteX320" fmla="*/ 325413 w 865623"/>
                  <a:gd name="connsiteY320" fmla="*/ 412393 h 827962"/>
                  <a:gd name="connsiteX321" fmla="*/ 332050 w 865623"/>
                  <a:gd name="connsiteY321" fmla="*/ 424267 h 827962"/>
                  <a:gd name="connsiteX322" fmla="*/ 337028 w 865623"/>
                  <a:gd name="connsiteY322" fmla="*/ 424267 h 827962"/>
                  <a:gd name="connsiteX323" fmla="*/ 344771 w 865623"/>
                  <a:gd name="connsiteY323" fmla="*/ 418330 h 827962"/>
                  <a:gd name="connsiteX324" fmla="*/ 353621 w 865623"/>
                  <a:gd name="connsiteY324" fmla="*/ 419409 h 827962"/>
                  <a:gd name="connsiteX325" fmla="*/ 353621 w 865623"/>
                  <a:gd name="connsiteY325" fmla="*/ 429124 h 827962"/>
                  <a:gd name="connsiteX326" fmla="*/ 361917 w 865623"/>
                  <a:gd name="connsiteY326" fmla="*/ 435601 h 827962"/>
                  <a:gd name="connsiteX327" fmla="*/ 380169 w 865623"/>
                  <a:gd name="connsiteY327" fmla="*/ 436140 h 827962"/>
                  <a:gd name="connsiteX328" fmla="*/ 385147 w 865623"/>
                  <a:gd name="connsiteY328" fmla="*/ 442617 h 827962"/>
                  <a:gd name="connsiteX329" fmla="*/ 393996 w 865623"/>
                  <a:gd name="connsiteY329" fmla="*/ 448014 h 827962"/>
                  <a:gd name="connsiteX330" fmla="*/ 426629 w 865623"/>
                  <a:gd name="connsiteY330" fmla="*/ 454491 h 827962"/>
                  <a:gd name="connsiteX331" fmla="*/ 432713 w 865623"/>
                  <a:gd name="connsiteY331" fmla="*/ 460968 h 827962"/>
                  <a:gd name="connsiteX332" fmla="*/ 427735 w 865623"/>
                  <a:gd name="connsiteY332" fmla="*/ 474461 h 827962"/>
                  <a:gd name="connsiteX333" fmla="*/ 436584 w 865623"/>
                  <a:gd name="connsiteY333" fmla="*/ 489573 h 827962"/>
                  <a:gd name="connsiteX334" fmla="*/ 438797 w 865623"/>
                  <a:gd name="connsiteY334" fmla="*/ 520337 h 827962"/>
                  <a:gd name="connsiteX335" fmla="*/ 434925 w 865623"/>
                  <a:gd name="connsiteY335" fmla="*/ 519258 h 827962"/>
                  <a:gd name="connsiteX336" fmla="*/ 433266 w 865623"/>
                  <a:gd name="connsiteY336" fmla="*/ 516020 h 827962"/>
                  <a:gd name="connsiteX337" fmla="*/ 424969 w 865623"/>
                  <a:gd name="connsiteY337" fmla="*/ 509003 h 827962"/>
                  <a:gd name="connsiteX338" fmla="*/ 410589 w 865623"/>
                  <a:gd name="connsiteY338" fmla="*/ 506844 h 827962"/>
                  <a:gd name="connsiteX339" fmla="*/ 402846 w 865623"/>
                  <a:gd name="connsiteY339" fmla="*/ 496050 h 827962"/>
                  <a:gd name="connsiteX340" fmla="*/ 393996 w 865623"/>
                  <a:gd name="connsiteY340" fmla="*/ 492272 h 827962"/>
                  <a:gd name="connsiteX341" fmla="*/ 391784 w 865623"/>
                  <a:gd name="connsiteY341" fmla="*/ 486874 h 827962"/>
                  <a:gd name="connsiteX342" fmla="*/ 353621 w 865623"/>
                  <a:gd name="connsiteY342" fmla="*/ 502526 h 827962"/>
                  <a:gd name="connsiteX343" fmla="*/ 347536 w 865623"/>
                  <a:gd name="connsiteY343" fmla="*/ 507384 h 827962"/>
                  <a:gd name="connsiteX344" fmla="*/ 344771 w 865623"/>
                  <a:gd name="connsiteY344" fmla="*/ 517099 h 827962"/>
                  <a:gd name="connsiteX345" fmla="*/ 356386 w 865623"/>
                  <a:gd name="connsiteY345" fmla="*/ 521417 h 827962"/>
                  <a:gd name="connsiteX346" fmla="*/ 359151 w 865623"/>
                  <a:gd name="connsiteY346" fmla="*/ 529513 h 827962"/>
                  <a:gd name="connsiteX347" fmla="*/ 370213 w 865623"/>
                  <a:gd name="connsiteY347" fmla="*/ 547323 h 827962"/>
                  <a:gd name="connsiteX348" fmla="*/ 377957 w 865623"/>
                  <a:gd name="connsiteY348" fmla="*/ 550562 h 827962"/>
                  <a:gd name="connsiteX349" fmla="*/ 380722 w 865623"/>
                  <a:gd name="connsiteY349" fmla="*/ 545704 h 827962"/>
                  <a:gd name="connsiteX350" fmla="*/ 377403 w 865623"/>
                  <a:gd name="connsiteY350" fmla="*/ 540307 h 827962"/>
                  <a:gd name="connsiteX351" fmla="*/ 382381 w 865623"/>
                  <a:gd name="connsiteY351" fmla="*/ 538148 h 827962"/>
                  <a:gd name="connsiteX352" fmla="*/ 387359 w 865623"/>
                  <a:gd name="connsiteY352" fmla="*/ 547863 h 827962"/>
                  <a:gd name="connsiteX353" fmla="*/ 397868 w 865623"/>
                  <a:gd name="connsiteY353" fmla="*/ 558118 h 827962"/>
                  <a:gd name="connsiteX354" fmla="*/ 395656 w 865623"/>
                  <a:gd name="connsiteY354" fmla="*/ 560817 h 827962"/>
                  <a:gd name="connsiteX355" fmla="*/ 393443 w 865623"/>
                  <a:gd name="connsiteY355" fmla="*/ 560277 h 827962"/>
                  <a:gd name="connsiteX356" fmla="*/ 376297 w 865623"/>
                  <a:gd name="connsiteY356" fmla="*/ 566214 h 827962"/>
                  <a:gd name="connsiteX357" fmla="*/ 374085 w 865623"/>
                  <a:gd name="connsiteY357" fmla="*/ 573770 h 827962"/>
                  <a:gd name="connsiteX358" fmla="*/ 369660 w 865623"/>
                  <a:gd name="connsiteY358" fmla="*/ 578627 h 827962"/>
                  <a:gd name="connsiteX359" fmla="*/ 361917 w 865623"/>
                  <a:gd name="connsiteY359" fmla="*/ 571611 h 827962"/>
                  <a:gd name="connsiteX360" fmla="*/ 363023 w 865623"/>
                  <a:gd name="connsiteY360" fmla="*/ 564595 h 827962"/>
                  <a:gd name="connsiteX361" fmla="*/ 330944 w 865623"/>
                  <a:gd name="connsiteY361" fmla="*/ 556499 h 827962"/>
                  <a:gd name="connsiteX362" fmla="*/ 325413 w 865623"/>
                  <a:gd name="connsiteY362" fmla="*/ 559197 h 827962"/>
                  <a:gd name="connsiteX363" fmla="*/ 324860 w 865623"/>
                  <a:gd name="connsiteY363" fmla="*/ 564055 h 827962"/>
                  <a:gd name="connsiteX364" fmla="*/ 336475 w 865623"/>
                  <a:gd name="connsiteY364" fmla="*/ 588882 h 827962"/>
                  <a:gd name="connsiteX365" fmla="*/ 347536 w 865623"/>
                  <a:gd name="connsiteY365" fmla="*/ 601296 h 827962"/>
                  <a:gd name="connsiteX366" fmla="*/ 351408 w 865623"/>
                  <a:gd name="connsiteY366" fmla="*/ 607773 h 827962"/>
                  <a:gd name="connsiteX367" fmla="*/ 354727 w 865623"/>
                  <a:gd name="connsiteY367" fmla="*/ 611011 h 827962"/>
                  <a:gd name="connsiteX368" fmla="*/ 365789 w 865623"/>
                  <a:gd name="connsiteY368" fmla="*/ 625583 h 827962"/>
                  <a:gd name="connsiteX369" fmla="*/ 368554 w 865623"/>
                  <a:gd name="connsiteY369" fmla="*/ 635838 h 827962"/>
                  <a:gd name="connsiteX370" fmla="*/ 374085 w 865623"/>
                  <a:gd name="connsiteY370" fmla="*/ 645013 h 827962"/>
                  <a:gd name="connsiteX371" fmla="*/ 375744 w 865623"/>
                  <a:gd name="connsiteY371" fmla="*/ 662824 h 827962"/>
                  <a:gd name="connsiteX372" fmla="*/ 389571 w 865623"/>
                  <a:gd name="connsiteY372" fmla="*/ 679016 h 827962"/>
                  <a:gd name="connsiteX373" fmla="*/ 377403 w 865623"/>
                  <a:gd name="connsiteY373" fmla="*/ 678476 h 827962"/>
                  <a:gd name="connsiteX374" fmla="*/ 376297 w 865623"/>
                  <a:gd name="connsiteY374" fmla="*/ 674698 h 827962"/>
                  <a:gd name="connsiteX375" fmla="*/ 367448 w 865623"/>
                  <a:gd name="connsiteY375" fmla="*/ 673079 h 827962"/>
                  <a:gd name="connsiteX376" fmla="*/ 358598 w 865623"/>
                  <a:gd name="connsiteY376" fmla="*/ 660665 h 827962"/>
                  <a:gd name="connsiteX377" fmla="*/ 354174 w 865623"/>
                  <a:gd name="connsiteY377" fmla="*/ 659046 h 827962"/>
                  <a:gd name="connsiteX378" fmla="*/ 346983 w 865623"/>
                  <a:gd name="connsiteY378" fmla="*/ 650411 h 827962"/>
                  <a:gd name="connsiteX379" fmla="*/ 336475 w 865623"/>
                  <a:gd name="connsiteY379" fmla="*/ 646093 h 827962"/>
                  <a:gd name="connsiteX380" fmla="*/ 329838 w 865623"/>
                  <a:gd name="connsiteY380" fmla="*/ 649871 h 827962"/>
                  <a:gd name="connsiteX381" fmla="*/ 322094 w 865623"/>
                  <a:gd name="connsiteY381" fmla="*/ 674698 h 827962"/>
                  <a:gd name="connsiteX382" fmla="*/ 320435 w 865623"/>
                  <a:gd name="connsiteY382" fmla="*/ 694128 h 827962"/>
                  <a:gd name="connsiteX383" fmla="*/ 318776 w 865623"/>
                  <a:gd name="connsiteY383" fmla="*/ 694128 h 827962"/>
                  <a:gd name="connsiteX384" fmla="*/ 316563 w 865623"/>
                  <a:gd name="connsiteY384" fmla="*/ 691969 h 827962"/>
                  <a:gd name="connsiteX385" fmla="*/ 309373 w 865623"/>
                  <a:gd name="connsiteY385" fmla="*/ 687652 h 827962"/>
                  <a:gd name="connsiteX386" fmla="*/ 311586 w 865623"/>
                  <a:gd name="connsiteY386" fmla="*/ 675778 h 827962"/>
                  <a:gd name="connsiteX387" fmla="*/ 304395 w 865623"/>
                  <a:gd name="connsiteY387" fmla="*/ 656348 h 827962"/>
                  <a:gd name="connsiteX388" fmla="*/ 281719 w 865623"/>
                  <a:gd name="connsiteY388" fmla="*/ 643394 h 827962"/>
                  <a:gd name="connsiteX389" fmla="*/ 280059 w 865623"/>
                  <a:gd name="connsiteY389" fmla="*/ 634219 h 827962"/>
                  <a:gd name="connsiteX390" fmla="*/ 261807 w 865623"/>
                  <a:gd name="connsiteY390" fmla="*/ 639616 h 827962"/>
                  <a:gd name="connsiteX391" fmla="*/ 261807 w 865623"/>
                  <a:gd name="connsiteY391" fmla="*/ 654728 h 827962"/>
                  <a:gd name="connsiteX392" fmla="*/ 263467 w 865623"/>
                  <a:gd name="connsiteY392" fmla="*/ 661745 h 827962"/>
                  <a:gd name="connsiteX393" fmla="*/ 261254 w 865623"/>
                  <a:gd name="connsiteY393" fmla="*/ 664983 h 827962"/>
                  <a:gd name="connsiteX394" fmla="*/ 254064 w 865623"/>
                  <a:gd name="connsiteY394" fmla="*/ 661745 h 827962"/>
                  <a:gd name="connsiteX395" fmla="*/ 243002 w 865623"/>
                  <a:gd name="connsiteY395" fmla="*/ 658506 h 827962"/>
                  <a:gd name="connsiteX396" fmla="*/ 240237 w 865623"/>
                  <a:gd name="connsiteY396" fmla="*/ 643934 h 827962"/>
                  <a:gd name="connsiteX397" fmla="*/ 229175 w 865623"/>
                  <a:gd name="connsiteY397" fmla="*/ 635838 h 827962"/>
                  <a:gd name="connsiteX398" fmla="*/ 224197 w 865623"/>
                  <a:gd name="connsiteY398" fmla="*/ 625583 h 827962"/>
                  <a:gd name="connsiteX399" fmla="*/ 228622 w 865623"/>
                  <a:gd name="connsiteY399" fmla="*/ 612090 h 827962"/>
                  <a:gd name="connsiteX400" fmla="*/ 228069 w 865623"/>
                  <a:gd name="connsiteY400" fmla="*/ 598057 h 827962"/>
                  <a:gd name="connsiteX401" fmla="*/ 208157 w 865623"/>
                  <a:gd name="connsiteY401" fmla="*/ 572151 h 827962"/>
                  <a:gd name="connsiteX402" fmla="*/ 192118 w 865623"/>
                  <a:gd name="connsiteY402" fmla="*/ 566754 h 827962"/>
                  <a:gd name="connsiteX403" fmla="*/ 184374 w 865623"/>
                  <a:gd name="connsiteY403" fmla="*/ 559197 h 827962"/>
                  <a:gd name="connsiteX404" fmla="*/ 170547 w 865623"/>
                  <a:gd name="connsiteY404" fmla="*/ 552721 h 827962"/>
                  <a:gd name="connsiteX405" fmla="*/ 168888 w 865623"/>
                  <a:gd name="connsiteY405" fmla="*/ 546784 h 827962"/>
                  <a:gd name="connsiteX406" fmla="*/ 181609 w 865623"/>
                  <a:gd name="connsiteY406" fmla="*/ 532751 h 827962"/>
                  <a:gd name="connsiteX407" fmla="*/ 185481 w 865623"/>
                  <a:gd name="connsiteY407" fmla="*/ 510622 h 827962"/>
                  <a:gd name="connsiteX408" fmla="*/ 206498 w 865623"/>
                  <a:gd name="connsiteY408" fmla="*/ 506305 h 827962"/>
                  <a:gd name="connsiteX409" fmla="*/ 220325 w 865623"/>
                  <a:gd name="connsiteY409" fmla="*/ 489033 h 827962"/>
                  <a:gd name="connsiteX410" fmla="*/ 242449 w 865623"/>
                  <a:gd name="connsiteY410" fmla="*/ 482557 h 827962"/>
                  <a:gd name="connsiteX411" fmla="*/ 249086 w 865623"/>
                  <a:gd name="connsiteY411" fmla="*/ 488494 h 827962"/>
                  <a:gd name="connsiteX412" fmla="*/ 259595 w 865623"/>
                  <a:gd name="connsiteY412" fmla="*/ 492811 h 827962"/>
                  <a:gd name="connsiteX413" fmla="*/ 281719 w 865623"/>
                  <a:gd name="connsiteY413" fmla="*/ 496050 h 827962"/>
                  <a:gd name="connsiteX414" fmla="*/ 311032 w 865623"/>
                  <a:gd name="connsiteY414" fmla="*/ 504146 h 827962"/>
                  <a:gd name="connsiteX415" fmla="*/ 318776 w 865623"/>
                  <a:gd name="connsiteY415" fmla="*/ 510083 h 827962"/>
                  <a:gd name="connsiteX416" fmla="*/ 332603 w 865623"/>
                  <a:gd name="connsiteY416" fmla="*/ 510083 h 827962"/>
                  <a:gd name="connsiteX417" fmla="*/ 337028 w 865623"/>
                  <a:gd name="connsiteY417" fmla="*/ 503606 h 827962"/>
                  <a:gd name="connsiteX418" fmla="*/ 327625 w 865623"/>
                  <a:gd name="connsiteY418" fmla="*/ 499828 h 827962"/>
                  <a:gd name="connsiteX419" fmla="*/ 336475 w 865623"/>
                  <a:gd name="connsiteY419" fmla="*/ 492272 h 827962"/>
                  <a:gd name="connsiteX420" fmla="*/ 349196 w 865623"/>
                  <a:gd name="connsiteY420" fmla="*/ 490653 h 827962"/>
                  <a:gd name="connsiteX421" fmla="*/ 353621 w 865623"/>
                  <a:gd name="connsiteY421" fmla="*/ 482017 h 827962"/>
                  <a:gd name="connsiteX422" fmla="*/ 353067 w 865623"/>
                  <a:gd name="connsiteY422" fmla="*/ 480398 h 827962"/>
                  <a:gd name="connsiteX423" fmla="*/ 336475 w 865623"/>
                  <a:gd name="connsiteY423" fmla="*/ 475001 h 827962"/>
                  <a:gd name="connsiteX424" fmla="*/ 316563 w 865623"/>
                  <a:gd name="connsiteY424" fmla="*/ 476080 h 827962"/>
                  <a:gd name="connsiteX425" fmla="*/ 313798 w 865623"/>
                  <a:gd name="connsiteY425" fmla="*/ 472302 h 827962"/>
                  <a:gd name="connsiteX426" fmla="*/ 307714 w 865623"/>
                  <a:gd name="connsiteY426" fmla="*/ 470143 h 827962"/>
                  <a:gd name="connsiteX427" fmla="*/ 304395 w 865623"/>
                  <a:gd name="connsiteY427" fmla="*/ 462587 h 827962"/>
                  <a:gd name="connsiteX428" fmla="*/ 302736 w 865623"/>
                  <a:gd name="connsiteY428" fmla="*/ 462047 h 827962"/>
                  <a:gd name="connsiteX429" fmla="*/ 288909 w 865623"/>
                  <a:gd name="connsiteY429" fmla="*/ 470683 h 827962"/>
                  <a:gd name="connsiteX430" fmla="*/ 282272 w 865623"/>
                  <a:gd name="connsiteY430" fmla="*/ 464746 h 827962"/>
                  <a:gd name="connsiteX431" fmla="*/ 276188 w 865623"/>
                  <a:gd name="connsiteY431" fmla="*/ 462047 h 827962"/>
                  <a:gd name="connsiteX432" fmla="*/ 273975 w 865623"/>
                  <a:gd name="connsiteY432" fmla="*/ 471762 h 827962"/>
                  <a:gd name="connsiteX433" fmla="*/ 264020 w 865623"/>
                  <a:gd name="connsiteY433" fmla="*/ 472302 h 827962"/>
                  <a:gd name="connsiteX434" fmla="*/ 256829 w 865623"/>
                  <a:gd name="connsiteY434" fmla="*/ 476080 h 827962"/>
                  <a:gd name="connsiteX435" fmla="*/ 233046 w 865623"/>
                  <a:gd name="connsiteY435" fmla="*/ 471762 h 827962"/>
                  <a:gd name="connsiteX436" fmla="*/ 223091 w 865623"/>
                  <a:gd name="connsiteY436" fmla="*/ 476080 h 827962"/>
                  <a:gd name="connsiteX437" fmla="*/ 215901 w 865623"/>
                  <a:gd name="connsiteY437" fmla="*/ 481477 h 827962"/>
                  <a:gd name="connsiteX438" fmla="*/ 200967 w 865623"/>
                  <a:gd name="connsiteY438" fmla="*/ 484176 h 827962"/>
                  <a:gd name="connsiteX439" fmla="*/ 197095 w 865623"/>
                  <a:gd name="connsiteY439" fmla="*/ 487954 h 827962"/>
                  <a:gd name="connsiteX440" fmla="*/ 187140 w 865623"/>
                  <a:gd name="connsiteY440" fmla="*/ 483096 h 827962"/>
                  <a:gd name="connsiteX441" fmla="*/ 173866 w 865623"/>
                  <a:gd name="connsiteY441" fmla="*/ 482017 h 827962"/>
                  <a:gd name="connsiteX442" fmla="*/ 160591 w 865623"/>
                  <a:gd name="connsiteY442" fmla="*/ 494970 h 827962"/>
                  <a:gd name="connsiteX443" fmla="*/ 155060 w 865623"/>
                  <a:gd name="connsiteY443" fmla="*/ 482017 h 827962"/>
                  <a:gd name="connsiteX444" fmla="*/ 142892 w 865623"/>
                  <a:gd name="connsiteY444" fmla="*/ 465286 h 827962"/>
                  <a:gd name="connsiteX445" fmla="*/ 128512 w 865623"/>
                  <a:gd name="connsiteY445" fmla="*/ 445316 h 827962"/>
                  <a:gd name="connsiteX446" fmla="*/ 118556 w 865623"/>
                  <a:gd name="connsiteY446" fmla="*/ 443157 h 827962"/>
                  <a:gd name="connsiteX447" fmla="*/ 118003 w 865623"/>
                  <a:gd name="connsiteY447" fmla="*/ 434521 h 827962"/>
                  <a:gd name="connsiteX448" fmla="*/ 150083 w 865623"/>
                  <a:gd name="connsiteY448" fmla="*/ 430743 h 827962"/>
                  <a:gd name="connsiteX449" fmla="*/ 152848 w 865623"/>
                  <a:gd name="connsiteY449" fmla="*/ 430204 h 827962"/>
                  <a:gd name="connsiteX450" fmla="*/ 153401 w 865623"/>
                  <a:gd name="connsiteY450" fmla="*/ 426425 h 827962"/>
                  <a:gd name="connsiteX451" fmla="*/ 152295 w 865623"/>
                  <a:gd name="connsiteY451" fmla="*/ 424267 h 827962"/>
                  <a:gd name="connsiteX452" fmla="*/ 147870 w 865623"/>
                  <a:gd name="connsiteY452" fmla="*/ 410773 h 827962"/>
                  <a:gd name="connsiteX453" fmla="*/ 131278 w 865623"/>
                  <a:gd name="connsiteY453" fmla="*/ 410773 h 827962"/>
                  <a:gd name="connsiteX454" fmla="*/ 782820 w 865623"/>
                  <a:gd name="connsiteY454" fmla="*/ 717336 h 827962"/>
                  <a:gd name="connsiteX455" fmla="*/ 781714 w 865623"/>
                  <a:gd name="connsiteY455" fmla="*/ 706542 h 827962"/>
                  <a:gd name="connsiteX456" fmla="*/ 776736 w 865623"/>
                  <a:gd name="connsiteY456" fmla="*/ 700605 h 827962"/>
                  <a:gd name="connsiteX457" fmla="*/ 778948 w 865623"/>
                  <a:gd name="connsiteY457" fmla="*/ 691430 h 827962"/>
                  <a:gd name="connsiteX458" fmla="*/ 781161 w 865623"/>
                  <a:gd name="connsiteY458" fmla="*/ 672000 h 827962"/>
                  <a:gd name="connsiteX459" fmla="*/ 785585 w 865623"/>
                  <a:gd name="connsiteY459" fmla="*/ 670380 h 827962"/>
                  <a:gd name="connsiteX460" fmla="*/ 786692 w 865623"/>
                  <a:gd name="connsiteY460" fmla="*/ 673619 h 827962"/>
                  <a:gd name="connsiteX461" fmla="*/ 786138 w 865623"/>
                  <a:gd name="connsiteY461" fmla="*/ 685493 h 827962"/>
                  <a:gd name="connsiteX462" fmla="*/ 785032 w 865623"/>
                  <a:gd name="connsiteY462" fmla="*/ 695747 h 827962"/>
                  <a:gd name="connsiteX463" fmla="*/ 793329 w 865623"/>
                  <a:gd name="connsiteY463" fmla="*/ 707621 h 827962"/>
                  <a:gd name="connsiteX464" fmla="*/ 782820 w 865623"/>
                  <a:gd name="connsiteY464" fmla="*/ 717336 h 827962"/>
                  <a:gd name="connsiteX465" fmla="*/ 386806 w 865623"/>
                  <a:gd name="connsiteY465" fmla="*/ 435601 h 827962"/>
                  <a:gd name="connsiteX466" fmla="*/ 385147 w 865623"/>
                  <a:gd name="connsiteY466" fmla="*/ 424806 h 827962"/>
                  <a:gd name="connsiteX467" fmla="*/ 369107 w 865623"/>
                  <a:gd name="connsiteY467" fmla="*/ 419949 h 827962"/>
                  <a:gd name="connsiteX468" fmla="*/ 364129 w 865623"/>
                  <a:gd name="connsiteY468" fmla="*/ 415631 h 827962"/>
                  <a:gd name="connsiteX469" fmla="*/ 356939 w 865623"/>
                  <a:gd name="connsiteY469" fmla="*/ 412393 h 827962"/>
                  <a:gd name="connsiteX470" fmla="*/ 337581 w 865623"/>
                  <a:gd name="connsiteY470" fmla="*/ 401058 h 827962"/>
                  <a:gd name="connsiteX471" fmla="*/ 332050 w 865623"/>
                  <a:gd name="connsiteY471" fmla="*/ 399979 h 827962"/>
                  <a:gd name="connsiteX472" fmla="*/ 313245 w 865623"/>
                  <a:gd name="connsiteY472" fmla="*/ 405916 h 827962"/>
                  <a:gd name="connsiteX473" fmla="*/ 308820 w 865623"/>
                  <a:gd name="connsiteY473" fmla="*/ 404297 h 827962"/>
                  <a:gd name="connsiteX474" fmla="*/ 311586 w 865623"/>
                  <a:gd name="connsiteY474" fmla="*/ 398360 h 827962"/>
                  <a:gd name="connsiteX475" fmla="*/ 320988 w 865623"/>
                  <a:gd name="connsiteY475" fmla="*/ 393502 h 827962"/>
                  <a:gd name="connsiteX476" fmla="*/ 340899 w 865623"/>
                  <a:gd name="connsiteY476" fmla="*/ 375152 h 827962"/>
                  <a:gd name="connsiteX477" fmla="*/ 355833 w 865623"/>
                  <a:gd name="connsiteY477" fmla="*/ 378930 h 827962"/>
                  <a:gd name="connsiteX478" fmla="*/ 373532 w 865623"/>
                  <a:gd name="connsiteY478" fmla="*/ 400519 h 827962"/>
                  <a:gd name="connsiteX479" fmla="*/ 391231 w 865623"/>
                  <a:gd name="connsiteY479" fmla="*/ 403217 h 827962"/>
                  <a:gd name="connsiteX480" fmla="*/ 411142 w 865623"/>
                  <a:gd name="connsiteY480" fmla="*/ 407535 h 827962"/>
                  <a:gd name="connsiteX481" fmla="*/ 419992 w 865623"/>
                  <a:gd name="connsiteY481" fmla="*/ 403757 h 827962"/>
                  <a:gd name="connsiteX482" fmla="*/ 429947 w 865623"/>
                  <a:gd name="connsiteY482" fmla="*/ 404837 h 827962"/>
                  <a:gd name="connsiteX483" fmla="*/ 432160 w 865623"/>
                  <a:gd name="connsiteY483" fmla="*/ 412393 h 827962"/>
                  <a:gd name="connsiteX484" fmla="*/ 439903 w 865623"/>
                  <a:gd name="connsiteY484" fmla="*/ 419409 h 827962"/>
                  <a:gd name="connsiteX485" fmla="*/ 443221 w 865623"/>
                  <a:gd name="connsiteY485" fmla="*/ 439919 h 827962"/>
                  <a:gd name="connsiteX486" fmla="*/ 447646 w 865623"/>
                  <a:gd name="connsiteY486" fmla="*/ 445855 h 827962"/>
                  <a:gd name="connsiteX487" fmla="*/ 453177 w 865623"/>
                  <a:gd name="connsiteY487" fmla="*/ 455031 h 827962"/>
                  <a:gd name="connsiteX488" fmla="*/ 463686 w 865623"/>
                  <a:gd name="connsiteY488" fmla="*/ 457729 h 827962"/>
                  <a:gd name="connsiteX489" fmla="*/ 478619 w 865623"/>
                  <a:gd name="connsiteY489" fmla="*/ 455571 h 827962"/>
                  <a:gd name="connsiteX490" fmla="*/ 484150 w 865623"/>
                  <a:gd name="connsiteY490" fmla="*/ 473381 h 827962"/>
                  <a:gd name="connsiteX491" fmla="*/ 472535 w 865623"/>
                  <a:gd name="connsiteY491" fmla="*/ 472302 h 827962"/>
                  <a:gd name="connsiteX492" fmla="*/ 468111 w 865623"/>
                  <a:gd name="connsiteY492" fmla="*/ 474461 h 827962"/>
                  <a:gd name="connsiteX493" fmla="*/ 459814 w 865623"/>
                  <a:gd name="connsiteY493" fmla="*/ 471762 h 827962"/>
                  <a:gd name="connsiteX494" fmla="*/ 454283 w 865623"/>
                  <a:gd name="connsiteY494" fmla="*/ 465825 h 827962"/>
                  <a:gd name="connsiteX495" fmla="*/ 436584 w 865623"/>
                  <a:gd name="connsiteY495" fmla="*/ 452332 h 827962"/>
                  <a:gd name="connsiteX496" fmla="*/ 426076 w 865623"/>
                  <a:gd name="connsiteY496" fmla="*/ 437760 h 827962"/>
                  <a:gd name="connsiteX497" fmla="*/ 413354 w 865623"/>
                  <a:gd name="connsiteY497" fmla="*/ 436140 h 827962"/>
                  <a:gd name="connsiteX498" fmla="*/ 398421 w 865623"/>
                  <a:gd name="connsiteY498" fmla="*/ 438299 h 827962"/>
                  <a:gd name="connsiteX499" fmla="*/ 386806 w 865623"/>
                  <a:gd name="connsiteY499" fmla="*/ 435601 h 827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</a:cxnLst>
                <a:rect l="l" t="t" r="r" b="b"/>
                <a:pathLst>
                  <a:path w="865623" h="827962">
                    <a:moveTo>
                      <a:pt x="858040" y="620726"/>
                    </a:moveTo>
                    <a:cubicBezTo>
                      <a:pt x="856381" y="621805"/>
                      <a:pt x="853616" y="621805"/>
                      <a:pt x="851956" y="622885"/>
                    </a:cubicBezTo>
                    <a:cubicBezTo>
                      <a:pt x="846426" y="626123"/>
                      <a:pt x="840342" y="642855"/>
                      <a:pt x="835917" y="646633"/>
                    </a:cubicBezTo>
                    <a:cubicBezTo>
                      <a:pt x="835364" y="647172"/>
                      <a:pt x="834257" y="647172"/>
                      <a:pt x="833151" y="646633"/>
                    </a:cubicBezTo>
                    <a:cubicBezTo>
                      <a:pt x="832598" y="646633"/>
                      <a:pt x="830386" y="645553"/>
                      <a:pt x="830386" y="645013"/>
                    </a:cubicBezTo>
                    <a:cubicBezTo>
                      <a:pt x="828727" y="642315"/>
                      <a:pt x="828173" y="630981"/>
                      <a:pt x="827067" y="627203"/>
                    </a:cubicBezTo>
                    <a:cubicBezTo>
                      <a:pt x="825961" y="624504"/>
                      <a:pt x="820430" y="620726"/>
                      <a:pt x="820430" y="618567"/>
                    </a:cubicBezTo>
                    <a:cubicBezTo>
                      <a:pt x="820983" y="617488"/>
                      <a:pt x="823749" y="614789"/>
                      <a:pt x="824302" y="613170"/>
                    </a:cubicBezTo>
                    <a:cubicBezTo>
                      <a:pt x="826514" y="608852"/>
                      <a:pt x="826514" y="601836"/>
                      <a:pt x="830386" y="598057"/>
                    </a:cubicBezTo>
                    <a:cubicBezTo>
                      <a:pt x="832045" y="596978"/>
                      <a:pt x="834257" y="595899"/>
                      <a:pt x="835917" y="594819"/>
                    </a:cubicBezTo>
                    <a:cubicBezTo>
                      <a:pt x="840342" y="591041"/>
                      <a:pt x="845319" y="587263"/>
                      <a:pt x="849191" y="582945"/>
                    </a:cubicBezTo>
                    <a:cubicBezTo>
                      <a:pt x="851956" y="580786"/>
                      <a:pt x="853616" y="578088"/>
                      <a:pt x="856381" y="576469"/>
                    </a:cubicBezTo>
                    <a:cubicBezTo>
                      <a:pt x="856934" y="575929"/>
                      <a:pt x="860253" y="574310"/>
                      <a:pt x="861359" y="574849"/>
                    </a:cubicBezTo>
                    <a:cubicBezTo>
                      <a:pt x="863018" y="575389"/>
                      <a:pt x="864678" y="580786"/>
                      <a:pt x="864678" y="582406"/>
                    </a:cubicBezTo>
                    <a:cubicBezTo>
                      <a:pt x="865784" y="593740"/>
                      <a:pt x="856934" y="606693"/>
                      <a:pt x="856381" y="615329"/>
                    </a:cubicBezTo>
                    <a:cubicBezTo>
                      <a:pt x="856381" y="617488"/>
                      <a:pt x="859147" y="618027"/>
                      <a:pt x="858040" y="620726"/>
                    </a:cubicBezTo>
                    <a:close/>
                    <a:moveTo>
                      <a:pt x="717002" y="451253"/>
                    </a:moveTo>
                    <a:cubicBezTo>
                      <a:pt x="716449" y="452872"/>
                      <a:pt x="715343" y="454491"/>
                      <a:pt x="714237" y="455571"/>
                    </a:cubicBezTo>
                    <a:cubicBezTo>
                      <a:pt x="712024" y="457729"/>
                      <a:pt x="702068" y="466365"/>
                      <a:pt x="699303" y="466365"/>
                    </a:cubicBezTo>
                    <a:cubicBezTo>
                      <a:pt x="694325" y="465825"/>
                      <a:pt x="695431" y="462047"/>
                      <a:pt x="693772" y="462047"/>
                    </a:cubicBezTo>
                    <a:cubicBezTo>
                      <a:pt x="690454" y="460968"/>
                      <a:pt x="679392" y="464206"/>
                      <a:pt x="677179" y="462047"/>
                    </a:cubicBezTo>
                    <a:cubicBezTo>
                      <a:pt x="676626" y="461507"/>
                      <a:pt x="676626" y="459888"/>
                      <a:pt x="676626" y="459349"/>
                    </a:cubicBezTo>
                    <a:cubicBezTo>
                      <a:pt x="677179" y="458809"/>
                      <a:pt x="677732" y="457729"/>
                      <a:pt x="678286" y="457190"/>
                    </a:cubicBezTo>
                    <a:cubicBezTo>
                      <a:pt x="679392" y="455571"/>
                      <a:pt x="684370" y="451253"/>
                      <a:pt x="686582" y="450173"/>
                    </a:cubicBezTo>
                    <a:cubicBezTo>
                      <a:pt x="692666" y="446395"/>
                      <a:pt x="707046" y="450173"/>
                      <a:pt x="709812" y="448014"/>
                    </a:cubicBezTo>
                    <a:cubicBezTo>
                      <a:pt x="710918" y="447475"/>
                      <a:pt x="710918" y="444236"/>
                      <a:pt x="713130" y="443697"/>
                    </a:cubicBezTo>
                    <a:cubicBezTo>
                      <a:pt x="713683" y="443157"/>
                      <a:pt x="715896" y="443697"/>
                      <a:pt x="716449" y="443697"/>
                    </a:cubicBezTo>
                    <a:cubicBezTo>
                      <a:pt x="719767" y="445316"/>
                      <a:pt x="718108" y="449094"/>
                      <a:pt x="717002" y="451253"/>
                    </a:cubicBezTo>
                    <a:close/>
                    <a:moveTo>
                      <a:pt x="624636" y="302829"/>
                    </a:moveTo>
                    <a:cubicBezTo>
                      <a:pt x="626295" y="307686"/>
                      <a:pt x="636251" y="310925"/>
                      <a:pt x="636251" y="314703"/>
                    </a:cubicBezTo>
                    <a:cubicBezTo>
                      <a:pt x="635697" y="316322"/>
                      <a:pt x="635144" y="317401"/>
                      <a:pt x="633485" y="317941"/>
                    </a:cubicBezTo>
                    <a:cubicBezTo>
                      <a:pt x="632932" y="319021"/>
                      <a:pt x="631273" y="319560"/>
                      <a:pt x="630720" y="320100"/>
                    </a:cubicBezTo>
                    <a:cubicBezTo>
                      <a:pt x="628507" y="320640"/>
                      <a:pt x="621317" y="321179"/>
                      <a:pt x="619105" y="321179"/>
                    </a:cubicBezTo>
                    <a:cubicBezTo>
                      <a:pt x="616339" y="320640"/>
                      <a:pt x="601959" y="316862"/>
                      <a:pt x="599746" y="315782"/>
                    </a:cubicBezTo>
                    <a:cubicBezTo>
                      <a:pt x="599193" y="315242"/>
                      <a:pt x="599193" y="313084"/>
                      <a:pt x="599746" y="312544"/>
                    </a:cubicBezTo>
                    <a:cubicBezTo>
                      <a:pt x="600300" y="309845"/>
                      <a:pt x="603618" y="309306"/>
                      <a:pt x="605277" y="307147"/>
                    </a:cubicBezTo>
                    <a:cubicBezTo>
                      <a:pt x="606384" y="305527"/>
                      <a:pt x="610255" y="297432"/>
                      <a:pt x="606937" y="296352"/>
                    </a:cubicBezTo>
                    <a:cubicBezTo>
                      <a:pt x="605277" y="295812"/>
                      <a:pt x="600853" y="296352"/>
                      <a:pt x="599193" y="297971"/>
                    </a:cubicBezTo>
                    <a:cubicBezTo>
                      <a:pt x="596981" y="301210"/>
                      <a:pt x="594216" y="309845"/>
                      <a:pt x="590344" y="310925"/>
                    </a:cubicBezTo>
                    <a:cubicBezTo>
                      <a:pt x="586472" y="312544"/>
                      <a:pt x="575410" y="306067"/>
                      <a:pt x="575410" y="303369"/>
                    </a:cubicBezTo>
                    <a:cubicBezTo>
                      <a:pt x="575410" y="301749"/>
                      <a:pt x="577070" y="295273"/>
                      <a:pt x="578176" y="294193"/>
                    </a:cubicBezTo>
                    <a:cubicBezTo>
                      <a:pt x="582601" y="289875"/>
                      <a:pt x="590344" y="289336"/>
                      <a:pt x="594769" y="285558"/>
                    </a:cubicBezTo>
                    <a:cubicBezTo>
                      <a:pt x="596981" y="283939"/>
                      <a:pt x="596428" y="278002"/>
                      <a:pt x="599193" y="276382"/>
                    </a:cubicBezTo>
                    <a:cubicBezTo>
                      <a:pt x="601406" y="275303"/>
                      <a:pt x="607490" y="273684"/>
                      <a:pt x="609702" y="275843"/>
                    </a:cubicBezTo>
                    <a:cubicBezTo>
                      <a:pt x="610255" y="275843"/>
                      <a:pt x="610255" y="276382"/>
                      <a:pt x="610808" y="276922"/>
                    </a:cubicBezTo>
                    <a:cubicBezTo>
                      <a:pt x="611361" y="277462"/>
                      <a:pt x="615233" y="277462"/>
                      <a:pt x="615786" y="278002"/>
                    </a:cubicBezTo>
                    <a:cubicBezTo>
                      <a:pt x="616892" y="279621"/>
                      <a:pt x="616339" y="285558"/>
                      <a:pt x="617445" y="286637"/>
                    </a:cubicBezTo>
                    <a:cubicBezTo>
                      <a:pt x="619105" y="288796"/>
                      <a:pt x="626295" y="292034"/>
                      <a:pt x="628507" y="293654"/>
                    </a:cubicBezTo>
                    <a:cubicBezTo>
                      <a:pt x="632932" y="296892"/>
                      <a:pt x="636251" y="300670"/>
                      <a:pt x="640122" y="303908"/>
                    </a:cubicBezTo>
                    <a:cubicBezTo>
                      <a:pt x="641228" y="304448"/>
                      <a:pt x="643994" y="306067"/>
                      <a:pt x="642888" y="308226"/>
                    </a:cubicBezTo>
                    <a:cubicBezTo>
                      <a:pt x="640675" y="312004"/>
                      <a:pt x="630167" y="299590"/>
                      <a:pt x="624636" y="302829"/>
                    </a:cubicBezTo>
                    <a:close/>
                    <a:moveTo>
                      <a:pt x="617445" y="400519"/>
                    </a:moveTo>
                    <a:cubicBezTo>
                      <a:pt x="617445" y="403757"/>
                      <a:pt x="616892" y="425346"/>
                      <a:pt x="611914" y="425346"/>
                    </a:cubicBezTo>
                    <a:cubicBezTo>
                      <a:pt x="611361" y="425346"/>
                      <a:pt x="600853" y="422108"/>
                      <a:pt x="600300" y="421028"/>
                    </a:cubicBezTo>
                    <a:cubicBezTo>
                      <a:pt x="593662" y="417250"/>
                      <a:pt x="601959" y="404837"/>
                      <a:pt x="603065" y="399979"/>
                    </a:cubicBezTo>
                    <a:cubicBezTo>
                      <a:pt x="603618" y="398360"/>
                      <a:pt x="602512" y="394582"/>
                      <a:pt x="600853" y="393502"/>
                    </a:cubicBezTo>
                    <a:cubicBezTo>
                      <a:pt x="600853" y="392963"/>
                      <a:pt x="599746" y="392963"/>
                      <a:pt x="599746" y="392963"/>
                    </a:cubicBezTo>
                    <a:cubicBezTo>
                      <a:pt x="598640" y="392423"/>
                      <a:pt x="588132" y="381089"/>
                      <a:pt x="587578" y="380009"/>
                    </a:cubicBezTo>
                    <a:cubicBezTo>
                      <a:pt x="587025" y="379470"/>
                      <a:pt x="587025" y="377850"/>
                      <a:pt x="587578" y="376771"/>
                    </a:cubicBezTo>
                    <a:cubicBezTo>
                      <a:pt x="588132" y="375691"/>
                      <a:pt x="594216" y="371913"/>
                      <a:pt x="595875" y="371913"/>
                    </a:cubicBezTo>
                    <a:cubicBezTo>
                      <a:pt x="598640" y="371374"/>
                      <a:pt x="610255" y="372993"/>
                      <a:pt x="611914" y="375691"/>
                    </a:cubicBezTo>
                    <a:cubicBezTo>
                      <a:pt x="615233" y="379470"/>
                      <a:pt x="616892" y="395122"/>
                      <a:pt x="617445" y="400519"/>
                    </a:cubicBezTo>
                    <a:close/>
                    <a:moveTo>
                      <a:pt x="429394" y="143610"/>
                    </a:moveTo>
                    <a:cubicBezTo>
                      <a:pt x="433819" y="143610"/>
                      <a:pt x="438244" y="149008"/>
                      <a:pt x="438797" y="152786"/>
                    </a:cubicBezTo>
                    <a:cubicBezTo>
                      <a:pt x="439350" y="154945"/>
                      <a:pt x="438244" y="162501"/>
                      <a:pt x="437690" y="164660"/>
                    </a:cubicBezTo>
                    <a:cubicBezTo>
                      <a:pt x="437137" y="165199"/>
                      <a:pt x="434372" y="166819"/>
                      <a:pt x="433266" y="166819"/>
                    </a:cubicBezTo>
                    <a:cubicBezTo>
                      <a:pt x="431053" y="166819"/>
                      <a:pt x="423310" y="165739"/>
                      <a:pt x="421651" y="164660"/>
                    </a:cubicBezTo>
                    <a:cubicBezTo>
                      <a:pt x="419992" y="164120"/>
                      <a:pt x="416120" y="159802"/>
                      <a:pt x="416120" y="158183"/>
                    </a:cubicBezTo>
                    <a:cubicBezTo>
                      <a:pt x="415567" y="156564"/>
                      <a:pt x="416673" y="149008"/>
                      <a:pt x="417226" y="147389"/>
                    </a:cubicBezTo>
                    <a:cubicBezTo>
                      <a:pt x="418332" y="145230"/>
                      <a:pt x="423310" y="145230"/>
                      <a:pt x="425522" y="145230"/>
                    </a:cubicBezTo>
                    <a:cubicBezTo>
                      <a:pt x="426629" y="144690"/>
                      <a:pt x="428288" y="143610"/>
                      <a:pt x="429394" y="143610"/>
                    </a:cubicBezTo>
                    <a:close/>
                    <a:moveTo>
                      <a:pt x="512358" y="240761"/>
                    </a:moveTo>
                    <a:cubicBezTo>
                      <a:pt x="512911" y="241300"/>
                      <a:pt x="514017" y="241840"/>
                      <a:pt x="514017" y="242380"/>
                    </a:cubicBezTo>
                    <a:cubicBezTo>
                      <a:pt x="515123" y="245078"/>
                      <a:pt x="513464" y="247777"/>
                      <a:pt x="510699" y="248317"/>
                    </a:cubicBezTo>
                    <a:cubicBezTo>
                      <a:pt x="509592" y="248317"/>
                      <a:pt x="505721" y="245078"/>
                      <a:pt x="505168" y="244539"/>
                    </a:cubicBezTo>
                    <a:cubicBezTo>
                      <a:pt x="502955" y="242380"/>
                      <a:pt x="502402" y="239141"/>
                      <a:pt x="499637" y="237522"/>
                    </a:cubicBezTo>
                    <a:cubicBezTo>
                      <a:pt x="496318" y="236443"/>
                      <a:pt x="491894" y="241840"/>
                      <a:pt x="489128" y="242380"/>
                    </a:cubicBezTo>
                    <a:cubicBezTo>
                      <a:pt x="487469" y="242920"/>
                      <a:pt x="482491" y="242920"/>
                      <a:pt x="481385" y="241840"/>
                    </a:cubicBezTo>
                    <a:cubicBezTo>
                      <a:pt x="479725" y="240761"/>
                      <a:pt x="479172" y="233205"/>
                      <a:pt x="479725" y="231585"/>
                    </a:cubicBezTo>
                    <a:cubicBezTo>
                      <a:pt x="480279" y="230506"/>
                      <a:pt x="482491" y="228887"/>
                      <a:pt x="483044" y="228347"/>
                    </a:cubicBezTo>
                    <a:cubicBezTo>
                      <a:pt x="485256" y="227807"/>
                      <a:pt x="490787" y="225109"/>
                      <a:pt x="492447" y="225109"/>
                    </a:cubicBezTo>
                    <a:cubicBezTo>
                      <a:pt x="495765" y="225109"/>
                      <a:pt x="498531" y="227268"/>
                      <a:pt x="501296" y="227268"/>
                    </a:cubicBezTo>
                    <a:cubicBezTo>
                      <a:pt x="505721" y="227268"/>
                      <a:pt x="504615" y="221331"/>
                      <a:pt x="506274" y="219172"/>
                    </a:cubicBezTo>
                    <a:cubicBezTo>
                      <a:pt x="507380" y="217013"/>
                      <a:pt x="511252" y="214314"/>
                      <a:pt x="513464" y="215394"/>
                    </a:cubicBezTo>
                    <a:cubicBezTo>
                      <a:pt x="514017" y="215933"/>
                      <a:pt x="515123" y="218092"/>
                      <a:pt x="515123" y="219172"/>
                    </a:cubicBezTo>
                    <a:cubicBezTo>
                      <a:pt x="515123" y="223489"/>
                      <a:pt x="506827" y="231585"/>
                      <a:pt x="508486" y="236443"/>
                    </a:cubicBezTo>
                    <a:cubicBezTo>
                      <a:pt x="508486" y="237522"/>
                      <a:pt x="511252" y="239681"/>
                      <a:pt x="512358" y="240761"/>
                    </a:cubicBezTo>
                    <a:close/>
                    <a:moveTo>
                      <a:pt x="600300" y="563515"/>
                    </a:moveTo>
                    <a:cubicBezTo>
                      <a:pt x="600300" y="565674"/>
                      <a:pt x="599746" y="574849"/>
                      <a:pt x="599193" y="576469"/>
                    </a:cubicBezTo>
                    <a:cubicBezTo>
                      <a:pt x="598640" y="577548"/>
                      <a:pt x="595875" y="578627"/>
                      <a:pt x="594769" y="579167"/>
                    </a:cubicBezTo>
                    <a:lnTo>
                      <a:pt x="593109" y="579167"/>
                    </a:lnTo>
                    <a:cubicBezTo>
                      <a:pt x="592003" y="578627"/>
                      <a:pt x="587578" y="574310"/>
                      <a:pt x="586472" y="573770"/>
                    </a:cubicBezTo>
                    <a:cubicBezTo>
                      <a:pt x="585366" y="571611"/>
                      <a:pt x="583154" y="564595"/>
                      <a:pt x="582601" y="561896"/>
                    </a:cubicBezTo>
                    <a:cubicBezTo>
                      <a:pt x="581494" y="559197"/>
                      <a:pt x="582048" y="550562"/>
                      <a:pt x="585366" y="548403"/>
                    </a:cubicBezTo>
                    <a:cubicBezTo>
                      <a:pt x="587025" y="547323"/>
                      <a:pt x="596981" y="546244"/>
                      <a:pt x="598640" y="548943"/>
                    </a:cubicBezTo>
                    <a:cubicBezTo>
                      <a:pt x="599193" y="551102"/>
                      <a:pt x="599746" y="560817"/>
                      <a:pt x="600300" y="563515"/>
                    </a:cubicBezTo>
                    <a:close/>
                    <a:moveTo>
                      <a:pt x="447646" y="777246"/>
                    </a:moveTo>
                    <a:cubicBezTo>
                      <a:pt x="448199" y="776166"/>
                      <a:pt x="448752" y="776166"/>
                      <a:pt x="449859" y="776166"/>
                    </a:cubicBezTo>
                    <a:cubicBezTo>
                      <a:pt x="450965" y="777246"/>
                      <a:pt x="451518" y="778325"/>
                      <a:pt x="452071" y="778865"/>
                    </a:cubicBezTo>
                    <a:cubicBezTo>
                      <a:pt x="453730" y="779405"/>
                      <a:pt x="457602" y="779944"/>
                      <a:pt x="458708" y="778325"/>
                    </a:cubicBezTo>
                    <a:cubicBezTo>
                      <a:pt x="458708" y="777785"/>
                      <a:pt x="457049" y="764832"/>
                      <a:pt x="461473" y="762673"/>
                    </a:cubicBezTo>
                    <a:cubicBezTo>
                      <a:pt x="464792" y="761594"/>
                      <a:pt x="467004" y="771309"/>
                      <a:pt x="469217" y="772928"/>
                    </a:cubicBezTo>
                    <a:cubicBezTo>
                      <a:pt x="471429" y="774547"/>
                      <a:pt x="479172" y="775626"/>
                      <a:pt x="481938" y="775626"/>
                    </a:cubicBezTo>
                    <a:cubicBezTo>
                      <a:pt x="484150" y="775626"/>
                      <a:pt x="490234" y="774547"/>
                      <a:pt x="490787" y="775087"/>
                    </a:cubicBezTo>
                    <a:cubicBezTo>
                      <a:pt x="494659" y="775626"/>
                      <a:pt x="498531" y="777785"/>
                      <a:pt x="502402" y="778865"/>
                    </a:cubicBezTo>
                    <a:cubicBezTo>
                      <a:pt x="505721" y="779405"/>
                      <a:pt x="510146" y="778325"/>
                      <a:pt x="513464" y="778865"/>
                    </a:cubicBezTo>
                    <a:cubicBezTo>
                      <a:pt x="516783" y="781024"/>
                      <a:pt x="515676" y="784262"/>
                      <a:pt x="517889" y="786421"/>
                    </a:cubicBezTo>
                    <a:cubicBezTo>
                      <a:pt x="518995" y="787500"/>
                      <a:pt x="523973" y="789120"/>
                      <a:pt x="525079" y="788580"/>
                    </a:cubicBezTo>
                    <a:cubicBezTo>
                      <a:pt x="532822" y="786961"/>
                      <a:pt x="541119" y="780484"/>
                      <a:pt x="548862" y="777785"/>
                    </a:cubicBezTo>
                    <a:cubicBezTo>
                      <a:pt x="557158" y="774547"/>
                      <a:pt x="566008" y="771309"/>
                      <a:pt x="574857" y="769150"/>
                    </a:cubicBezTo>
                    <a:cubicBezTo>
                      <a:pt x="576517" y="768610"/>
                      <a:pt x="585919" y="768070"/>
                      <a:pt x="587578" y="768610"/>
                    </a:cubicBezTo>
                    <a:cubicBezTo>
                      <a:pt x="589791" y="769150"/>
                      <a:pt x="588685" y="775087"/>
                      <a:pt x="599193" y="774007"/>
                    </a:cubicBezTo>
                    <a:cubicBezTo>
                      <a:pt x="605277" y="773468"/>
                      <a:pt x="611914" y="770229"/>
                      <a:pt x="617999" y="769689"/>
                    </a:cubicBezTo>
                    <a:cubicBezTo>
                      <a:pt x="622976" y="769150"/>
                      <a:pt x="629613" y="771309"/>
                      <a:pt x="634038" y="770229"/>
                    </a:cubicBezTo>
                    <a:cubicBezTo>
                      <a:pt x="635144" y="769689"/>
                      <a:pt x="643441" y="763213"/>
                      <a:pt x="646206" y="762133"/>
                    </a:cubicBezTo>
                    <a:cubicBezTo>
                      <a:pt x="647312" y="761594"/>
                      <a:pt x="652843" y="760514"/>
                      <a:pt x="653949" y="760514"/>
                    </a:cubicBezTo>
                    <a:cubicBezTo>
                      <a:pt x="655609" y="761054"/>
                      <a:pt x="657268" y="761054"/>
                      <a:pt x="657821" y="762673"/>
                    </a:cubicBezTo>
                    <a:cubicBezTo>
                      <a:pt x="660034" y="766991"/>
                      <a:pt x="657821" y="778325"/>
                      <a:pt x="662799" y="782643"/>
                    </a:cubicBezTo>
                    <a:cubicBezTo>
                      <a:pt x="663352" y="783183"/>
                      <a:pt x="667224" y="784802"/>
                      <a:pt x="667777" y="784262"/>
                    </a:cubicBezTo>
                    <a:cubicBezTo>
                      <a:pt x="671648" y="782103"/>
                      <a:pt x="674414" y="770229"/>
                      <a:pt x="681604" y="767531"/>
                    </a:cubicBezTo>
                    <a:cubicBezTo>
                      <a:pt x="687135" y="765911"/>
                      <a:pt x="698750" y="767531"/>
                      <a:pt x="705940" y="764292"/>
                    </a:cubicBezTo>
                    <a:cubicBezTo>
                      <a:pt x="717555" y="758355"/>
                      <a:pt x="705940" y="754038"/>
                      <a:pt x="713683" y="750259"/>
                    </a:cubicBezTo>
                    <a:cubicBezTo>
                      <a:pt x="714237" y="750259"/>
                      <a:pt x="716449" y="749180"/>
                      <a:pt x="717555" y="749180"/>
                    </a:cubicBezTo>
                    <a:cubicBezTo>
                      <a:pt x="718108" y="749720"/>
                      <a:pt x="720321" y="751339"/>
                      <a:pt x="720874" y="751879"/>
                    </a:cubicBezTo>
                    <a:cubicBezTo>
                      <a:pt x="721427" y="753498"/>
                      <a:pt x="720321" y="759435"/>
                      <a:pt x="720321" y="761054"/>
                    </a:cubicBezTo>
                    <a:cubicBezTo>
                      <a:pt x="719767" y="763753"/>
                      <a:pt x="719214" y="766451"/>
                      <a:pt x="719214" y="769150"/>
                    </a:cubicBezTo>
                    <a:cubicBezTo>
                      <a:pt x="719214" y="772928"/>
                      <a:pt x="719767" y="784802"/>
                      <a:pt x="718661" y="787500"/>
                    </a:cubicBezTo>
                    <a:cubicBezTo>
                      <a:pt x="717555" y="790739"/>
                      <a:pt x="710365" y="791278"/>
                      <a:pt x="707599" y="789659"/>
                    </a:cubicBezTo>
                    <a:cubicBezTo>
                      <a:pt x="705387" y="788580"/>
                      <a:pt x="704281" y="783722"/>
                      <a:pt x="700962" y="784802"/>
                    </a:cubicBezTo>
                    <a:cubicBezTo>
                      <a:pt x="699856" y="785341"/>
                      <a:pt x="695984" y="790199"/>
                      <a:pt x="694325" y="791278"/>
                    </a:cubicBezTo>
                    <a:cubicBezTo>
                      <a:pt x="690454" y="794517"/>
                      <a:pt x="684923" y="793437"/>
                      <a:pt x="679945" y="794517"/>
                    </a:cubicBezTo>
                    <a:cubicBezTo>
                      <a:pt x="677179" y="795056"/>
                      <a:pt x="674414" y="796676"/>
                      <a:pt x="671648" y="797755"/>
                    </a:cubicBezTo>
                    <a:cubicBezTo>
                      <a:pt x="662799" y="800454"/>
                      <a:pt x="653396" y="802073"/>
                      <a:pt x="644547" y="805311"/>
                    </a:cubicBezTo>
                    <a:cubicBezTo>
                      <a:pt x="641228" y="805851"/>
                      <a:pt x="638463" y="807470"/>
                      <a:pt x="635144" y="808550"/>
                    </a:cubicBezTo>
                    <a:cubicBezTo>
                      <a:pt x="627954" y="811248"/>
                      <a:pt x="620764" y="812867"/>
                      <a:pt x="613574" y="816106"/>
                    </a:cubicBezTo>
                    <a:cubicBezTo>
                      <a:pt x="606384" y="820423"/>
                      <a:pt x="589238" y="827980"/>
                      <a:pt x="580941" y="827440"/>
                    </a:cubicBezTo>
                    <a:cubicBezTo>
                      <a:pt x="569880" y="827440"/>
                      <a:pt x="574857" y="824202"/>
                      <a:pt x="571539" y="817185"/>
                    </a:cubicBezTo>
                    <a:cubicBezTo>
                      <a:pt x="570986" y="816106"/>
                      <a:pt x="568773" y="812867"/>
                      <a:pt x="567114" y="811788"/>
                    </a:cubicBezTo>
                    <a:cubicBezTo>
                      <a:pt x="565455" y="811248"/>
                      <a:pt x="558818" y="811788"/>
                      <a:pt x="556605" y="811248"/>
                    </a:cubicBezTo>
                    <a:cubicBezTo>
                      <a:pt x="547203" y="810169"/>
                      <a:pt x="537800" y="806391"/>
                      <a:pt x="528398" y="805851"/>
                    </a:cubicBezTo>
                    <a:cubicBezTo>
                      <a:pt x="521760" y="805851"/>
                      <a:pt x="515123" y="809089"/>
                      <a:pt x="508486" y="809629"/>
                    </a:cubicBezTo>
                    <a:cubicBezTo>
                      <a:pt x="498531" y="810169"/>
                      <a:pt x="488575" y="808550"/>
                      <a:pt x="478619" y="809629"/>
                    </a:cubicBezTo>
                    <a:cubicBezTo>
                      <a:pt x="468111" y="810708"/>
                      <a:pt x="459814" y="817185"/>
                      <a:pt x="449305" y="813407"/>
                    </a:cubicBezTo>
                    <a:cubicBezTo>
                      <a:pt x="448752" y="812867"/>
                      <a:pt x="447646" y="812328"/>
                      <a:pt x="447093" y="811788"/>
                    </a:cubicBezTo>
                    <a:cubicBezTo>
                      <a:pt x="441562" y="804232"/>
                      <a:pt x="444328" y="786421"/>
                      <a:pt x="447646" y="777246"/>
                    </a:cubicBezTo>
                    <a:close/>
                    <a:moveTo>
                      <a:pt x="12916" y="340070"/>
                    </a:moveTo>
                    <a:cubicBezTo>
                      <a:pt x="13469" y="338990"/>
                      <a:pt x="15681" y="339530"/>
                      <a:pt x="16787" y="340070"/>
                    </a:cubicBezTo>
                    <a:cubicBezTo>
                      <a:pt x="19000" y="341149"/>
                      <a:pt x="17341" y="349785"/>
                      <a:pt x="17894" y="351944"/>
                    </a:cubicBezTo>
                    <a:cubicBezTo>
                      <a:pt x="19000" y="355182"/>
                      <a:pt x="21212" y="358420"/>
                      <a:pt x="22871" y="361659"/>
                    </a:cubicBezTo>
                    <a:cubicBezTo>
                      <a:pt x="23978" y="364357"/>
                      <a:pt x="24531" y="367056"/>
                      <a:pt x="25084" y="369215"/>
                    </a:cubicBezTo>
                    <a:cubicBezTo>
                      <a:pt x="25637" y="370834"/>
                      <a:pt x="27296" y="374072"/>
                      <a:pt x="28402" y="375152"/>
                    </a:cubicBezTo>
                    <a:cubicBezTo>
                      <a:pt x="31721" y="378930"/>
                      <a:pt x="46101" y="382168"/>
                      <a:pt x="44995" y="387565"/>
                    </a:cubicBezTo>
                    <a:cubicBezTo>
                      <a:pt x="44442" y="391343"/>
                      <a:pt x="28955" y="385406"/>
                      <a:pt x="26743" y="384327"/>
                    </a:cubicBezTo>
                    <a:cubicBezTo>
                      <a:pt x="20659" y="380009"/>
                      <a:pt x="18447" y="370834"/>
                      <a:pt x="13469" y="365437"/>
                    </a:cubicBezTo>
                    <a:cubicBezTo>
                      <a:pt x="10150" y="362738"/>
                      <a:pt x="1301" y="357881"/>
                      <a:pt x="-358" y="355182"/>
                    </a:cubicBezTo>
                    <a:cubicBezTo>
                      <a:pt x="-1465" y="354103"/>
                      <a:pt x="-358" y="349785"/>
                      <a:pt x="-358" y="348166"/>
                    </a:cubicBezTo>
                    <a:cubicBezTo>
                      <a:pt x="1301" y="344388"/>
                      <a:pt x="10150" y="343848"/>
                      <a:pt x="12916" y="340070"/>
                    </a:cubicBezTo>
                    <a:close/>
                    <a:moveTo>
                      <a:pt x="93667" y="524655"/>
                    </a:moveTo>
                    <a:cubicBezTo>
                      <a:pt x="92561" y="524655"/>
                      <a:pt x="90902" y="524115"/>
                      <a:pt x="90349" y="523576"/>
                    </a:cubicBezTo>
                    <a:cubicBezTo>
                      <a:pt x="87583" y="520337"/>
                      <a:pt x="88136" y="505225"/>
                      <a:pt x="90902" y="504146"/>
                    </a:cubicBezTo>
                    <a:cubicBezTo>
                      <a:pt x="92561" y="503606"/>
                      <a:pt x="99198" y="505765"/>
                      <a:pt x="100857" y="505225"/>
                    </a:cubicBezTo>
                    <a:cubicBezTo>
                      <a:pt x="101411" y="505225"/>
                      <a:pt x="102517" y="503066"/>
                      <a:pt x="102517" y="501987"/>
                    </a:cubicBezTo>
                    <a:cubicBezTo>
                      <a:pt x="103070" y="501447"/>
                      <a:pt x="103070" y="499828"/>
                      <a:pt x="103070" y="498748"/>
                    </a:cubicBezTo>
                    <a:cubicBezTo>
                      <a:pt x="103623" y="497129"/>
                      <a:pt x="101964" y="490653"/>
                      <a:pt x="105835" y="491732"/>
                    </a:cubicBezTo>
                    <a:cubicBezTo>
                      <a:pt x="108601" y="492272"/>
                      <a:pt x="109707" y="498209"/>
                      <a:pt x="110260" y="500368"/>
                    </a:cubicBezTo>
                    <a:cubicBezTo>
                      <a:pt x="110813" y="501987"/>
                      <a:pt x="115791" y="509003"/>
                      <a:pt x="116897" y="510083"/>
                    </a:cubicBezTo>
                    <a:cubicBezTo>
                      <a:pt x="122981" y="515480"/>
                      <a:pt x="130171" y="513861"/>
                      <a:pt x="131278" y="523576"/>
                    </a:cubicBezTo>
                    <a:cubicBezTo>
                      <a:pt x="131278" y="524655"/>
                      <a:pt x="130724" y="526814"/>
                      <a:pt x="130724" y="527893"/>
                    </a:cubicBezTo>
                    <a:cubicBezTo>
                      <a:pt x="128512" y="531672"/>
                      <a:pt x="123534" y="528973"/>
                      <a:pt x="120216" y="528973"/>
                    </a:cubicBezTo>
                    <a:cubicBezTo>
                      <a:pt x="117450" y="528973"/>
                      <a:pt x="106941" y="531132"/>
                      <a:pt x="104729" y="529513"/>
                    </a:cubicBezTo>
                    <a:cubicBezTo>
                      <a:pt x="103623" y="528433"/>
                      <a:pt x="101411" y="522496"/>
                      <a:pt x="100304" y="520337"/>
                    </a:cubicBezTo>
                    <a:lnTo>
                      <a:pt x="98645" y="519798"/>
                    </a:lnTo>
                    <a:cubicBezTo>
                      <a:pt x="96433" y="521417"/>
                      <a:pt x="96433" y="523576"/>
                      <a:pt x="93667" y="524655"/>
                    </a:cubicBezTo>
                    <a:close/>
                    <a:moveTo>
                      <a:pt x="129618" y="557039"/>
                    </a:moveTo>
                    <a:cubicBezTo>
                      <a:pt x="131278" y="558658"/>
                      <a:pt x="139021" y="559197"/>
                      <a:pt x="141786" y="560277"/>
                    </a:cubicBezTo>
                    <a:cubicBezTo>
                      <a:pt x="143446" y="560817"/>
                      <a:pt x="152848" y="565674"/>
                      <a:pt x="153401" y="566214"/>
                    </a:cubicBezTo>
                    <a:cubicBezTo>
                      <a:pt x="155614" y="568912"/>
                      <a:pt x="147317" y="569992"/>
                      <a:pt x="146211" y="571071"/>
                    </a:cubicBezTo>
                    <a:cubicBezTo>
                      <a:pt x="143999" y="573230"/>
                      <a:pt x="143999" y="580247"/>
                      <a:pt x="139021" y="577548"/>
                    </a:cubicBezTo>
                    <a:cubicBezTo>
                      <a:pt x="137915" y="577008"/>
                      <a:pt x="135702" y="573770"/>
                      <a:pt x="134043" y="572151"/>
                    </a:cubicBezTo>
                    <a:cubicBezTo>
                      <a:pt x="129618" y="567833"/>
                      <a:pt x="124087" y="565674"/>
                      <a:pt x="121875" y="559197"/>
                    </a:cubicBezTo>
                    <a:cubicBezTo>
                      <a:pt x="121322" y="557039"/>
                      <a:pt x="121322" y="552721"/>
                      <a:pt x="123534" y="551641"/>
                    </a:cubicBezTo>
                    <a:lnTo>
                      <a:pt x="126300" y="551641"/>
                    </a:lnTo>
                    <a:cubicBezTo>
                      <a:pt x="126853" y="552181"/>
                      <a:pt x="127959" y="556499"/>
                      <a:pt x="129618" y="557039"/>
                    </a:cubicBezTo>
                    <a:close/>
                    <a:moveTo>
                      <a:pt x="131278" y="410773"/>
                    </a:moveTo>
                    <a:cubicBezTo>
                      <a:pt x="127406" y="409694"/>
                      <a:pt x="118003" y="406995"/>
                      <a:pt x="114685" y="410234"/>
                    </a:cubicBezTo>
                    <a:cubicBezTo>
                      <a:pt x="113025" y="411853"/>
                      <a:pt x="112472" y="415091"/>
                      <a:pt x="110813" y="416710"/>
                    </a:cubicBezTo>
                    <a:lnTo>
                      <a:pt x="108048" y="417250"/>
                    </a:lnTo>
                    <a:cubicBezTo>
                      <a:pt x="104729" y="414552"/>
                      <a:pt x="105282" y="411853"/>
                      <a:pt x="100304" y="408615"/>
                    </a:cubicBezTo>
                    <a:cubicBezTo>
                      <a:pt x="95880" y="406456"/>
                      <a:pt x="87583" y="404297"/>
                      <a:pt x="85371" y="399979"/>
                    </a:cubicBezTo>
                    <a:cubicBezTo>
                      <a:pt x="84265" y="398360"/>
                      <a:pt x="84265" y="394042"/>
                      <a:pt x="83158" y="393502"/>
                    </a:cubicBezTo>
                    <a:cubicBezTo>
                      <a:pt x="80393" y="391883"/>
                      <a:pt x="70437" y="392423"/>
                      <a:pt x="67672" y="390804"/>
                    </a:cubicBezTo>
                    <a:cubicBezTo>
                      <a:pt x="65460" y="390264"/>
                      <a:pt x="60482" y="385406"/>
                      <a:pt x="59376" y="383787"/>
                    </a:cubicBezTo>
                    <a:cubicBezTo>
                      <a:pt x="57163" y="379470"/>
                      <a:pt x="57716" y="373533"/>
                      <a:pt x="53845" y="370294"/>
                    </a:cubicBezTo>
                    <a:cubicBezTo>
                      <a:pt x="52185" y="368675"/>
                      <a:pt x="47208" y="367596"/>
                      <a:pt x="46101" y="365976"/>
                    </a:cubicBezTo>
                    <a:cubicBezTo>
                      <a:pt x="45548" y="364897"/>
                      <a:pt x="46101" y="360039"/>
                      <a:pt x="46101" y="358420"/>
                    </a:cubicBezTo>
                    <a:lnTo>
                      <a:pt x="64353" y="329275"/>
                    </a:lnTo>
                    <a:lnTo>
                      <a:pt x="59929" y="317401"/>
                    </a:lnTo>
                    <a:lnTo>
                      <a:pt x="59929" y="309845"/>
                    </a:lnTo>
                    <a:lnTo>
                      <a:pt x="66566" y="301210"/>
                    </a:lnTo>
                    <a:lnTo>
                      <a:pt x="84818" y="294733"/>
                    </a:lnTo>
                    <a:lnTo>
                      <a:pt x="88689" y="273684"/>
                    </a:lnTo>
                    <a:lnTo>
                      <a:pt x="97539" y="262350"/>
                    </a:lnTo>
                    <a:lnTo>
                      <a:pt x="106388" y="238062"/>
                    </a:lnTo>
                    <a:lnTo>
                      <a:pt x="98645" y="223489"/>
                    </a:lnTo>
                    <a:lnTo>
                      <a:pt x="96986" y="215933"/>
                    </a:lnTo>
                    <a:lnTo>
                      <a:pt x="98092" y="202980"/>
                    </a:lnTo>
                    <a:lnTo>
                      <a:pt x="130724" y="191646"/>
                    </a:lnTo>
                    <a:lnTo>
                      <a:pt x="148976" y="191106"/>
                    </a:lnTo>
                    <a:lnTo>
                      <a:pt x="165016" y="181391"/>
                    </a:lnTo>
                    <a:lnTo>
                      <a:pt x="184374" y="151167"/>
                    </a:lnTo>
                    <a:lnTo>
                      <a:pt x="217007" y="150087"/>
                    </a:lnTo>
                    <a:lnTo>
                      <a:pt x="246874" y="136594"/>
                    </a:lnTo>
                    <a:lnTo>
                      <a:pt x="247427" y="120402"/>
                    </a:lnTo>
                    <a:lnTo>
                      <a:pt x="266785" y="115005"/>
                    </a:lnTo>
                    <a:lnTo>
                      <a:pt x="275635" y="113386"/>
                    </a:lnTo>
                    <a:lnTo>
                      <a:pt x="297758" y="99353"/>
                    </a:lnTo>
                    <a:lnTo>
                      <a:pt x="317116" y="97734"/>
                    </a:lnTo>
                    <a:lnTo>
                      <a:pt x="324307" y="93956"/>
                    </a:lnTo>
                    <a:lnTo>
                      <a:pt x="354727" y="77764"/>
                    </a:lnTo>
                    <a:lnTo>
                      <a:pt x="371873" y="61033"/>
                    </a:lnTo>
                    <a:lnTo>
                      <a:pt x="384041" y="64811"/>
                    </a:lnTo>
                    <a:lnTo>
                      <a:pt x="394549" y="58334"/>
                    </a:lnTo>
                    <a:lnTo>
                      <a:pt x="403952" y="69668"/>
                    </a:lnTo>
                    <a:lnTo>
                      <a:pt x="422757" y="73986"/>
                    </a:lnTo>
                    <a:lnTo>
                      <a:pt x="435478" y="68049"/>
                    </a:lnTo>
                    <a:lnTo>
                      <a:pt x="471982" y="78304"/>
                    </a:lnTo>
                    <a:lnTo>
                      <a:pt x="511805" y="58334"/>
                    </a:lnTo>
                    <a:lnTo>
                      <a:pt x="519548" y="58334"/>
                    </a:lnTo>
                    <a:lnTo>
                      <a:pt x="531163" y="47540"/>
                    </a:lnTo>
                    <a:lnTo>
                      <a:pt x="537800" y="29189"/>
                    </a:lnTo>
                    <a:lnTo>
                      <a:pt x="529504" y="12997"/>
                    </a:lnTo>
                    <a:lnTo>
                      <a:pt x="530057" y="7060"/>
                    </a:lnTo>
                    <a:lnTo>
                      <a:pt x="546650" y="-496"/>
                    </a:lnTo>
                    <a:cubicBezTo>
                      <a:pt x="566561" y="7600"/>
                      <a:pt x="572645" y="1123"/>
                      <a:pt x="572645" y="27570"/>
                    </a:cubicBezTo>
                    <a:cubicBezTo>
                      <a:pt x="572645" y="29729"/>
                      <a:pt x="572645" y="32427"/>
                      <a:pt x="571539" y="34586"/>
                    </a:cubicBezTo>
                    <a:cubicBezTo>
                      <a:pt x="569880" y="37825"/>
                      <a:pt x="558265" y="41603"/>
                      <a:pt x="556052" y="45921"/>
                    </a:cubicBezTo>
                    <a:cubicBezTo>
                      <a:pt x="551074" y="57794"/>
                      <a:pt x="562136" y="75605"/>
                      <a:pt x="562136" y="84241"/>
                    </a:cubicBezTo>
                    <a:cubicBezTo>
                      <a:pt x="562136" y="87479"/>
                      <a:pt x="551074" y="109068"/>
                      <a:pt x="548862" y="113926"/>
                    </a:cubicBezTo>
                    <a:cubicBezTo>
                      <a:pt x="548309" y="112306"/>
                      <a:pt x="546097" y="108528"/>
                      <a:pt x="544990" y="107989"/>
                    </a:cubicBezTo>
                    <a:cubicBezTo>
                      <a:pt x="542778" y="107449"/>
                      <a:pt x="533375" y="106370"/>
                      <a:pt x="530610" y="106370"/>
                    </a:cubicBezTo>
                    <a:cubicBezTo>
                      <a:pt x="523973" y="107449"/>
                      <a:pt x="517336" y="111767"/>
                      <a:pt x="510146" y="113386"/>
                    </a:cubicBezTo>
                    <a:cubicBezTo>
                      <a:pt x="501296" y="115545"/>
                      <a:pt x="491340" y="111227"/>
                      <a:pt x="482491" y="111227"/>
                    </a:cubicBezTo>
                    <a:cubicBezTo>
                      <a:pt x="478619" y="111227"/>
                      <a:pt x="475301" y="113386"/>
                      <a:pt x="471429" y="113926"/>
                    </a:cubicBezTo>
                    <a:cubicBezTo>
                      <a:pt x="462580" y="113926"/>
                      <a:pt x="463686" y="109608"/>
                      <a:pt x="462027" y="108528"/>
                    </a:cubicBezTo>
                    <a:cubicBezTo>
                      <a:pt x="461473" y="107989"/>
                      <a:pt x="459261" y="107989"/>
                      <a:pt x="458708" y="107989"/>
                    </a:cubicBezTo>
                    <a:cubicBezTo>
                      <a:pt x="451518" y="110148"/>
                      <a:pt x="450412" y="117164"/>
                      <a:pt x="445987" y="121482"/>
                    </a:cubicBezTo>
                    <a:cubicBezTo>
                      <a:pt x="443775" y="123641"/>
                      <a:pt x="427735" y="135515"/>
                      <a:pt x="425522" y="135515"/>
                    </a:cubicBezTo>
                    <a:cubicBezTo>
                      <a:pt x="424416" y="136054"/>
                      <a:pt x="421098" y="134975"/>
                      <a:pt x="419992" y="134975"/>
                    </a:cubicBezTo>
                    <a:cubicBezTo>
                      <a:pt x="411695" y="132276"/>
                      <a:pt x="419992" y="124180"/>
                      <a:pt x="404505" y="127419"/>
                    </a:cubicBezTo>
                    <a:cubicBezTo>
                      <a:pt x="403399" y="127958"/>
                      <a:pt x="402293" y="128498"/>
                      <a:pt x="401740" y="129038"/>
                    </a:cubicBezTo>
                    <a:cubicBezTo>
                      <a:pt x="400080" y="130117"/>
                      <a:pt x="395102" y="133356"/>
                      <a:pt x="394549" y="134975"/>
                    </a:cubicBezTo>
                    <a:cubicBezTo>
                      <a:pt x="393443" y="137134"/>
                      <a:pt x="393996" y="142531"/>
                      <a:pt x="393443" y="145230"/>
                    </a:cubicBezTo>
                    <a:cubicBezTo>
                      <a:pt x="391784" y="150627"/>
                      <a:pt x="380722" y="160342"/>
                      <a:pt x="375191" y="161421"/>
                    </a:cubicBezTo>
                    <a:cubicBezTo>
                      <a:pt x="372426" y="162501"/>
                      <a:pt x="363576" y="160882"/>
                      <a:pt x="360811" y="160342"/>
                    </a:cubicBezTo>
                    <a:cubicBezTo>
                      <a:pt x="358045" y="159802"/>
                      <a:pt x="355280" y="159262"/>
                      <a:pt x="352514" y="159262"/>
                    </a:cubicBezTo>
                    <a:cubicBezTo>
                      <a:pt x="347536" y="158723"/>
                      <a:pt x="339240" y="164660"/>
                      <a:pt x="342006" y="170597"/>
                    </a:cubicBezTo>
                    <a:cubicBezTo>
                      <a:pt x="344218" y="176534"/>
                      <a:pt x="359705" y="177073"/>
                      <a:pt x="361364" y="184090"/>
                    </a:cubicBezTo>
                    <a:cubicBezTo>
                      <a:pt x="363023" y="188407"/>
                      <a:pt x="357492" y="190566"/>
                      <a:pt x="361917" y="195964"/>
                    </a:cubicBezTo>
                    <a:cubicBezTo>
                      <a:pt x="363023" y="197043"/>
                      <a:pt x="364129" y="199202"/>
                      <a:pt x="365789" y="200281"/>
                    </a:cubicBezTo>
                    <a:cubicBezTo>
                      <a:pt x="370766" y="204059"/>
                      <a:pt x="390678" y="194884"/>
                      <a:pt x="403952" y="207838"/>
                    </a:cubicBezTo>
                    <a:cubicBezTo>
                      <a:pt x="407824" y="211616"/>
                      <a:pt x="411695" y="216473"/>
                      <a:pt x="415014" y="220791"/>
                    </a:cubicBezTo>
                    <a:lnTo>
                      <a:pt x="415014" y="223489"/>
                    </a:lnTo>
                    <a:cubicBezTo>
                      <a:pt x="412801" y="225109"/>
                      <a:pt x="406717" y="224029"/>
                      <a:pt x="405058" y="222410"/>
                    </a:cubicBezTo>
                    <a:cubicBezTo>
                      <a:pt x="402846" y="220251"/>
                      <a:pt x="401186" y="214854"/>
                      <a:pt x="398974" y="213774"/>
                    </a:cubicBezTo>
                    <a:cubicBezTo>
                      <a:pt x="395102" y="211616"/>
                      <a:pt x="382381" y="208377"/>
                      <a:pt x="377403" y="207298"/>
                    </a:cubicBezTo>
                    <a:cubicBezTo>
                      <a:pt x="375191" y="206758"/>
                      <a:pt x="368554" y="205679"/>
                      <a:pt x="366895" y="205679"/>
                    </a:cubicBezTo>
                    <a:cubicBezTo>
                      <a:pt x="361364" y="206218"/>
                      <a:pt x="354174" y="211616"/>
                      <a:pt x="353067" y="216473"/>
                    </a:cubicBezTo>
                    <a:cubicBezTo>
                      <a:pt x="351961" y="219172"/>
                      <a:pt x="353067" y="220251"/>
                      <a:pt x="354727" y="221870"/>
                    </a:cubicBezTo>
                    <a:cubicBezTo>
                      <a:pt x="367448" y="234284"/>
                      <a:pt x="380722" y="225648"/>
                      <a:pt x="384594" y="244539"/>
                    </a:cubicBezTo>
                    <a:cubicBezTo>
                      <a:pt x="385147" y="247237"/>
                      <a:pt x="385700" y="249936"/>
                      <a:pt x="384594" y="253174"/>
                    </a:cubicBezTo>
                    <a:cubicBezTo>
                      <a:pt x="377403" y="255333"/>
                      <a:pt x="368001" y="244539"/>
                      <a:pt x="363576" y="239141"/>
                    </a:cubicBezTo>
                    <a:cubicBezTo>
                      <a:pt x="361917" y="236983"/>
                      <a:pt x="358598" y="229966"/>
                      <a:pt x="356386" y="228887"/>
                    </a:cubicBezTo>
                    <a:cubicBezTo>
                      <a:pt x="354727" y="227807"/>
                      <a:pt x="352514" y="226728"/>
                      <a:pt x="350855" y="226188"/>
                    </a:cubicBezTo>
                    <a:cubicBezTo>
                      <a:pt x="346430" y="225109"/>
                      <a:pt x="340899" y="224029"/>
                      <a:pt x="336475" y="224029"/>
                    </a:cubicBezTo>
                    <a:cubicBezTo>
                      <a:pt x="321541" y="224029"/>
                      <a:pt x="319329" y="237522"/>
                      <a:pt x="329838" y="246158"/>
                    </a:cubicBezTo>
                    <a:cubicBezTo>
                      <a:pt x="332050" y="248317"/>
                      <a:pt x="335922" y="250476"/>
                      <a:pt x="339240" y="252095"/>
                    </a:cubicBezTo>
                    <a:cubicBezTo>
                      <a:pt x="343665" y="253714"/>
                      <a:pt x="364129" y="258032"/>
                      <a:pt x="364682" y="262350"/>
                    </a:cubicBezTo>
                    <a:cubicBezTo>
                      <a:pt x="364682" y="266128"/>
                      <a:pt x="355280" y="261270"/>
                      <a:pt x="354174" y="261270"/>
                    </a:cubicBezTo>
                    <a:cubicBezTo>
                      <a:pt x="349196" y="260730"/>
                      <a:pt x="343112" y="260730"/>
                      <a:pt x="338134" y="261270"/>
                    </a:cubicBezTo>
                    <a:cubicBezTo>
                      <a:pt x="336475" y="261810"/>
                      <a:pt x="334815" y="262889"/>
                      <a:pt x="333156" y="262350"/>
                    </a:cubicBezTo>
                    <a:cubicBezTo>
                      <a:pt x="327625" y="262350"/>
                      <a:pt x="322647" y="248856"/>
                      <a:pt x="320988" y="243999"/>
                    </a:cubicBezTo>
                    <a:cubicBezTo>
                      <a:pt x="320988" y="242920"/>
                      <a:pt x="320988" y="241300"/>
                      <a:pt x="320435" y="240221"/>
                    </a:cubicBezTo>
                    <a:lnTo>
                      <a:pt x="315457" y="233744"/>
                    </a:lnTo>
                    <a:cubicBezTo>
                      <a:pt x="312692" y="231046"/>
                      <a:pt x="308267" y="233744"/>
                      <a:pt x="304948" y="233205"/>
                    </a:cubicBezTo>
                    <a:cubicBezTo>
                      <a:pt x="296652" y="232665"/>
                      <a:pt x="296652" y="229426"/>
                      <a:pt x="291674" y="227268"/>
                    </a:cubicBezTo>
                    <a:cubicBezTo>
                      <a:pt x="287803" y="225648"/>
                      <a:pt x="282825" y="225648"/>
                      <a:pt x="278953" y="223489"/>
                    </a:cubicBezTo>
                    <a:cubicBezTo>
                      <a:pt x="277294" y="222950"/>
                      <a:pt x="273975" y="218632"/>
                      <a:pt x="273422" y="217013"/>
                    </a:cubicBezTo>
                    <a:cubicBezTo>
                      <a:pt x="270657" y="206758"/>
                      <a:pt x="289462" y="211616"/>
                      <a:pt x="278953" y="195424"/>
                    </a:cubicBezTo>
                    <a:cubicBezTo>
                      <a:pt x="277847" y="193265"/>
                      <a:pt x="277294" y="192725"/>
                      <a:pt x="274528" y="192725"/>
                    </a:cubicBezTo>
                    <a:cubicBezTo>
                      <a:pt x="267891" y="191646"/>
                      <a:pt x="267338" y="200281"/>
                      <a:pt x="264573" y="204059"/>
                    </a:cubicBezTo>
                    <a:cubicBezTo>
                      <a:pt x="264020" y="205139"/>
                      <a:pt x="255170" y="211616"/>
                      <a:pt x="254617" y="212155"/>
                    </a:cubicBezTo>
                    <a:cubicBezTo>
                      <a:pt x="253511" y="213235"/>
                      <a:pt x="251852" y="214314"/>
                      <a:pt x="251298" y="215933"/>
                    </a:cubicBezTo>
                    <a:cubicBezTo>
                      <a:pt x="249639" y="221331"/>
                      <a:pt x="252958" y="221870"/>
                      <a:pt x="252958" y="225109"/>
                    </a:cubicBezTo>
                    <a:cubicBezTo>
                      <a:pt x="254064" y="235363"/>
                      <a:pt x="252405" y="246158"/>
                      <a:pt x="252958" y="256413"/>
                    </a:cubicBezTo>
                    <a:cubicBezTo>
                      <a:pt x="254064" y="270985"/>
                      <a:pt x="264573" y="276382"/>
                      <a:pt x="275635" y="282859"/>
                    </a:cubicBezTo>
                    <a:cubicBezTo>
                      <a:pt x="280612" y="290955"/>
                      <a:pt x="285590" y="300130"/>
                      <a:pt x="291121" y="307686"/>
                    </a:cubicBezTo>
                    <a:cubicBezTo>
                      <a:pt x="301630" y="321719"/>
                      <a:pt x="317116" y="320640"/>
                      <a:pt x="327625" y="331434"/>
                    </a:cubicBezTo>
                    <a:cubicBezTo>
                      <a:pt x="333156" y="336831"/>
                      <a:pt x="334815" y="343848"/>
                      <a:pt x="338687" y="349785"/>
                    </a:cubicBezTo>
                    <a:cubicBezTo>
                      <a:pt x="339793" y="350864"/>
                      <a:pt x="340899" y="351404"/>
                      <a:pt x="341452" y="352483"/>
                    </a:cubicBezTo>
                    <a:cubicBezTo>
                      <a:pt x="342006" y="353563"/>
                      <a:pt x="343112" y="357881"/>
                      <a:pt x="342559" y="358960"/>
                    </a:cubicBezTo>
                    <a:cubicBezTo>
                      <a:pt x="341452" y="361119"/>
                      <a:pt x="328178" y="370834"/>
                      <a:pt x="326519" y="371374"/>
                    </a:cubicBezTo>
                    <a:cubicBezTo>
                      <a:pt x="325413" y="371913"/>
                      <a:pt x="322094" y="370834"/>
                      <a:pt x="321541" y="370294"/>
                    </a:cubicBezTo>
                    <a:cubicBezTo>
                      <a:pt x="319882" y="367596"/>
                      <a:pt x="329838" y="361119"/>
                      <a:pt x="330944" y="357341"/>
                    </a:cubicBezTo>
                    <a:cubicBezTo>
                      <a:pt x="331497" y="356261"/>
                      <a:pt x="331497" y="353563"/>
                      <a:pt x="330944" y="353023"/>
                    </a:cubicBezTo>
                    <a:cubicBezTo>
                      <a:pt x="329284" y="350864"/>
                      <a:pt x="318223" y="343308"/>
                      <a:pt x="316010" y="342768"/>
                    </a:cubicBezTo>
                    <a:cubicBezTo>
                      <a:pt x="312692" y="341689"/>
                      <a:pt x="308820" y="341689"/>
                      <a:pt x="306055" y="341689"/>
                    </a:cubicBezTo>
                    <a:lnTo>
                      <a:pt x="304395" y="342229"/>
                    </a:lnTo>
                    <a:cubicBezTo>
                      <a:pt x="303842" y="344388"/>
                      <a:pt x="304395" y="348166"/>
                      <a:pt x="303842" y="349785"/>
                    </a:cubicBezTo>
                    <a:cubicBezTo>
                      <a:pt x="303289" y="350864"/>
                      <a:pt x="299417" y="351944"/>
                      <a:pt x="298311" y="353563"/>
                    </a:cubicBezTo>
                    <a:cubicBezTo>
                      <a:pt x="297758" y="355182"/>
                      <a:pt x="297758" y="361119"/>
                      <a:pt x="298864" y="362738"/>
                    </a:cubicBezTo>
                    <a:cubicBezTo>
                      <a:pt x="300524" y="365976"/>
                      <a:pt x="308820" y="370294"/>
                      <a:pt x="311032" y="372993"/>
                    </a:cubicBezTo>
                    <a:cubicBezTo>
                      <a:pt x="312692" y="374612"/>
                      <a:pt x="313798" y="378930"/>
                      <a:pt x="314904" y="380009"/>
                    </a:cubicBezTo>
                    <a:cubicBezTo>
                      <a:pt x="316010" y="381089"/>
                      <a:pt x="319329" y="381089"/>
                      <a:pt x="320435" y="382168"/>
                    </a:cubicBezTo>
                    <a:cubicBezTo>
                      <a:pt x="319882" y="385406"/>
                      <a:pt x="316563" y="388105"/>
                      <a:pt x="314351" y="390264"/>
                    </a:cubicBezTo>
                    <a:cubicBezTo>
                      <a:pt x="311586" y="393502"/>
                      <a:pt x="297205" y="401058"/>
                      <a:pt x="293887" y="401598"/>
                    </a:cubicBezTo>
                    <a:lnTo>
                      <a:pt x="290568" y="401598"/>
                    </a:lnTo>
                    <a:cubicBezTo>
                      <a:pt x="289462" y="402138"/>
                      <a:pt x="282825" y="403757"/>
                      <a:pt x="282272" y="404837"/>
                    </a:cubicBezTo>
                    <a:cubicBezTo>
                      <a:pt x="282272" y="404837"/>
                      <a:pt x="280612" y="408615"/>
                      <a:pt x="281719" y="409154"/>
                    </a:cubicBezTo>
                    <a:cubicBezTo>
                      <a:pt x="283378" y="409694"/>
                      <a:pt x="291674" y="409154"/>
                      <a:pt x="296099" y="410234"/>
                    </a:cubicBezTo>
                    <a:cubicBezTo>
                      <a:pt x="299417" y="410773"/>
                      <a:pt x="304948" y="415091"/>
                      <a:pt x="308267" y="415091"/>
                    </a:cubicBezTo>
                    <a:cubicBezTo>
                      <a:pt x="314351" y="415631"/>
                      <a:pt x="319329" y="409154"/>
                      <a:pt x="325413" y="412393"/>
                    </a:cubicBezTo>
                    <a:cubicBezTo>
                      <a:pt x="329284" y="414552"/>
                      <a:pt x="329838" y="422647"/>
                      <a:pt x="332050" y="424267"/>
                    </a:cubicBezTo>
                    <a:cubicBezTo>
                      <a:pt x="332603" y="424806"/>
                      <a:pt x="335922" y="424806"/>
                      <a:pt x="337028" y="424267"/>
                    </a:cubicBezTo>
                    <a:cubicBezTo>
                      <a:pt x="339793" y="423727"/>
                      <a:pt x="342006" y="419409"/>
                      <a:pt x="344771" y="418330"/>
                    </a:cubicBezTo>
                    <a:cubicBezTo>
                      <a:pt x="345877" y="417790"/>
                      <a:pt x="352514" y="418869"/>
                      <a:pt x="353621" y="419409"/>
                    </a:cubicBezTo>
                    <a:cubicBezTo>
                      <a:pt x="356386" y="421028"/>
                      <a:pt x="352514" y="426965"/>
                      <a:pt x="353621" y="429124"/>
                    </a:cubicBezTo>
                    <a:cubicBezTo>
                      <a:pt x="354727" y="430743"/>
                      <a:pt x="360258" y="434521"/>
                      <a:pt x="361917" y="435601"/>
                    </a:cubicBezTo>
                    <a:cubicBezTo>
                      <a:pt x="369107" y="439379"/>
                      <a:pt x="374638" y="432902"/>
                      <a:pt x="380169" y="436140"/>
                    </a:cubicBezTo>
                    <a:cubicBezTo>
                      <a:pt x="381828" y="436680"/>
                      <a:pt x="383487" y="440998"/>
                      <a:pt x="385147" y="442617"/>
                    </a:cubicBezTo>
                    <a:cubicBezTo>
                      <a:pt x="387912" y="444776"/>
                      <a:pt x="391231" y="446395"/>
                      <a:pt x="393996" y="448014"/>
                    </a:cubicBezTo>
                    <a:cubicBezTo>
                      <a:pt x="403952" y="449634"/>
                      <a:pt x="417226" y="451253"/>
                      <a:pt x="426629" y="454491"/>
                    </a:cubicBezTo>
                    <a:cubicBezTo>
                      <a:pt x="429394" y="455571"/>
                      <a:pt x="431606" y="458809"/>
                      <a:pt x="432713" y="460968"/>
                    </a:cubicBezTo>
                    <a:cubicBezTo>
                      <a:pt x="431606" y="464206"/>
                      <a:pt x="427182" y="471222"/>
                      <a:pt x="427735" y="474461"/>
                    </a:cubicBezTo>
                    <a:cubicBezTo>
                      <a:pt x="428288" y="477699"/>
                      <a:pt x="434925" y="485795"/>
                      <a:pt x="436584" y="489573"/>
                    </a:cubicBezTo>
                    <a:cubicBezTo>
                      <a:pt x="438797" y="494431"/>
                      <a:pt x="446540" y="518178"/>
                      <a:pt x="438797" y="520337"/>
                    </a:cubicBezTo>
                    <a:cubicBezTo>
                      <a:pt x="438244" y="520877"/>
                      <a:pt x="435478" y="519798"/>
                      <a:pt x="434925" y="519258"/>
                    </a:cubicBezTo>
                    <a:cubicBezTo>
                      <a:pt x="433819" y="518718"/>
                      <a:pt x="433819" y="517099"/>
                      <a:pt x="433266" y="516020"/>
                    </a:cubicBezTo>
                    <a:cubicBezTo>
                      <a:pt x="432160" y="514400"/>
                      <a:pt x="426629" y="509543"/>
                      <a:pt x="424969" y="509003"/>
                    </a:cubicBezTo>
                    <a:cubicBezTo>
                      <a:pt x="421651" y="507384"/>
                      <a:pt x="413354" y="508463"/>
                      <a:pt x="410589" y="506844"/>
                    </a:cubicBezTo>
                    <a:cubicBezTo>
                      <a:pt x="407824" y="505225"/>
                      <a:pt x="405611" y="498209"/>
                      <a:pt x="402846" y="496050"/>
                    </a:cubicBezTo>
                    <a:cubicBezTo>
                      <a:pt x="401186" y="494431"/>
                      <a:pt x="395102" y="493351"/>
                      <a:pt x="393996" y="492272"/>
                    </a:cubicBezTo>
                    <a:cubicBezTo>
                      <a:pt x="392890" y="491192"/>
                      <a:pt x="392890" y="487414"/>
                      <a:pt x="391784" y="486874"/>
                    </a:cubicBezTo>
                    <a:cubicBezTo>
                      <a:pt x="386806" y="482557"/>
                      <a:pt x="359151" y="499828"/>
                      <a:pt x="353621" y="502526"/>
                    </a:cubicBezTo>
                    <a:cubicBezTo>
                      <a:pt x="351408" y="503606"/>
                      <a:pt x="348643" y="505225"/>
                      <a:pt x="347536" y="507384"/>
                    </a:cubicBezTo>
                    <a:cubicBezTo>
                      <a:pt x="346430" y="509003"/>
                      <a:pt x="343665" y="515480"/>
                      <a:pt x="344771" y="517099"/>
                    </a:cubicBezTo>
                    <a:cubicBezTo>
                      <a:pt x="345877" y="519258"/>
                      <a:pt x="354727" y="518718"/>
                      <a:pt x="356386" y="521417"/>
                    </a:cubicBezTo>
                    <a:cubicBezTo>
                      <a:pt x="357492" y="523036"/>
                      <a:pt x="358045" y="527354"/>
                      <a:pt x="359151" y="529513"/>
                    </a:cubicBezTo>
                    <a:cubicBezTo>
                      <a:pt x="360811" y="533291"/>
                      <a:pt x="368001" y="545165"/>
                      <a:pt x="370213" y="547323"/>
                    </a:cubicBezTo>
                    <a:cubicBezTo>
                      <a:pt x="371319" y="548403"/>
                      <a:pt x="376850" y="551102"/>
                      <a:pt x="377957" y="550562"/>
                    </a:cubicBezTo>
                    <a:cubicBezTo>
                      <a:pt x="378510" y="550562"/>
                      <a:pt x="381275" y="546244"/>
                      <a:pt x="380722" y="545704"/>
                    </a:cubicBezTo>
                    <a:cubicBezTo>
                      <a:pt x="380722" y="545165"/>
                      <a:pt x="376297" y="542466"/>
                      <a:pt x="377403" y="540307"/>
                    </a:cubicBezTo>
                    <a:cubicBezTo>
                      <a:pt x="377957" y="539228"/>
                      <a:pt x="381275" y="538148"/>
                      <a:pt x="382381" y="538148"/>
                    </a:cubicBezTo>
                    <a:cubicBezTo>
                      <a:pt x="387359" y="538688"/>
                      <a:pt x="385700" y="545165"/>
                      <a:pt x="387359" y="547863"/>
                    </a:cubicBezTo>
                    <a:cubicBezTo>
                      <a:pt x="388465" y="550022"/>
                      <a:pt x="397315" y="554880"/>
                      <a:pt x="397868" y="558118"/>
                    </a:cubicBezTo>
                    <a:cubicBezTo>
                      <a:pt x="397868" y="558658"/>
                      <a:pt x="396762" y="560817"/>
                      <a:pt x="395656" y="560817"/>
                    </a:cubicBezTo>
                    <a:cubicBezTo>
                      <a:pt x="395102" y="560817"/>
                      <a:pt x="393996" y="560277"/>
                      <a:pt x="393443" y="560277"/>
                    </a:cubicBezTo>
                    <a:cubicBezTo>
                      <a:pt x="389571" y="559737"/>
                      <a:pt x="379616" y="563515"/>
                      <a:pt x="376297" y="566214"/>
                    </a:cubicBezTo>
                    <a:cubicBezTo>
                      <a:pt x="372979" y="568373"/>
                      <a:pt x="375191" y="570532"/>
                      <a:pt x="374085" y="573770"/>
                    </a:cubicBezTo>
                    <a:cubicBezTo>
                      <a:pt x="373532" y="574310"/>
                      <a:pt x="370213" y="578627"/>
                      <a:pt x="369660" y="578627"/>
                    </a:cubicBezTo>
                    <a:cubicBezTo>
                      <a:pt x="366342" y="579707"/>
                      <a:pt x="361917" y="574310"/>
                      <a:pt x="361917" y="571611"/>
                    </a:cubicBezTo>
                    <a:cubicBezTo>
                      <a:pt x="361917" y="569992"/>
                      <a:pt x="364682" y="566214"/>
                      <a:pt x="363023" y="564595"/>
                    </a:cubicBezTo>
                    <a:cubicBezTo>
                      <a:pt x="361917" y="563515"/>
                      <a:pt x="333709" y="556499"/>
                      <a:pt x="330944" y="556499"/>
                    </a:cubicBezTo>
                    <a:cubicBezTo>
                      <a:pt x="329838" y="556499"/>
                      <a:pt x="325966" y="558118"/>
                      <a:pt x="325413" y="559197"/>
                    </a:cubicBezTo>
                    <a:cubicBezTo>
                      <a:pt x="324860" y="560277"/>
                      <a:pt x="324860" y="562975"/>
                      <a:pt x="324860" y="564055"/>
                    </a:cubicBezTo>
                    <a:cubicBezTo>
                      <a:pt x="326519" y="569452"/>
                      <a:pt x="333709" y="583485"/>
                      <a:pt x="336475" y="588882"/>
                    </a:cubicBezTo>
                    <a:cubicBezTo>
                      <a:pt x="339793" y="593740"/>
                      <a:pt x="344218" y="596978"/>
                      <a:pt x="347536" y="601296"/>
                    </a:cubicBezTo>
                    <a:cubicBezTo>
                      <a:pt x="348643" y="603455"/>
                      <a:pt x="349749" y="605614"/>
                      <a:pt x="351408" y="607773"/>
                    </a:cubicBezTo>
                    <a:cubicBezTo>
                      <a:pt x="351961" y="608852"/>
                      <a:pt x="353621" y="609931"/>
                      <a:pt x="354727" y="611011"/>
                    </a:cubicBezTo>
                    <a:cubicBezTo>
                      <a:pt x="358598" y="615329"/>
                      <a:pt x="363023" y="620186"/>
                      <a:pt x="365789" y="625583"/>
                    </a:cubicBezTo>
                    <a:cubicBezTo>
                      <a:pt x="367448" y="628822"/>
                      <a:pt x="366895" y="632600"/>
                      <a:pt x="368554" y="635838"/>
                    </a:cubicBezTo>
                    <a:cubicBezTo>
                      <a:pt x="369660" y="639076"/>
                      <a:pt x="372979" y="641775"/>
                      <a:pt x="374085" y="645013"/>
                    </a:cubicBezTo>
                    <a:cubicBezTo>
                      <a:pt x="375744" y="650950"/>
                      <a:pt x="374085" y="656887"/>
                      <a:pt x="375744" y="662824"/>
                    </a:cubicBezTo>
                    <a:cubicBezTo>
                      <a:pt x="377957" y="670920"/>
                      <a:pt x="389571" y="676857"/>
                      <a:pt x="389571" y="679016"/>
                    </a:cubicBezTo>
                    <a:cubicBezTo>
                      <a:pt x="390125" y="682254"/>
                      <a:pt x="379616" y="682794"/>
                      <a:pt x="377403" y="678476"/>
                    </a:cubicBezTo>
                    <a:cubicBezTo>
                      <a:pt x="376297" y="677397"/>
                      <a:pt x="376850" y="675238"/>
                      <a:pt x="376297" y="674698"/>
                    </a:cubicBezTo>
                    <a:cubicBezTo>
                      <a:pt x="375191" y="673619"/>
                      <a:pt x="369660" y="674158"/>
                      <a:pt x="367448" y="673079"/>
                    </a:cubicBezTo>
                    <a:cubicBezTo>
                      <a:pt x="364129" y="670380"/>
                      <a:pt x="361917" y="663364"/>
                      <a:pt x="358598" y="660665"/>
                    </a:cubicBezTo>
                    <a:cubicBezTo>
                      <a:pt x="356939" y="659586"/>
                      <a:pt x="355280" y="660126"/>
                      <a:pt x="354174" y="659046"/>
                    </a:cubicBezTo>
                    <a:cubicBezTo>
                      <a:pt x="350855" y="656887"/>
                      <a:pt x="350302" y="652570"/>
                      <a:pt x="346983" y="650411"/>
                    </a:cubicBezTo>
                    <a:cubicBezTo>
                      <a:pt x="345324" y="648791"/>
                      <a:pt x="338687" y="646093"/>
                      <a:pt x="336475" y="646093"/>
                    </a:cubicBezTo>
                    <a:cubicBezTo>
                      <a:pt x="334815" y="646093"/>
                      <a:pt x="330944" y="648791"/>
                      <a:pt x="329838" y="649871"/>
                    </a:cubicBezTo>
                    <a:cubicBezTo>
                      <a:pt x="325966" y="653649"/>
                      <a:pt x="323200" y="668761"/>
                      <a:pt x="322094" y="674698"/>
                    </a:cubicBezTo>
                    <a:cubicBezTo>
                      <a:pt x="320988" y="681175"/>
                      <a:pt x="321541" y="687652"/>
                      <a:pt x="320435" y="694128"/>
                    </a:cubicBezTo>
                    <a:lnTo>
                      <a:pt x="318776" y="694128"/>
                    </a:lnTo>
                    <a:cubicBezTo>
                      <a:pt x="318223" y="694128"/>
                      <a:pt x="317116" y="692509"/>
                      <a:pt x="316563" y="691969"/>
                    </a:cubicBezTo>
                    <a:cubicBezTo>
                      <a:pt x="314904" y="690350"/>
                      <a:pt x="309373" y="690350"/>
                      <a:pt x="309373" y="687652"/>
                    </a:cubicBezTo>
                    <a:cubicBezTo>
                      <a:pt x="308820" y="685493"/>
                      <a:pt x="312139" y="679016"/>
                      <a:pt x="311586" y="675778"/>
                    </a:cubicBezTo>
                    <a:cubicBezTo>
                      <a:pt x="311032" y="672539"/>
                      <a:pt x="306608" y="659586"/>
                      <a:pt x="304395" y="656348"/>
                    </a:cubicBezTo>
                    <a:cubicBezTo>
                      <a:pt x="298864" y="646633"/>
                      <a:pt x="283931" y="649331"/>
                      <a:pt x="281719" y="643394"/>
                    </a:cubicBezTo>
                    <a:cubicBezTo>
                      <a:pt x="280612" y="641235"/>
                      <a:pt x="281719" y="635838"/>
                      <a:pt x="280059" y="634219"/>
                    </a:cubicBezTo>
                    <a:cubicBezTo>
                      <a:pt x="276188" y="630441"/>
                      <a:pt x="263467" y="635298"/>
                      <a:pt x="261807" y="639616"/>
                    </a:cubicBezTo>
                    <a:cubicBezTo>
                      <a:pt x="261807" y="640696"/>
                      <a:pt x="261254" y="653109"/>
                      <a:pt x="261807" y="654728"/>
                    </a:cubicBezTo>
                    <a:cubicBezTo>
                      <a:pt x="261807" y="656887"/>
                      <a:pt x="263467" y="659586"/>
                      <a:pt x="263467" y="661745"/>
                    </a:cubicBezTo>
                    <a:cubicBezTo>
                      <a:pt x="263467" y="662824"/>
                      <a:pt x="262360" y="664983"/>
                      <a:pt x="261254" y="664983"/>
                    </a:cubicBezTo>
                    <a:cubicBezTo>
                      <a:pt x="257936" y="665523"/>
                      <a:pt x="256276" y="662285"/>
                      <a:pt x="254064" y="661745"/>
                    </a:cubicBezTo>
                    <a:cubicBezTo>
                      <a:pt x="251298" y="660126"/>
                      <a:pt x="244661" y="660665"/>
                      <a:pt x="243002" y="658506"/>
                    </a:cubicBezTo>
                    <a:cubicBezTo>
                      <a:pt x="240790" y="655808"/>
                      <a:pt x="244108" y="647712"/>
                      <a:pt x="240237" y="643934"/>
                    </a:cubicBezTo>
                    <a:cubicBezTo>
                      <a:pt x="236918" y="640696"/>
                      <a:pt x="231940" y="639616"/>
                      <a:pt x="229175" y="635838"/>
                    </a:cubicBezTo>
                    <a:cubicBezTo>
                      <a:pt x="227516" y="634219"/>
                      <a:pt x="224197" y="627203"/>
                      <a:pt x="224197" y="625583"/>
                    </a:cubicBezTo>
                    <a:cubicBezTo>
                      <a:pt x="223091" y="620186"/>
                      <a:pt x="226962" y="616948"/>
                      <a:pt x="228622" y="612090"/>
                    </a:cubicBezTo>
                    <a:cubicBezTo>
                      <a:pt x="230281" y="607773"/>
                      <a:pt x="231387" y="601836"/>
                      <a:pt x="228069" y="598057"/>
                    </a:cubicBezTo>
                    <a:cubicBezTo>
                      <a:pt x="224197" y="589962"/>
                      <a:pt x="215901" y="576469"/>
                      <a:pt x="208157" y="572151"/>
                    </a:cubicBezTo>
                    <a:cubicBezTo>
                      <a:pt x="203179" y="569452"/>
                      <a:pt x="197095" y="569452"/>
                      <a:pt x="192118" y="566754"/>
                    </a:cubicBezTo>
                    <a:cubicBezTo>
                      <a:pt x="189352" y="565134"/>
                      <a:pt x="187693" y="560817"/>
                      <a:pt x="184374" y="559197"/>
                    </a:cubicBezTo>
                    <a:cubicBezTo>
                      <a:pt x="181609" y="557039"/>
                      <a:pt x="173866" y="556499"/>
                      <a:pt x="170547" y="552721"/>
                    </a:cubicBezTo>
                    <a:cubicBezTo>
                      <a:pt x="169441" y="551641"/>
                      <a:pt x="168888" y="548403"/>
                      <a:pt x="168888" y="546784"/>
                    </a:cubicBezTo>
                    <a:cubicBezTo>
                      <a:pt x="168888" y="539228"/>
                      <a:pt x="177737" y="538148"/>
                      <a:pt x="181609" y="532751"/>
                    </a:cubicBezTo>
                    <a:cubicBezTo>
                      <a:pt x="184927" y="527354"/>
                      <a:pt x="183268" y="513321"/>
                      <a:pt x="185481" y="510622"/>
                    </a:cubicBezTo>
                    <a:cubicBezTo>
                      <a:pt x="190458" y="504685"/>
                      <a:pt x="196542" y="512241"/>
                      <a:pt x="206498" y="506305"/>
                    </a:cubicBezTo>
                    <a:cubicBezTo>
                      <a:pt x="218666" y="499828"/>
                      <a:pt x="214241" y="494970"/>
                      <a:pt x="220325" y="489033"/>
                    </a:cubicBezTo>
                    <a:cubicBezTo>
                      <a:pt x="224750" y="485255"/>
                      <a:pt x="236365" y="480398"/>
                      <a:pt x="242449" y="482557"/>
                    </a:cubicBezTo>
                    <a:cubicBezTo>
                      <a:pt x="244661" y="483636"/>
                      <a:pt x="246874" y="487414"/>
                      <a:pt x="249086" y="488494"/>
                    </a:cubicBezTo>
                    <a:cubicBezTo>
                      <a:pt x="251298" y="490113"/>
                      <a:pt x="257382" y="492272"/>
                      <a:pt x="259595" y="492811"/>
                    </a:cubicBezTo>
                    <a:cubicBezTo>
                      <a:pt x="266785" y="494431"/>
                      <a:pt x="274528" y="494970"/>
                      <a:pt x="281719" y="496050"/>
                    </a:cubicBezTo>
                    <a:cubicBezTo>
                      <a:pt x="291674" y="496589"/>
                      <a:pt x="302183" y="499828"/>
                      <a:pt x="311032" y="504146"/>
                    </a:cubicBezTo>
                    <a:cubicBezTo>
                      <a:pt x="313798" y="505765"/>
                      <a:pt x="316010" y="508463"/>
                      <a:pt x="318776" y="510083"/>
                    </a:cubicBezTo>
                    <a:cubicBezTo>
                      <a:pt x="322647" y="511702"/>
                      <a:pt x="329284" y="512781"/>
                      <a:pt x="332603" y="510083"/>
                    </a:cubicBezTo>
                    <a:cubicBezTo>
                      <a:pt x="334262" y="509003"/>
                      <a:pt x="337028" y="505765"/>
                      <a:pt x="337028" y="503606"/>
                    </a:cubicBezTo>
                    <a:cubicBezTo>
                      <a:pt x="335368" y="502526"/>
                      <a:pt x="328178" y="500907"/>
                      <a:pt x="327625" y="499828"/>
                    </a:cubicBezTo>
                    <a:cubicBezTo>
                      <a:pt x="325966" y="497669"/>
                      <a:pt x="334815" y="492811"/>
                      <a:pt x="336475" y="492272"/>
                    </a:cubicBezTo>
                    <a:cubicBezTo>
                      <a:pt x="339793" y="491192"/>
                      <a:pt x="349196" y="490653"/>
                      <a:pt x="349196" y="490653"/>
                    </a:cubicBezTo>
                    <a:cubicBezTo>
                      <a:pt x="352514" y="490113"/>
                      <a:pt x="353067" y="484716"/>
                      <a:pt x="353621" y="482017"/>
                    </a:cubicBezTo>
                    <a:lnTo>
                      <a:pt x="353067" y="480398"/>
                    </a:lnTo>
                    <a:cubicBezTo>
                      <a:pt x="349196" y="478779"/>
                      <a:pt x="340346" y="475540"/>
                      <a:pt x="336475" y="475001"/>
                    </a:cubicBezTo>
                    <a:cubicBezTo>
                      <a:pt x="332050" y="474461"/>
                      <a:pt x="319329" y="477159"/>
                      <a:pt x="316563" y="476080"/>
                    </a:cubicBezTo>
                    <a:cubicBezTo>
                      <a:pt x="315457" y="476080"/>
                      <a:pt x="314904" y="472842"/>
                      <a:pt x="313798" y="472302"/>
                    </a:cubicBezTo>
                    <a:cubicBezTo>
                      <a:pt x="312692" y="471222"/>
                      <a:pt x="308820" y="471222"/>
                      <a:pt x="307714" y="470143"/>
                    </a:cubicBezTo>
                    <a:cubicBezTo>
                      <a:pt x="306055" y="469064"/>
                      <a:pt x="305502" y="464206"/>
                      <a:pt x="304395" y="462587"/>
                    </a:cubicBezTo>
                    <a:lnTo>
                      <a:pt x="302736" y="462047"/>
                    </a:lnTo>
                    <a:cubicBezTo>
                      <a:pt x="299417" y="464746"/>
                      <a:pt x="293333" y="473381"/>
                      <a:pt x="288909" y="470683"/>
                    </a:cubicBezTo>
                    <a:cubicBezTo>
                      <a:pt x="285590" y="468524"/>
                      <a:pt x="286696" y="466365"/>
                      <a:pt x="282272" y="464746"/>
                    </a:cubicBezTo>
                    <a:cubicBezTo>
                      <a:pt x="281165" y="464206"/>
                      <a:pt x="278400" y="458809"/>
                      <a:pt x="276188" y="462047"/>
                    </a:cubicBezTo>
                    <a:cubicBezTo>
                      <a:pt x="275081" y="463127"/>
                      <a:pt x="275635" y="470683"/>
                      <a:pt x="273975" y="471762"/>
                    </a:cubicBezTo>
                    <a:cubicBezTo>
                      <a:pt x="272316" y="473381"/>
                      <a:pt x="266232" y="471762"/>
                      <a:pt x="264020" y="472302"/>
                    </a:cubicBezTo>
                    <a:cubicBezTo>
                      <a:pt x="262360" y="472302"/>
                      <a:pt x="258489" y="476080"/>
                      <a:pt x="256829" y="476080"/>
                    </a:cubicBezTo>
                    <a:cubicBezTo>
                      <a:pt x="255723" y="476080"/>
                      <a:pt x="244108" y="467444"/>
                      <a:pt x="233046" y="471762"/>
                    </a:cubicBezTo>
                    <a:cubicBezTo>
                      <a:pt x="229728" y="473381"/>
                      <a:pt x="226409" y="474461"/>
                      <a:pt x="223091" y="476080"/>
                    </a:cubicBezTo>
                    <a:cubicBezTo>
                      <a:pt x="220878" y="477699"/>
                      <a:pt x="218666" y="480398"/>
                      <a:pt x="215901" y="481477"/>
                    </a:cubicBezTo>
                    <a:cubicBezTo>
                      <a:pt x="210923" y="483096"/>
                      <a:pt x="205392" y="482557"/>
                      <a:pt x="200967" y="484176"/>
                    </a:cubicBezTo>
                    <a:cubicBezTo>
                      <a:pt x="199308" y="484716"/>
                      <a:pt x="198202" y="487414"/>
                      <a:pt x="197095" y="487954"/>
                    </a:cubicBezTo>
                    <a:cubicBezTo>
                      <a:pt x="193777" y="489033"/>
                      <a:pt x="189905" y="483636"/>
                      <a:pt x="187140" y="483096"/>
                    </a:cubicBezTo>
                    <a:cubicBezTo>
                      <a:pt x="184927" y="482017"/>
                      <a:pt x="176078" y="481477"/>
                      <a:pt x="173866" y="482017"/>
                    </a:cubicBezTo>
                    <a:cubicBezTo>
                      <a:pt x="166122" y="484176"/>
                      <a:pt x="166675" y="498209"/>
                      <a:pt x="160591" y="494970"/>
                    </a:cubicBezTo>
                    <a:cubicBezTo>
                      <a:pt x="156720" y="492811"/>
                      <a:pt x="156167" y="485255"/>
                      <a:pt x="155060" y="482017"/>
                    </a:cubicBezTo>
                    <a:cubicBezTo>
                      <a:pt x="151742" y="470143"/>
                      <a:pt x="148423" y="473381"/>
                      <a:pt x="142892" y="465286"/>
                    </a:cubicBezTo>
                    <a:cubicBezTo>
                      <a:pt x="137362" y="457729"/>
                      <a:pt x="139021" y="451253"/>
                      <a:pt x="128512" y="445316"/>
                    </a:cubicBezTo>
                    <a:cubicBezTo>
                      <a:pt x="125747" y="444236"/>
                      <a:pt x="121322" y="444236"/>
                      <a:pt x="118556" y="443157"/>
                    </a:cubicBezTo>
                    <a:cubicBezTo>
                      <a:pt x="116897" y="441538"/>
                      <a:pt x="116897" y="436680"/>
                      <a:pt x="118003" y="434521"/>
                    </a:cubicBezTo>
                    <a:cubicBezTo>
                      <a:pt x="121875" y="425346"/>
                      <a:pt x="142892" y="430743"/>
                      <a:pt x="150083" y="430743"/>
                    </a:cubicBezTo>
                    <a:cubicBezTo>
                      <a:pt x="150636" y="430743"/>
                      <a:pt x="152848" y="430743"/>
                      <a:pt x="152848" y="430204"/>
                    </a:cubicBezTo>
                    <a:cubicBezTo>
                      <a:pt x="153401" y="429664"/>
                      <a:pt x="153954" y="426965"/>
                      <a:pt x="153401" y="426425"/>
                    </a:cubicBezTo>
                    <a:cubicBezTo>
                      <a:pt x="153401" y="425886"/>
                      <a:pt x="152848" y="425346"/>
                      <a:pt x="152295" y="424267"/>
                    </a:cubicBezTo>
                    <a:cubicBezTo>
                      <a:pt x="150636" y="421568"/>
                      <a:pt x="151742" y="412393"/>
                      <a:pt x="147870" y="410773"/>
                    </a:cubicBezTo>
                    <a:cubicBezTo>
                      <a:pt x="142339" y="407535"/>
                      <a:pt x="136808" y="412932"/>
                      <a:pt x="131278" y="410773"/>
                    </a:cubicBezTo>
                    <a:close/>
                    <a:moveTo>
                      <a:pt x="782820" y="717336"/>
                    </a:moveTo>
                    <a:cubicBezTo>
                      <a:pt x="783373" y="714098"/>
                      <a:pt x="782267" y="708161"/>
                      <a:pt x="781714" y="706542"/>
                    </a:cubicBezTo>
                    <a:cubicBezTo>
                      <a:pt x="780608" y="704383"/>
                      <a:pt x="777842" y="702764"/>
                      <a:pt x="776736" y="700605"/>
                    </a:cubicBezTo>
                    <a:cubicBezTo>
                      <a:pt x="775077" y="697367"/>
                      <a:pt x="778395" y="694128"/>
                      <a:pt x="778948" y="691430"/>
                    </a:cubicBezTo>
                    <a:cubicBezTo>
                      <a:pt x="780054" y="687112"/>
                      <a:pt x="777842" y="674698"/>
                      <a:pt x="781161" y="672000"/>
                    </a:cubicBezTo>
                    <a:cubicBezTo>
                      <a:pt x="781714" y="671460"/>
                      <a:pt x="785032" y="669841"/>
                      <a:pt x="785585" y="670380"/>
                    </a:cubicBezTo>
                    <a:cubicBezTo>
                      <a:pt x="786138" y="670380"/>
                      <a:pt x="786692" y="673079"/>
                      <a:pt x="786692" y="673619"/>
                    </a:cubicBezTo>
                    <a:cubicBezTo>
                      <a:pt x="785585" y="677937"/>
                      <a:pt x="786692" y="681715"/>
                      <a:pt x="786138" y="685493"/>
                    </a:cubicBezTo>
                    <a:cubicBezTo>
                      <a:pt x="786138" y="688731"/>
                      <a:pt x="785032" y="691969"/>
                      <a:pt x="785032" y="695747"/>
                    </a:cubicBezTo>
                    <a:cubicBezTo>
                      <a:pt x="785585" y="702224"/>
                      <a:pt x="790563" y="702224"/>
                      <a:pt x="793329" y="707621"/>
                    </a:cubicBezTo>
                    <a:cubicBezTo>
                      <a:pt x="797200" y="715177"/>
                      <a:pt x="782820" y="722194"/>
                      <a:pt x="782820" y="717336"/>
                    </a:cubicBezTo>
                    <a:close/>
                    <a:moveTo>
                      <a:pt x="386806" y="435601"/>
                    </a:moveTo>
                    <a:cubicBezTo>
                      <a:pt x="386253" y="432362"/>
                      <a:pt x="388465" y="426965"/>
                      <a:pt x="385147" y="424806"/>
                    </a:cubicBezTo>
                    <a:cubicBezTo>
                      <a:pt x="380722" y="422108"/>
                      <a:pt x="373532" y="422647"/>
                      <a:pt x="369107" y="419949"/>
                    </a:cubicBezTo>
                    <a:cubicBezTo>
                      <a:pt x="366895" y="419409"/>
                      <a:pt x="365789" y="417250"/>
                      <a:pt x="364129" y="415631"/>
                    </a:cubicBezTo>
                    <a:cubicBezTo>
                      <a:pt x="361917" y="414552"/>
                      <a:pt x="359151" y="414012"/>
                      <a:pt x="356939" y="412393"/>
                    </a:cubicBezTo>
                    <a:cubicBezTo>
                      <a:pt x="347536" y="406995"/>
                      <a:pt x="349749" y="404297"/>
                      <a:pt x="337581" y="401058"/>
                    </a:cubicBezTo>
                    <a:cubicBezTo>
                      <a:pt x="335922" y="400519"/>
                      <a:pt x="333709" y="399979"/>
                      <a:pt x="332050" y="399979"/>
                    </a:cubicBezTo>
                    <a:cubicBezTo>
                      <a:pt x="324860" y="399979"/>
                      <a:pt x="317670" y="405376"/>
                      <a:pt x="313245" y="405916"/>
                    </a:cubicBezTo>
                    <a:cubicBezTo>
                      <a:pt x="312139" y="405916"/>
                      <a:pt x="309373" y="405376"/>
                      <a:pt x="308820" y="404297"/>
                    </a:cubicBezTo>
                    <a:cubicBezTo>
                      <a:pt x="308267" y="403217"/>
                      <a:pt x="310479" y="399439"/>
                      <a:pt x="311586" y="398360"/>
                    </a:cubicBezTo>
                    <a:cubicBezTo>
                      <a:pt x="313798" y="396201"/>
                      <a:pt x="318223" y="395661"/>
                      <a:pt x="320988" y="393502"/>
                    </a:cubicBezTo>
                    <a:cubicBezTo>
                      <a:pt x="326519" y="389185"/>
                      <a:pt x="332603" y="375691"/>
                      <a:pt x="340899" y="375152"/>
                    </a:cubicBezTo>
                    <a:cubicBezTo>
                      <a:pt x="343665" y="375152"/>
                      <a:pt x="353067" y="377850"/>
                      <a:pt x="355833" y="378930"/>
                    </a:cubicBezTo>
                    <a:cubicBezTo>
                      <a:pt x="363576" y="383248"/>
                      <a:pt x="365235" y="397280"/>
                      <a:pt x="373532" y="400519"/>
                    </a:cubicBezTo>
                    <a:cubicBezTo>
                      <a:pt x="378510" y="402678"/>
                      <a:pt x="385700" y="402138"/>
                      <a:pt x="391231" y="403217"/>
                    </a:cubicBezTo>
                    <a:cubicBezTo>
                      <a:pt x="397868" y="404297"/>
                      <a:pt x="404505" y="407535"/>
                      <a:pt x="411142" y="407535"/>
                    </a:cubicBezTo>
                    <a:cubicBezTo>
                      <a:pt x="413354" y="407535"/>
                      <a:pt x="417226" y="404297"/>
                      <a:pt x="419992" y="403757"/>
                    </a:cubicBezTo>
                    <a:cubicBezTo>
                      <a:pt x="421651" y="403217"/>
                      <a:pt x="428841" y="403757"/>
                      <a:pt x="429947" y="404837"/>
                    </a:cubicBezTo>
                    <a:cubicBezTo>
                      <a:pt x="431606" y="405916"/>
                      <a:pt x="431053" y="410773"/>
                      <a:pt x="432160" y="412393"/>
                    </a:cubicBezTo>
                    <a:cubicBezTo>
                      <a:pt x="434372" y="415091"/>
                      <a:pt x="437690" y="416710"/>
                      <a:pt x="439903" y="419409"/>
                    </a:cubicBezTo>
                    <a:cubicBezTo>
                      <a:pt x="442668" y="422647"/>
                      <a:pt x="442115" y="435061"/>
                      <a:pt x="443221" y="439919"/>
                    </a:cubicBezTo>
                    <a:cubicBezTo>
                      <a:pt x="443775" y="441538"/>
                      <a:pt x="446540" y="444236"/>
                      <a:pt x="447646" y="445855"/>
                    </a:cubicBezTo>
                    <a:cubicBezTo>
                      <a:pt x="448752" y="448014"/>
                      <a:pt x="451518" y="453951"/>
                      <a:pt x="453177" y="455031"/>
                    </a:cubicBezTo>
                    <a:cubicBezTo>
                      <a:pt x="454836" y="456110"/>
                      <a:pt x="461473" y="457729"/>
                      <a:pt x="463686" y="457729"/>
                    </a:cubicBezTo>
                    <a:cubicBezTo>
                      <a:pt x="467557" y="457190"/>
                      <a:pt x="475854" y="449094"/>
                      <a:pt x="478619" y="455571"/>
                    </a:cubicBezTo>
                    <a:cubicBezTo>
                      <a:pt x="480279" y="458809"/>
                      <a:pt x="484703" y="470143"/>
                      <a:pt x="484150" y="473381"/>
                    </a:cubicBezTo>
                    <a:cubicBezTo>
                      <a:pt x="480832" y="473921"/>
                      <a:pt x="474195" y="472302"/>
                      <a:pt x="472535" y="472302"/>
                    </a:cubicBezTo>
                    <a:cubicBezTo>
                      <a:pt x="470876" y="472842"/>
                      <a:pt x="469217" y="474461"/>
                      <a:pt x="468111" y="474461"/>
                    </a:cubicBezTo>
                    <a:cubicBezTo>
                      <a:pt x="466451" y="475001"/>
                      <a:pt x="460920" y="472302"/>
                      <a:pt x="459814" y="471762"/>
                    </a:cubicBezTo>
                    <a:cubicBezTo>
                      <a:pt x="457602" y="470143"/>
                      <a:pt x="456496" y="467444"/>
                      <a:pt x="454283" y="465825"/>
                    </a:cubicBezTo>
                    <a:cubicBezTo>
                      <a:pt x="448752" y="460968"/>
                      <a:pt x="442115" y="457190"/>
                      <a:pt x="436584" y="452332"/>
                    </a:cubicBezTo>
                    <a:cubicBezTo>
                      <a:pt x="432713" y="449094"/>
                      <a:pt x="428288" y="439379"/>
                      <a:pt x="426076" y="437760"/>
                    </a:cubicBezTo>
                    <a:cubicBezTo>
                      <a:pt x="423863" y="436680"/>
                      <a:pt x="416120" y="436140"/>
                      <a:pt x="413354" y="436140"/>
                    </a:cubicBezTo>
                    <a:cubicBezTo>
                      <a:pt x="408377" y="436680"/>
                      <a:pt x="403399" y="438839"/>
                      <a:pt x="398421" y="438299"/>
                    </a:cubicBezTo>
                    <a:cubicBezTo>
                      <a:pt x="394549" y="438299"/>
                      <a:pt x="390678" y="435601"/>
                      <a:pt x="386806" y="435601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0" name="Freeform 1082">
                <a:extLst>
                  <a:ext uri="{FF2B5EF4-FFF2-40B4-BE49-F238E27FC236}">
                    <a16:creationId xmlns:a16="http://schemas.microsoft.com/office/drawing/2014/main" id="{3E92D56B-BAB5-481C-B5C0-C154DBB6ECDB}"/>
                  </a:ext>
                </a:extLst>
              </p:cNvPr>
              <p:cNvSpPr/>
              <p:nvPr/>
            </p:nvSpPr>
            <p:spPr>
              <a:xfrm>
                <a:off x="8909032" y="3969728"/>
                <a:ext cx="624993" cy="289831"/>
              </a:xfrm>
              <a:custGeom>
                <a:avLst/>
                <a:gdLst>
                  <a:gd name="connsiteX0" fmla="*/ 205268 w 624993"/>
                  <a:gd name="connsiteY0" fmla="*/ 289464 h 289831"/>
                  <a:gd name="connsiteX1" fmla="*/ 234028 w 624993"/>
                  <a:gd name="connsiteY1" fmla="*/ 285146 h 289831"/>
                  <a:gd name="connsiteX2" fmla="*/ 241772 w 624993"/>
                  <a:gd name="connsiteY2" fmla="*/ 268415 h 289831"/>
                  <a:gd name="connsiteX3" fmla="*/ 282147 w 624993"/>
                  <a:gd name="connsiteY3" fmla="*/ 255462 h 289831"/>
                  <a:gd name="connsiteX4" fmla="*/ 292103 w 624993"/>
                  <a:gd name="connsiteY4" fmla="*/ 232253 h 289831"/>
                  <a:gd name="connsiteX5" fmla="*/ 303165 w 624993"/>
                  <a:gd name="connsiteY5" fmla="*/ 228475 h 289831"/>
                  <a:gd name="connsiteX6" fmla="*/ 345200 w 624993"/>
                  <a:gd name="connsiteY6" fmla="*/ 242508 h 289831"/>
                  <a:gd name="connsiteX7" fmla="*/ 345753 w 624993"/>
                  <a:gd name="connsiteY7" fmla="*/ 247366 h 289831"/>
                  <a:gd name="connsiteX8" fmla="*/ 359580 w 624993"/>
                  <a:gd name="connsiteY8" fmla="*/ 251144 h 289831"/>
                  <a:gd name="connsiteX9" fmla="*/ 366217 w 624993"/>
                  <a:gd name="connsiteY9" fmla="*/ 245207 h 289831"/>
                  <a:gd name="connsiteX10" fmla="*/ 374514 w 624993"/>
                  <a:gd name="connsiteY10" fmla="*/ 246286 h 289831"/>
                  <a:gd name="connsiteX11" fmla="*/ 378385 w 624993"/>
                  <a:gd name="connsiteY11" fmla="*/ 240889 h 289831"/>
                  <a:gd name="connsiteX12" fmla="*/ 437013 w 624993"/>
                  <a:gd name="connsiteY12" fmla="*/ 207966 h 289831"/>
                  <a:gd name="connsiteX13" fmla="*/ 451947 w 624993"/>
                  <a:gd name="connsiteY13" fmla="*/ 187456 h 289831"/>
                  <a:gd name="connsiteX14" fmla="*/ 475176 w 624993"/>
                  <a:gd name="connsiteY14" fmla="*/ 175043 h 289831"/>
                  <a:gd name="connsiteX15" fmla="*/ 482920 w 624993"/>
                  <a:gd name="connsiteY15" fmla="*/ 161550 h 289831"/>
                  <a:gd name="connsiteX16" fmla="*/ 499513 w 624993"/>
                  <a:gd name="connsiteY16" fmla="*/ 131325 h 289831"/>
                  <a:gd name="connsiteX17" fmla="*/ 505597 w 624993"/>
                  <a:gd name="connsiteY17" fmla="*/ 127007 h 289831"/>
                  <a:gd name="connsiteX18" fmla="*/ 523849 w 624993"/>
                  <a:gd name="connsiteY18" fmla="*/ 123229 h 289831"/>
                  <a:gd name="connsiteX19" fmla="*/ 573627 w 624993"/>
                  <a:gd name="connsiteY19" fmla="*/ 122690 h 289831"/>
                  <a:gd name="connsiteX20" fmla="*/ 616215 w 624993"/>
                  <a:gd name="connsiteY20" fmla="*/ 95164 h 289831"/>
                  <a:gd name="connsiteX21" fmla="*/ 623958 w 624993"/>
                  <a:gd name="connsiteY21" fmla="*/ 85988 h 289831"/>
                  <a:gd name="connsiteX22" fmla="*/ 580817 w 624993"/>
                  <a:gd name="connsiteY22" fmla="*/ 72495 h 289831"/>
                  <a:gd name="connsiteX23" fmla="*/ 545972 w 624993"/>
                  <a:gd name="connsiteY23" fmla="*/ 67098 h 289831"/>
                  <a:gd name="connsiteX24" fmla="*/ 550950 w 624993"/>
                  <a:gd name="connsiteY24" fmla="*/ 41731 h 289831"/>
                  <a:gd name="connsiteX25" fmla="*/ 476283 w 624993"/>
                  <a:gd name="connsiteY25" fmla="*/ 19602 h 289831"/>
                  <a:gd name="connsiteX26" fmla="*/ 481260 w 624993"/>
                  <a:gd name="connsiteY26" fmla="*/ 12586 h 289831"/>
                  <a:gd name="connsiteX27" fmla="*/ 474623 w 624993"/>
                  <a:gd name="connsiteY27" fmla="*/ 5570 h 289831"/>
                  <a:gd name="connsiteX28" fmla="*/ 461349 w 624993"/>
                  <a:gd name="connsiteY28" fmla="*/ -367 h 289831"/>
                  <a:gd name="connsiteX29" fmla="*/ 453053 w 624993"/>
                  <a:gd name="connsiteY29" fmla="*/ 13126 h 289831"/>
                  <a:gd name="connsiteX30" fmla="*/ 434248 w 624993"/>
                  <a:gd name="connsiteY30" fmla="*/ 15824 h 289831"/>
                  <a:gd name="connsiteX31" fmla="*/ 428164 w 624993"/>
                  <a:gd name="connsiteY31" fmla="*/ 7729 h 289831"/>
                  <a:gd name="connsiteX32" fmla="*/ 420420 w 624993"/>
                  <a:gd name="connsiteY32" fmla="*/ 5570 h 289831"/>
                  <a:gd name="connsiteX33" fmla="*/ 404934 w 624993"/>
                  <a:gd name="connsiteY33" fmla="*/ 18523 h 289831"/>
                  <a:gd name="connsiteX34" fmla="*/ 385022 w 624993"/>
                  <a:gd name="connsiteY34" fmla="*/ 22301 h 289831"/>
                  <a:gd name="connsiteX35" fmla="*/ 365664 w 624993"/>
                  <a:gd name="connsiteY35" fmla="*/ 37413 h 289831"/>
                  <a:gd name="connsiteX36" fmla="*/ 351284 w 624993"/>
                  <a:gd name="connsiteY36" fmla="*/ 62780 h 289831"/>
                  <a:gd name="connsiteX37" fmla="*/ 320311 w 624993"/>
                  <a:gd name="connsiteY37" fmla="*/ 70336 h 289831"/>
                  <a:gd name="connsiteX38" fmla="*/ 315333 w 624993"/>
                  <a:gd name="connsiteY38" fmla="*/ 53065 h 289831"/>
                  <a:gd name="connsiteX39" fmla="*/ 250068 w 624993"/>
                  <a:gd name="connsiteY39" fmla="*/ 54684 h 289831"/>
                  <a:gd name="connsiteX40" fmla="*/ 245643 w 624993"/>
                  <a:gd name="connsiteY40" fmla="*/ 49287 h 289831"/>
                  <a:gd name="connsiteX41" fmla="*/ 224073 w 624993"/>
                  <a:gd name="connsiteY41" fmla="*/ 49827 h 289831"/>
                  <a:gd name="connsiteX42" fmla="*/ 206374 w 624993"/>
                  <a:gd name="connsiteY42" fmla="*/ 59002 h 289831"/>
                  <a:gd name="connsiteX43" fmla="*/ 71419 w 624993"/>
                  <a:gd name="connsiteY43" fmla="*/ 94624 h 289831"/>
                  <a:gd name="connsiteX44" fmla="*/ 11132 w 624993"/>
                  <a:gd name="connsiteY44" fmla="*/ 104339 h 289831"/>
                  <a:gd name="connsiteX45" fmla="*/ -1036 w 624993"/>
                  <a:gd name="connsiteY45" fmla="*/ 118372 h 289831"/>
                  <a:gd name="connsiteX46" fmla="*/ 7814 w 624993"/>
                  <a:gd name="connsiteY46" fmla="*/ 136183 h 289831"/>
                  <a:gd name="connsiteX47" fmla="*/ 23853 w 624993"/>
                  <a:gd name="connsiteY47" fmla="*/ 140500 h 289831"/>
                  <a:gd name="connsiteX48" fmla="*/ 37128 w 624993"/>
                  <a:gd name="connsiteY48" fmla="*/ 150215 h 289831"/>
                  <a:gd name="connsiteX49" fmla="*/ 45977 w 624993"/>
                  <a:gd name="connsiteY49" fmla="*/ 145358 h 289831"/>
                  <a:gd name="connsiteX50" fmla="*/ 60911 w 624993"/>
                  <a:gd name="connsiteY50" fmla="*/ 144818 h 289831"/>
                  <a:gd name="connsiteX51" fmla="*/ 85800 w 624993"/>
                  <a:gd name="connsiteY51" fmla="*/ 141580 h 289831"/>
                  <a:gd name="connsiteX52" fmla="*/ 89118 w 624993"/>
                  <a:gd name="connsiteY52" fmla="*/ 144279 h 289831"/>
                  <a:gd name="connsiteX53" fmla="*/ 100733 w 624993"/>
                  <a:gd name="connsiteY53" fmla="*/ 145358 h 289831"/>
                  <a:gd name="connsiteX54" fmla="*/ 118432 w 624993"/>
                  <a:gd name="connsiteY54" fmla="*/ 157772 h 289831"/>
                  <a:gd name="connsiteX55" fmla="*/ 143874 w 624993"/>
                  <a:gd name="connsiteY55" fmla="*/ 152914 h 289831"/>
                  <a:gd name="connsiteX56" fmla="*/ 148852 w 624993"/>
                  <a:gd name="connsiteY56" fmla="*/ 157232 h 289831"/>
                  <a:gd name="connsiteX57" fmla="*/ 160467 w 624993"/>
                  <a:gd name="connsiteY57" fmla="*/ 173424 h 289831"/>
                  <a:gd name="connsiteX58" fmla="*/ 169317 w 624993"/>
                  <a:gd name="connsiteY58" fmla="*/ 185297 h 289831"/>
                  <a:gd name="connsiteX59" fmla="*/ 182038 w 624993"/>
                  <a:gd name="connsiteY59" fmla="*/ 209045 h 289831"/>
                  <a:gd name="connsiteX60" fmla="*/ 190887 w 624993"/>
                  <a:gd name="connsiteY60" fmla="*/ 219300 h 289831"/>
                  <a:gd name="connsiteX61" fmla="*/ 195312 w 624993"/>
                  <a:gd name="connsiteY61" fmla="*/ 222538 h 289831"/>
                  <a:gd name="connsiteX62" fmla="*/ 207480 w 624993"/>
                  <a:gd name="connsiteY62" fmla="*/ 239270 h 289831"/>
                  <a:gd name="connsiteX63" fmla="*/ 213011 w 624993"/>
                  <a:gd name="connsiteY63" fmla="*/ 257620 h 289831"/>
                  <a:gd name="connsiteX64" fmla="*/ 205268 w 624993"/>
                  <a:gd name="connsiteY64" fmla="*/ 289464 h 289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624993" h="289831">
                    <a:moveTo>
                      <a:pt x="205268" y="289464"/>
                    </a:moveTo>
                    <a:lnTo>
                      <a:pt x="234028" y="285146"/>
                    </a:lnTo>
                    <a:lnTo>
                      <a:pt x="241772" y="268415"/>
                    </a:lnTo>
                    <a:lnTo>
                      <a:pt x="282147" y="255462"/>
                    </a:lnTo>
                    <a:lnTo>
                      <a:pt x="292103" y="232253"/>
                    </a:lnTo>
                    <a:lnTo>
                      <a:pt x="303165" y="228475"/>
                    </a:lnTo>
                    <a:lnTo>
                      <a:pt x="345200" y="242508"/>
                    </a:lnTo>
                    <a:lnTo>
                      <a:pt x="345753" y="247366"/>
                    </a:lnTo>
                    <a:lnTo>
                      <a:pt x="359580" y="251144"/>
                    </a:lnTo>
                    <a:lnTo>
                      <a:pt x="366217" y="245207"/>
                    </a:lnTo>
                    <a:lnTo>
                      <a:pt x="374514" y="246286"/>
                    </a:lnTo>
                    <a:lnTo>
                      <a:pt x="378385" y="240889"/>
                    </a:lnTo>
                    <a:lnTo>
                      <a:pt x="437013" y="207966"/>
                    </a:lnTo>
                    <a:lnTo>
                      <a:pt x="451947" y="187456"/>
                    </a:lnTo>
                    <a:lnTo>
                      <a:pt x="475176" y="175043"/>
                    </a:lnTo>
                    <a:lnTo>
                      <a:pt x="482920" y="161550"/>
                    </a:lnTo>
                    <a:lnTo>
                      <a:pt x="499513" y="131325"/>
                    </a:lnTo>
                    <a:lnTo>
                      <a:pt x="505597" y="127007"/>
                    </a:lnTo>
                    <a:lnTo>
                      <a:pt x="523849" y="123229"/>
                    </a:lnTo>
                    <a:lnTo>
                      <a:pt x="573627" y="122690"/>
                    </a:lnTo>
                    <a:lnTo>
                      <a:pt x="616215" y="95164"/>
                    </a:lnTo>
                    <a:lnTo>
                      <a:pt x="623958" y="85988"/>
                    </a:lnTo>
                    <a:lnTo>
                      <a:pt x="580817" y="72495"/>
                    </a:lnTo>
                    <a:lnTo>
                      <a:pt x="545972" y="67098"/>
                    </a:lnTo>
                    <a:lnTo>
                      <a:pt x="550950" y="41731"/>
                    </a:lnTo>
                    <a:lnTo>
                      <a:pt x="476283" y="19602"/>
                    </a:lnTo>
                    <a:lnTo>
                      <a:pt x="481260" y="12586"/>
                    </a:lnTo>
                    <a:lnTo>
                      <a:pt x="474623" y="5570"/>
                    </a:lnTo>
                    <a:lnTo>
                      <a:pt x="461349" y="-367"/>
                    </a:lnTo>
                    <a:lnTo>
                      <a:pt x="453053" y="13126"/>
                    </a:lnTo>
                    <a:lnTo>
                      <a:pt x="434248" y="15824"/>
                    </a:lnTo>
                    <a:lnTo>
                      <a:pt x="428164" y="7729"/>
                    </a:lnTo>
                    <a:lnTo>
                      <a:pt x="420420" y="5570"/>
                    </a:lnTo>
                    <a:lnTo>
                      <a:pt x="404934" y="18523"/>
                    </a:lnTo>
                    <a:lnTo>
                      <a:pt x="385022" y="22301"/>
                    </a:lnTo>
                    <a:lnTo>
                      <a:pt x="365664" y="37413"/>
                    </a:lnTo>
                    <a:lnTo>
                      <a:pt x="351284" y="62780"/>
                    </a:lnTo>
                    <a:lnTo>
                      <a:pt x="320311" y="70336"/>
                    </a:lnTo>
                    <a:lnTo>
                      <a:pt x="315333" y="53065"/>
                    </a:lnTo>
                    <a:lnTo>
                      <a:pt x="250068" y="54684"/>
                    </a:lnTo>
                    <a:lnTo>
                      <a:pt x="245643" y="49287"/>
                    </a:lnTo>
                    <a:lnTo>
                      <a:pt x="224073" y="49827"/>
                    </a:lnTo>
                    <a:lnTo>
                      <a:pt x="206374" y="59002"/>
                    </a:lnTo>
                    <a:lnTo>
                      <a:pt x="71419" y="94624"/>
                    </a:lnTo>
                    <a:lnTo>
                      <a:pt x="11132" y="104339"/>
                    </a:lnTo>
                    <a:lnTo>
                      <a:pt x="-1036" y="118372"/>
                    </a:lnTo>
                    <a:lnTo>
                      <a:pt x="7814" y="136183"/>
                    </a:lnTo>
                    <a:cubicBezTo>
                      <a:pt x="12792" y="136722"/>
                      <a:pt x="19982" y="137802"/>
                      <a:pt x="23853" y="140500"/>
                    </a:cubicBezTo>
                    <a:cubicBezTo>
                      <a:pt x="27725" y="142659"/>
                      <a:pt x="32703" y="151295"/>
                      <a:pt x="37128" y="150215"/>
                    </a:cubicBezTo>
                    <a:cubicBezTo>
                      <a:pt x="38787" y="149676"/>
                      <a:pt x="43212" y="145898"/>
                      <a:pt x="45977" y="145358"/>
                    </a:cubicBezTo>
                    <a:cubicBezTo>
                      <a:pt x="50402" y="144279"/>
                      <a:pt x="55933" y="145358"/>
                      <a:pt x="60911" y="144818"/>
                    </a:cubicBezTo>
                    <a:cubicBezTo>
                      <a:pt x="68101" y="143739"/>
                      <a:pt x="79163" y="138881"/>
                      <a:pt x="85800" y="141580"/>
                    </a:cubicBezTo>
                    <a:cubicBezTo>
                      <a:pt x="86906" y="142120"/>
                      <a:pt x="88012" y="143739"/>
                      <a:pt x="89118" y="144279"/>
                    </a:cubicBezTo>
                    <a:cubicBezTo>
                      <a:pt x="92437" y="145358"/>
                      <a:pt x="97415" y="143739"/>
                      <a:pt x="100733" y="145358"/>
                    </a:cubicBezTo>
                    <a:cubicBezTo>
                      <a:pt x="105711" y="148057"/>
                      <a:pt x="110136" y="157772"/>
                      <a:pt x="118432" y="157772"/>
                    </a:cubicBezTo>
                    <a:cubicBezTo>
                      <a:pt x="125622" y="158311"/>
                      <a:pt x="136131" y="149676"/>
                      <a:pt x="143874" y="152914"/>
                    </a:cubicBezTo>
                    <a:cubicBezTo>
                      <a:pt x="144981" y="153454"/>
                      <a:pt x="148299" y="156152"/>
                      <a:pt x="148852" y="157232"/>
                    </a:cubicBezTo>
                    <a:cubicBezTo>
                      <a:pt x="153277" y="162629"/>
                      <a:pt x="156595" y="168566"/>
                      <a:pt x="160467" y="173424"/>
                    </a:cubicBezTo>
                    <a:cubicBezTo>
                      <a:pt x="163233" y="177741"/>
                      <a:pt x="166551" y="180980"/>
                      <a:pt x="169317" y="185297"/>
                    </a:cubicBezTo>
                    <a:cubicBezTo>
                      <a:pt x="173741" y="192854"/>
                      <a:pt x="177060" y="201489"/>
                      <a:pt x="182038" y="209045"/>
                    </a:cubicBezTo>
                    <a:cubicBezTo>
                      <a:pt x="184250" y="212284"/>
                      <a:pt x="187569" y="216601"/>
                      <a:pt x="190887" y="219300"/>
                    </a:cubicBezTo>
                    <a:cubicBezTo>
                      <a:pt x="192546" y="220379"/>
                      <a:pt x="194206" y="220919"/>
                      <a:pt x="195312" y="222538"/>
                    </a:cubicBezTo>
                    <a:cubicBezTo>
                      <a:pt x="199737" y="226856"/>
                      <a:pt x="204161" y="233873"/>
                      <a:pt x="207480" y="239270"/>
                    </a:cubicBezTo>
                    <a:cubicBezTo>
                      <a:pt x="209692" y="242508"/>
                      <a:pt x="213011" y="253842"/>
                      <a:pt x="213011" y="257620"/>
                    </a:cubicBezTo>
                    <a:cubicBezTo>
                      <a:pt x="213011" y="266796"/>
                      <a:pt x="208033" y="280829"/>
                      <a:pt x="205268" y="289464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1" name="Freeform 1083">
                <a:extLst>
                  <a:ext uri="{FF2B5EF4-FFF2-40B4-BE49-F238E27FC236}">
                    <a16:creationId xmlns:a16="http://schemas.microsoft.com/office/drawing/2014/main" id="{0E09B727-EA4C-479F-A71A-24FB52667DE8}"/>
                  </a:ext>
                </a:extLst>
              </p:cNvPr>
              <p:cNvSpPr/>
              <p:nvPr/>
            </p:nvSpPr>
            <p:spPr>
              <a:xfrm>
                <a:off x="6754738" y="1449220"/>
                <a:ext cx="722891" cy="1218264"/>
              </a:xfrm>
              <a:custGeom>
                <a:avLst/>
                <a:gdLst>
                  <a:gd name="connsiteX0" fmla="*/ 172345 w 722891"/>
                  <a:gd name="connsiteY0" fmla="*/ 1192684 h 1218264"/>
                  <a:gd name="connsiteX1" fmla="*/ 171792 w 722891"/>
                  <a:gd name="connsiteY1" fmla="*/ 1212114 h 1218264"/>
                  <a:gd name="connsiteX2" fmla="*/ 165708 w 722891"/>
                  <a:gd name="connsiteY2" fmla="*/ 1216432 h 1218264"/>
                  <a:gd name="connsiteX3" fmla="*/ 159624 w 722891"/>
                  <a:gd name="connsiteY3" fmla="*/ 1218051 h 1218264"/>
                  <a:gd name="connsiteX4" fmla="*/ 156858 w 722891"/>
                  <a:gd name="connsiteY4" fmla="*/ 1209416 h 1218264"/>
                  <a:gd name="connsiteX5" fmla="*/ 151328 w 722891"/>
                  <a:gd name="connsiteY5" fmla="*/ 1199701 h 1218264"/>
                  <a:gd name="connsiteX6" fmla="*/ 151328 w 722891"/>
                  <a:gd name="connsiteY6" fmla="*/ 1197002 h 1218264"/>
                  <a:gd name="connsiteX7" fmla="*/ 159624 w 722891"/>
                  <a:gd name="connsiteY7" fmla="*/ 1196462 h 1218264"/>
                  <a:gd name="connsiteX8" fmla="*/ 166261 w 722891"/>
                  <a:gd name="connsiteY8" fmla="*/ 1188367 h 1218264"/>
                  <a:gd name="connsiteX9" fmla="*/ 165708 w 722891"/>
                  <a:gd name="connsiteY9" fmla="*/ 1185668 h 1218264"/>
                  <a:gd name="connsiteX10" fmla="*/ 155752 w 722891"/>
                  <a:gd name="connsiteY10" fmla="*/ 1182430 h 1218264"/>
                  <a:gd name="connsiteX11" fmla="*/ 160177 w 722891"/>
                  <a:gd name="connsiteY11" fmla="*/ 1177032 h 1218264"/>
                  <a:gd name="connsiteX12" fmla="*/ 180088 w 722891"/>
                  <a:gd name="connsiteY12" fmla="*/ 1202399 h 1218264"/>
                  <a:gd name="connsiteX13" fmla="*/ 172345 w 722891"/>
                  <a:gd name="connsiteY13" fmla="*/ 1192684 h 1218264"/>
                  <a:gd name="connsiteX14" fmla="*/ 167920 w 722891"/>
                  <a:gd name="connsiteY14" fmla="*/ 367447 h 1218264"/>
                  <a:gd name="connsiteX15" fmla="*/ 171239 w 722891"/>
                  <a:gd name="connsiteY15" fmla="*/ 345319 h 1218264"/>
                  <a:gd name="connsiteX16" fmla="*/ 155752 w 722891"/>
                  <a:gd name="connsiteY16" fmla="*/ 330746 h 1218264"/>
                  <a:gd name="connsiteX17" fmla="*/ 155752 w 722891"/>
                  <a:gd name="connsiteY17" fmla="*/ 312935 h 1218264"/>
                  <a:gd name="connsiteX18" fmla="*/ 143031 w 722891"/>
                  <a:gd name="connsiteY18" fmla="*/ 293505 h 1218264"/>
                  <a:gd name="connsiteX19" fmla="*/ 144137 w 722891"/>
                  <a:gd name="connsiteY19" fmla="*/ 274075 h 1218264"/>
                  <a:gd name="connsiteX20" fmla="*/ 127545 w 722891"/>
                  <a:gd name="connsiteY20" fmla="*/ 264360 h 1218264"/>
                  <a:gd name="connsiteX21" fmla="*/ 108186 w 722891"/>
                  <a:gd name="connsiteY21" fmla="*/ 243851 h 1218264"/>
                  <a:gd name="connsiteX22" fmla="*/ 99337 w 722891"/>
                  <a:gd name="connsiteY22" fmla="*/ 237914 h 1218264"/>
                  <a:gd name="connsiteX23" fmla="*/ 92147 w 722891"/>
                  <a:gd name="connsiteY23" fmla="*/ 234136 h 1218264"/>
                  <a:gd name="connsiteX24" fmla="*/ 52324 w 722891"/>
                  <a:gd name="connsiteY24" fmla="*/ 226040 h 1218264"/>
                  <a:gd name="connsiteX25" fmla="*/ 1440 w 722891"/>
                  <a:gd name="connsiteY25" fmla="*/ 183402 h 1218264"/>
                  <a:gd name="connsiteX26" fmla="*/ 4205 w 722891"/>
                  <a:gd name="connsiteY26" fmla="*/ 179624 h 1218264"/>
                  <a:gd name="connsiteX27" fmla="*/ -773 w 722891"/>
                  <a:gd name="connsiteY27" fmla="*/ 162353 h 1218264"/>
                  <a:gd name="connsiteX28" fmla="*/ 9183 w 722891"/>
                  <a:gd name="connsiteY28" fmla="*/ 147240 h 1218264"/>
                  <a:gd name="connsiteX29" fmla="*/ 34072 w 722891"/>
                  <a:gd name="connsiteY29" fmla="*/ 149939 h 1218264"/>
                  <a:gd name="connsiteX30" fmla="*/ 63939 w 722891"/>
                  <a:gd name="connsiteY30" fmla="*/ 190958 h 1218264"/>
                  <a:gd name="connsiteX31" fmla="*/ 68364 w 722891"/>
                  <a:gd name="connsiteY31" fmla="*/ 203911 h 1218264"/>
                  <a:gd name="connsiteX32" fmla="*/ 100443 w 722891"/>
                  <a:gd name="connsiteY32" fmla="*/ 203372 h 1218264"/>
                  <a:gd name="connsiteX33" fmla="*/ 111505 w 722891"/>
                  <a:gd name="connsiteY33" fmla="*/ 206610 h 1218264"/>
                  <a:gd name="connsiteX34" fmla="*/ 128098 w 722891"/>
                  <a:gd name="connsiteY34" fmla="*/ 192577 h 1218264"/>
                  <a:gd name="connsiteX35" fmla="*/ 129204 w 722891"/>
                  <a:gd name="connsiteY35" fmla="*/ 181783 h 1218264"/>
                  <a:gd name="connsiteX36" fmla="*/ 135288 w 722891"/>
                  <a:gd name="connsiteY36" fmla="*/ 175846 h 1218264"/>
                  <a:gd name="connsiteX37" fmla="*/ 149115 w 722891"/>
                  <a:gd name="connsiteY37" fmla="*/ 186640 h 1218264"/>
                  <a:gd name="connsiteX38" fmla="*/ 173451 w 722891"/>
                  <a:gd name="connsiteY38" fmla="*/ 192037 h 1218264"/>
                  <a:gd name="connsiteX39" fmla="*/ 178982 w 722891"/>
                  <a:gd name="connsiteY39" fmla="*/ 196355 h 1218264"/>
                  <a:gd name="connsiteX40" fmla="*/ 196681 w 722891"/>
                  <a:gd name="connsiteY40" fmla="*/ 200133 h 1218264"/>
                  <a:gd name="connsiteX41" fmla="*/ 200553 w 722891"/>
                  <a:gd name="connsiteY41" fmla="*/ 167210 h 1218264"/>
                  <a:gd name="connsiteX42" fmla="*/ 203871 w 722891"/>
                  <a:gd name="connsiteY42" fmla="*/ 154257 h 1218264"/>
                  <a:gd name="connsiteX43" fmla="*/ 209402 w 722891"/>
                  <a:gd name="connsiteY43" fmla="*/ 144542 h 1218264"/>
                  <a:gd name="connsiteX44" fmla="*/ 213274 w 722891"/>
                  <a:gd name="connsiteY44" fmla="*/ 124032 h 1218264"/>
                  <a:gd name="connsiteX45" fmla="*/ 205531 w 722891"/>
                  <a:gd name="connsiteY45" fmla="*/ 114857 h 1218264"/>
                  <a:gd name="connsiteX46" fmla="*/ 202765 w 722891"/>
                  <a:gd name="connsiteY46" fmla="*/ 82474 h 1218264"/>
                  <a:gd name="connsiteX47" fmla="*/ 203871 w 722891"/>
                  <a:gd name="connsiteY47" fmla="*/ 70060 h 1218264"/>
                  <a:gd name="connsiteX48" fmla="*/ 207190 w 722891"/>
                  <a:gd name="connsiteY48" fmla="*/ 61424 h 1218264"/>
                  <a:gd name="connsiteX49" fmla="*/ 219358 w 722891"/>
                  <a:gd name="connsiteY49" fmla="*/ 37137 h 1218264"/>
                  <a:gd name="connsiteX50" fmla="*/ 245353 w 722891"/>
                  <a:gd name="connsiteY50" fmla="*/ 20945 h 1218264"/>
                  <a:gd name="connsiteX51" fmla="*/ 259180 w 722891"/>
                  <a:gd name="connsiteY51" fmla="*/ -104 h 1218264"/>
                  <a:gd name="connsiteX52" fmla="*/ 277433 w 722891"/>
                  <a:gd name="connsiteY52" fmla="*/ 13929 h 1218264"/>
                  <a:gd name="connsiteX53" fmla="*/ 316149 w 722891"/>
                  <a:gd name="connsiteY53" fmla="*/ 24183 h 1218264"/>
                  <a:gd name="connsiteX54" fmla="*/ 321127 w 722891"/>
                  <a:gd name="connsiteY54" fmla="*/ 28501 h 1218264"/>
                  <a:gd name="connsiteX55" fmla="*/ 331636 w 722891"/>
                  <a:gd name="connsiteY55" fmla="*/ 44153 h 1218264"/>
                  <a:gd name="connsiteX56" fmla="*/ 324445 w 722891"/>
                  <a:gd name="connsiteY56" fmla="*/ 73298 h 1218264"/>
                  <a:gd name="connsiteX57" fmla="*/ 339932 w 722891"/>
                  <a:gd name="connsiteY57" fmla="*/ 101364 h 1218264"/>
                  <a:gd name="connsiteX58" fmla="*/ 323339 w 722891"/>
                  <a:gd name="connsiteY58" fmla="*/ 115936 h 1218264"/>
                  <a:gd name="connsiteX59" fmla="*/ 335507 w 722891"/>
                  <a:gd name="connsiteY59" fmla="*/ 114857 h 1218264"/>
                  <a:gd name="connsiteX60" fmla="*/ 337166 w 722891"/>
                  <a:gd name="connsiteY60" fmla="*/ 152638 h 1218264"/>
                  <a:gd name="connsiteX61" fmla="*/ 358184 w 722891"/>
                  <a:gd name="connsiteY61" fmla="*/ 188259 h 1218264"/>
                  <a:gd name="connsiteX62" fmla="*/ 392476 w 722891"/>
                  <a:gd name="connsiteY62" fmla="*/ 194736 h 1218264"/>
                  <a:gd name="connsiteX63" fmla="*/ 409068 w 722891"/>
                  <a:gd name="connsiteY63" fmla="*/ 211467 h 1218264"/>
                  <a:gd name="connsiteX64" fmla="*/ 438935 w 722891"/>
                  <a:gd name="connsiteY64" fmla="*/ 225500 h 1218264"/>
                  <a:gd name="connsiteX65" fmla="*/ 442254 w 722891"/>
                  <a:gd name="connsiteY65" fmla="*/ 236295 h 1218264"/>
                  <a:gd name="connsiteX66" fmla="*/ 440595 w 722891"/>
                  <a:gd name="connsiteY66" fmla="*/ 268138 h 1218264"/>
                  <a:gd name="connsiteX67" fmla="*/ 428427 w 722891"/>
                  <a:gd name="connsiteY67" fmla="*/ 323730 h 1218264"/>
                  <a:gd name="connsiteX68" fmla="*/ 437276 w 722891"/>
                  <a:gd name="connsiteY68" fmla="*/ 338842 h 1218264"/>
                  <a:gd name="connsiteX69" fmla="*/ 471568 w 722891"/>
                  <a:gd name="connsiteY69" fmla="*/ 375543 h 1218264"/>
                  <a:gd name="connsiteX70" fmla="*/ 506413 w 722891"/>
                  <a:gd name="connsiteY70" fmla="*/ 404688 h 1218264"/>
                  <a:gd name="connsiteX71" fmla="*/ 530749 w 722891"/>
                  <a:gd name="connsiteY71" fmla="*/ 443548 h 1218264"/>
                  <a:gd name="connsiteX72" fmla="*/ 514709 w 722891"/>
                  <a:gd name="connsiteY72" fmla="*/ 456502 h 1218264"/>
                  <a:gd name="connsiteX73" fmla="*/ 520793 w 722891"/>
                  <a:gd name="connsiteY73" fmla="*/ 468915 h 1218264"/>
                  <a:gd name="connsiteX74" fmla="*/ 524112 w 722891"/>
                  <a:gd name="connsiteY74" fmla="*/ 502378 h 1218264"/>
                  <a:gd name="connsiteX75" fmla="*/ 542364 w 722891"/>
                  <a:gd name="connsiteY75" fmla="*/ 505077 h 1218264"/>
                  <a:gd name="connsiteX76" fmla="*/ 536280 w 722891"/>
                  <a:gd name="connsiteY76" fmla="*/ 521269 h 1218264"/>
                  <a:gd name="connsiteX77" fmla="*/ 542364 w 722891"/>
                  <a:gd name="connsiteY77" fmla="*/ 539619 h 1218264"/>
                  <a:gd name="connsiteX78" fmla="*/ 551213 w 722891"/>
                  <a:gd name="connsiteY78" fmla="*/ 548795 h 1218264"/>
                  <a:gd name="connsiteX79" fmla="*/ 568359 w 722891"/>
                  <a:gd name="connsiteY79" fmla="*/ 548255 h 1218264"/>
                  <a:gd name="connsiteX80" fmla="*/ 574996 w 722891"/>
                  <a:gd name="connsiteY80" fmla="*/ 555811 h 1218264"/>
                  <a:gd name="connsiteX81" fmla="*/ 572231 w 722891"/>
                  <a:gd name="connsiteY81" fmla="*/ 566605 h 1218264"/>
                  <a:gd name="connsiteX82" fmla="*/ 580527 w 722891"/>
                  <a:gd name="connsiteY82" fmla="*/ 587115 h 1218264"/>
                  <a:gd name="connsiteX83" fmla="*/ 611500 w 722891"/>
                  <a:gd name="connsiteY83" fmla="*/ 601148 h 1218264"/>
                  <a:gd name="connsiteX84" fmla="*/ 615925 w 722891"/>
                  <a:gd name="connsiteY84" fmla="*/ 608164 h 1218264"/>
                  <a:gd name="connsiteX85" fmla="*/ 618690 w 722891"/>
                  <a:gd name="connsiteY85" fmla="*/ 618959 h 1218264"/>
                  <a:gd name="connsiteX86" fmla="*/ 613712 w 722891"/>
                  <a:gd name="connsiteY86" fmla="*/ 645945 h 1218264"/>
                  <a:gd name="connsiteX87" fmla="*/ 606522 w 722891"/>
                  <a:gd name="connsiteY87" fmla="*/ 656739 h 1218264"/>
                  <a:gd name="connsiteX88" fmla="*/ 643579 w 722891"/>
                  <a:gd name="connsiteY88" fmla="*/ 690742 h 1218264"/>
                  <a:gd name="connsiteX89" fmla="*/ 686721 w 722891"/>
                  <a:gd name="connsiteY89" fmla="*/ 695599 h 1218264"/>
                  <a:gd name="connsiteX90" fmla="*/ 689486 w 722891"/>
                  <a:gd name="connsiteY90" fmla="*/ 702076 h 1218264"/>
                  <a:gd name="connsiteX91" fmla="*/ 717141 w 722891"/>
                  <a:gd name="connsiteY91" fmla="*/ 723125 h 1218264"/>
                  <a:gd name="connsiteX92" fmla="*/ 722119 w 722891"/>
                  <a:gd name="connsiteY92" fmla="*/ 774939 h 1218264"/>
                  <a:gd name="connsiteX93" fmla="*/ 704973 w 722891"/>
                  <a:gd name="connsiteY93" fmla="*/ 813259 h 1218264"/>
                  <a:gd name="connsiteX94" fmla="*/ 695017 w 722891"/>
                  <a:gd name="connsiteY94" fmla="*/ 859675 h 1218264"/>
                  <a:gd name="connsiteX95" fmla="*/ 674000 w 722891"/>
                  <a:gd name="connsiteY95" fmla="*/ 924442 h 1218264"/>
                  <a:gd name="connsiteX96" fmla="*/ 646345 w 722891"/>
                  <a:gd name="connsiteY96" fmla="*/ 974636 h 1218264"/>
                  <a:gd name="connsiteX97" fmla="*/ 629199 w 722891"/>
                  <a:gd name="connsiteY97" fmla="*/ 1018354 h 1218264"/>
                  <a:gd name="connsiteX98" fmla="*/ 622009 w 722891"/>
                  <a:gd name="connsiteY98" fmla="*/ 1030767 h 1218264"/>
                  <a:gd name="connsiteX99" fmla="*/ 615372 w 722891"/>
                  <a:gd name="connsiteY99" fmla="*/ 1057754 h 1218264"/>
                  <a:gd name="connsiteX100" fmla="*/ 610947 w 722891"/>
                  <a:gd name="connsiteY100" fmla="*/ 1058293 h 1218264"/>
                  <a:gd name="connsiteX101" fmla="*/ 588823 w 722891"/>
                  <a:gd name="connsiteY101" fmla="*/ 1071247 h 1218264"/>
                  <a:gd name="connsiteX102" fmla="*/ 561722 w 722891"/>
                  <a:gd name="connsiteY102" fmla="*/ 1076644 h 1218264"/>
                  <a:gd name="connsiteX103" fmla="*/ 540704 w 722891"/>
                  <a:gd name="connsiteY103" fmla="*/ 1090677 h 1218264"/>
                  <a:gd name="connsiteX104" fmla="*/ 527430 w 722891"/>
                  <a:gd name="connsiteY104" fmla="*/ 1099852 h 1218264"/>
                  <a:gd name="connsiteX105" fmla="*/ 516368 w 722891"/>
                  <a:gd name="connsiteY105" fmla="*/ 1104710 h 1218264"/>
                  <a:gd name="connsiteX106" fmla="*/ 505860 w 722891"/>
                  <a:gd name="connsiteY106" fmla="*/ 1120362 h 1218264"/>
                  <a:gd name="connsiteX107" fmla="*/ 486501 w 722891"/>
                  <a:gd name="connsiteY107" fmla="*/ 1122520 h 1218264"/>
                  <a:gd name="connsiteX108" fmla="*/ 466037 w 722891"/>
                  <a:gd name="connsiteY108" fmla="*/ 1141950 h 1218264"/>
                  <a:gd name="connsiteX109" fmla="*/ 445019 w 722891"/>
                  <a:gd name="connsiteY109" fmla="*/ 1154364 h 1218264"/>
                  <a:gd name="connsiteX110" fmla="*/ 434511 w 722891"/>
                  <a:gd name="connsiteY110" fmla="*/ 1170556 h 1218264"/>
                  <a:gd name="connsiteX111" fmla="*/ 424555 w 722891"/>
                  <a:gd name="connsiteY111" fmla="*/ 1169476 h 1218264"/>
                  <a:gd name="connsiteX112" fmla="*/ 397453 w 722891"/>
                  <a:gd name="connsiteY112" fmla="*/ 1185128 h 1218264"/>
                  <a:gd name="connsiteX113" fmla="*/ 378095 w 722891"/>
                  <a:gd name="connsiteY113" fmla="*/ 1194843 h 1218264"/>
                  <a:gd name="connsiteX114" fmla="*/ 355972 w 722891"/>
                  <a:gd name="connsiteY114" fmla="*/ 1213194 h 1218264"/>
                  <a:gd name="connsiteX115" fmla="*/ 355418 w 722891"/>
                  <a:gd name="connsiteY115" fmla="*/ 1211575 h 1218264"/>
                  <a:gd name="connsiteX116" fmla="*/ 363162 w 722891"/>
                  <a:gd name="connsiteY116" fmla="*/ 1198082 h 1218264"/>
                  <a:gd name="connsiteX117" fmla="*/ 358737 w 722891"/>
                  <a:gd name="connsiteY117" fmla="*/ 1193224 h 1218264"/>
                  <a:gd name="connsiteX118" fmla="*/ 359843 w 722891"/>
                  <a:gd name="connsiteY118" fmla="*/ 1185128 h 1218264"/>
                  <a:gd name="connsiteX119" fmla="*/ 347675 w 722891"/>
                  <a:gd name="connsiteY119" fmla="*/ 1180811 h 1218264"/>
                  <a:gd name="connsiteX120" fmla="*/ 343250 w 722891"/>
                  <a:gd name="connsiteY120" fmla="*/ 1151665 h 1218264"/>
                  <a:gd name="connsiteX121" fmla="*/ 318361 w 722891"/>
                  <a:gd name="connsiteY121" fmla="*/ 1170556 h 1218264"/>
                  <a:gd name="connsiteX122" fmla="*/ 306746 w 722891"/>
                  <a:gd name="connsiteY122" fmla="*/ 1157063 h 1218264"/>
                  <a:gd name="connsiteX123" fmla="*/ 281857 w 722891"/>
                  <a:gd name="connsiteY123" fmla="*/ 1151665 h 1218264"/>
                  <a:gd name="connsiteX124" fmla="*/ 273561 w 722891"/>
                  <a:gd name="connsiteY124" fmla="*/ 1147887 h 1218264"/>
                  <a:gd name="connsiteX125" fmla="*/ 269689 w 722891"/>
                  <a:gd name="connsiteY125" fmla="*/ 1147348 h 1218264"/>
                  <a:gd name="connsiteX126" fmla="*/ 264711 w 722891"/>
                  <a:gd name="connsiteY126" fmla="*/ 1139792 h 1218264"/>
                  <a:gd name="connsiteX127" fmla="*/ 245906 w 722891"/>
                  <a:gd name="connsiteY127" fmla="*/ 1147348 h 1218264"/>
                  <a:gd name="connsiteX128" fmla="*/ 235398 w 722891"/>
                  <a:gd name="connsiteY128" fmla="*/ 1116044 h 1218264"/>
                  <a:gd name="connsiteX129" fmla="*/ 227654 w 722891"/>
                  <a:gd name="connsiteY129" fmla="*/ 1100931 h 1218264"/>
                  <a:gd name="connsiteX130" fmla="*/ 227101 w 722891"/>
                  <a:gd name="connsiteY130" fmla="*/ 1094455 h 1218264"/>
                  <a:gd name="connsiteX131" fmla="*/ 229867 w 722891"/>
                  <a:gd name="connsiteY131" fmla="*/ 1077184 h 1218264"/>
                  <a:gd name="connsiteX132" fmla="*/ 228760 w 722891"/>
                  <a:gd name="connsiteY132" fmla="*/ 1055595 h 1218264"/>
                  <a:gd name="connsiteX133" fmla="*/ 223783 w 722891"/>
                  <a:gd name="connsiteY133" fmla="*/ 1039943 h 1218264"/>
                  <a:gd name="connsiteX134" fmla="*/ 227101 w 722891"/>
                  <a:gd name="connsiteY134" fmla="*/ 1019973 h 1218264"/>
                  <a:gd name="connsiteX135" fmla="*/ 213274 w 722891"/>
                  <a:gd name="connsiteY135" fmla="*/ 998384 h 1218264"/>
                  <a:gd name="connsiteX136" fmla="*/ 198893 w 722891"/>
                  <a:gd name="connsiteY136" fmla="*/ 982732 h 1218264"/>
                  <a:gd name="connsiteX137" fmla="*/ 198340 w 722891"/>
                  <a:gd name="connsiteY137" fmla="*/ 955206 h 1218264"/>
                  <a:gd name="connsiteX138" fmla="*/ 181194 w 722891"/>
                  <a:gd name="connsiteY138" fmla="*/ 934157 h 1218264"/>
                  <a:gd name="connsiteX139" fmla="*/ 171239 w 722891"/>
                  <a:gd name="connsiteY139" fmla="*/ 900694 h 1218264"/>
                  <a:gd name="connsiteX140" fmla="*/ 177323 w 722891"/>
                  <a:gd name="connsiteY140" fmla="*/ 882883 h 1218264"/>
                  <a:gd name="connsiteX141" fmla="*/ 181748 w 722891"/>
                  <a:gd name="connsiteY141" fmla="*/ 878026 h 1218264"/>
                  <a:gd name="connsiteX142" fmla="*/ 180641 w 722891"/>
                  <a:gd name="connsiteY142" fmla="*/ 860215 h 1218264"/>
                  <a:gd name="connsiteX143" fmla="*/ 189491 w 722891"/>
                  <a:gd name="connsiteY143" fmla="*/ 858056 h 1218264"/>
                  <a:gd name="connsiteX144" fmla="*/ 183960 w 722891"/>
                  <a:gd name="connsiteY144" fmla="*/ 844023 h 1218264"/>
                  <a:gd name="connsiteX145" fmla="*/ 206084 w 722891"/>
                  <a:gd name="connsiteY145" fmla="*/ 841325 h 1218264"/>
                  <a:gd name="connsiteX146" fmla="*/ 219911 w 722891"/>
                  <a:gd name="connsiteY146" fmla="*/ 821894 h 1218264"/>
                  <a:gd name="connsiteX147" fmla="*/ 218252 w 722891"/>
                  <a:gd name="connsiteY147" fmla="*/ 813259 h 1218264"/>
                  <a:gd name="connsiteX148" fmla="*/ 207743 w 722891"/>
                  <a:gd name="connsiteY148" fmla="*/ 804084 h 1218264"/>
                  <a:gd name="connsiteX149" fmla="*/ 207743 w 722891"/>
                  <a:gd name="connsiteY149" fmla="*/ 801925 h 1218264"/>
                  <a:gd name="connsiteX150" fmla="*/ 218252 w 722891"/>
                  <a:gd name="connsiteY150" fmla="*/ 801925 h 1218264"/>
                  <a:gd name="connsiteX151" fmla="*/ 223229 w 722891"/>
                  <a:gd name="connsiteY151" fmla="*/ 776018 h 1218264"/>
                  <a:gd name="connsiteX152" fmla="*/ 235951 w 722891"/>
                  <a:gd name="connsiteY152" fmla="*/ 776018 h 1218264"/>
                  <a:gd name="connsiteX153" fmla="*/ 238716 w 722891"/>
                  <a:gd name="connsiteY153" fmla="*/ 773859 h 1218264"/>
                  <a:gd name="connsiteX154" fmla="*/ 247012 w 722891"/>
                  <a:gd name="connsiteY154" fmla="*/ 755509 h 1218264"/>
                  <a:gd name="connsiteX155" fmla="*/ 251437 w 722891"/>
                  <a:gd name="connsiteY155" fmla="*/ 749032 h 1218264"/>
                  <a:gd name="connsiteX156" fmla="*/ 254203 w 722891"/>
                  <a:gd name="connsiteY156" fmla="*/ 738237 h 1218264"/>
                  <a:gd name="connsiteX157" fmla="*/ 263605 w 722891"/>
                  <a:gd name="connsiteY157" fmla="*/ 718807 h 1218264"/>
                  <a:gd name="connsiteX158" fmla="*/ 268583 w 722891"/>
                  <a:gd name="connsiteY158" fmla="*/ 700457 h 1218264"/>
                  <a:gd name="connsiteX159" fmla="*/ 282963 w 722891"/>
                  <a:gd name="connsiteY159" fmla="*/ 677249 h 1218264"/>
                  <a:gd name="connsiteX160" fmla="*/ 290154 w 722891"/>
                  <a:gd name="connsiteY160" fmla="*/ 659438 h 1218264"/>
                  <a:gd name="connsiteX161" fmla="*/ 294578 w 722891"/>
                  <a:gd name="connsiteY161" fmla="*/ 621117 h 1218264"/>
                  <a:gd name="connsiteX162" fmla="*/ 315043 w 722891"/>
                  <a:gd name="connsiteY162" fmla="*/ 607624 h 1218264"/>
                  <a:gd name="connsiteX163" fmla="*/ 329423 w 722891"/>
                  <a:gd name="connsiteY163" fmla="*/ 606545 h 1218264"/>
                  <a:gd name="connsiteX164" fmla="*/ 319468 w 722891"/>
                  <a:gd name="connsiteY164" fmla="*/ 593052 h 1218264"/>
                  <a:gd name="connsiteX165" fmla="*/ 312830 w 722891"/>
                  <a:gd name="connsiteY165" fmla="*/ 567685 h 1218264"/>
                  <a:gd name="connsiteX166" fmla="*/ 305640 w 722891"/>
                  <a:gd name="connsiteY166" fmla="*/ 536921 h 1218264"/>
                  <a:gd name="connsiteX167" fmla="*/ 298450 w 722891"/>
                  <a:gd name="connsiteY167" fmla="*/ 534762 h 1218264"/>
                  <a:gd name="connsiteX168" fmla="*/ 285729 w 722891"/>
                  <a:gd name="connsiteY168" fmla="*/ 525047 h 1218264"/>
                  <a:gd name="connsiteX169" fmla="*/ 266371 w 722891"/>
                  <a:gd name="connsiteY169" fmla="*/ 524507 h 1218264"/>
                  <a:gd name="connsiteX170" fmla="*/ 255309 w 722891"/>
                  <a:gd name="connsiteY170" fmla="*/ 511554 h 1218264"/>
                  <a:gd name="connsiteX171" fmla="*/ 239822 w 722891"/>
                  <a:gd name="connsiteY171" fmla="*/ 517491 h 1218264"/>
                  <a:gd name="connsiteX172" fmla="*/ 215486 w 722891"/>
                  <a:gd name="connsiteY172" fmla="*/ 478091 h 1218264"/>
                  <a:gd name="connsiteX173" fmla="*/ 201106 w 722891"/>
                  <a:gd name="connsiteY173" fmla="*/ 465137 h 1218264"/>
                  <a:gd name="connsiteX174" fmla="*/ 198340 w 722891"/>
                  <a:gd name="connsiteY174" fmla="*/ 443009 h 1218264"/>
                  <a:gd name="connsiteX175" fmla="*/ 202765 w 722891"/>
                  <a:gd name="connsiteY175" fmla="*/ 428436 h 1218264"/>
                  <a:gd name="connsiteX176" fmla="*/ 199447 w 722891"/>
                  <a:gd name="connsiteY176" fmla="*/ 417642 h 1218264"/>
                  <a:gd name="connsiteX177" fmla="*/ 198340 w 722891"/>
                  <a:gd name="connsiteY177" fmla="*/ 399831 h 1218264"/>
                  <a:gd name="connsiteX178" fmla="*/ 167920 w 722891"/>
                  <a:gd name="connsiteY178" fmla="*/ 367447 h 1218264"/>
                  <a:gd name="connsiteX179" fmla="*/ 315043 w 722891"/>
                  <a:gd name="connsiteY179" fmla="*/ 1178112 h 1218264"/>
                  <a:gd name="connsiteX180" fmla="*/ 334401 w 722891"/>
                  <a:gd name="connsiteY180" fmla="*/ 1170556 h 1218264"/>
                  <a:gd name="connsiteX181" fmla="*/ 332742 w 722891"/>
                  <a:gd name="connsiteY181" fmla="*/ 1187827 h 1218264"/>
                  <a:gd name="connsiteX182" fmla="*/ 322786 w 722891"/>
                  <a:gd name="connsiteY182" fmla="*/ 1195923 h 1218264"/>
                  <a:gd name="connsiteX183" fmla="*/ 315043 w 722891"/>
                  <a:gd name="connsiteY183" fmla="*/ 1195923 h 1218264"/>
                  <a:gd name="connsiteX184" fmla="*/ 315043 w 722891"/>
                  <a:gd name="connsiteY184" fmla="*/ 1178112 h 1218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</a:cxnLst>
                <a:rect l="l" t="t" r="r" b="b"/>
                <a:pathLst>
                  <a:path w="722891" h="1218264">
                    <a:moveTo>
                      <a:pt x="172345" y="1192684"/>
                    </a:moveTo>
                    <a:cubicBezTo>
                      <a:pt x="170133" y="1195383"/>
                      <a:pt x="173451" y="1210495"/>
                      <a:pt x="171792" y="1212114"/>
                    </a:cubicBezTo>
                    <a:cubicBezTo>
                      <a:pt x="171239" y="1213194"/>
                      <a:pt x="166814" y="1215893"/>
                      <a:pt x="165708" y="1216432"/>
                    </a:cubicBezTo>
                    <a:cubicBezTo>
                      <a:pt x="164602" y="1216972"/>
                      <a:pt x="160730" y="1218591"/>
                      <a:pt x="159624" y="1218051"/>
                    </a:cubicBezTo>
                    <a:cubicBezTo>
                      <a:pt x="157965" y="1216972"/>
                      <a:pt x="157412" y="1211035"/>
                      <a:pt x="156858" y="1209416"/>
                    </a:cubicBezTo>
                    <a:cubicBezTo>
                      <a:pt x="155199" y="1206178"/>
                      <a:pt x="152434" y="1202939"/>
                      <a:pt x="151328" y="1199701"/>
                    </a:cubicBezTo>
                    <a:lnTo>
                      <a:pt x="151328" y="1197002"/>
                    </a:lnTo>
                    <a:cubicBezTo>
                      <a:pt x="154646" y="1195923"/>
                      <a:pt x="157412" y="1197002"/>
                      <a:pt x="159624" y="1196462"/>
                    </a:cubicBezTo>
                    <a:cubicBezTo>
                      <a:pt x="160730" y="1196462"/>
                      <a:pt x="166261" y="1189446"/>
                      <a:pt x="166261" y="1188367"/>
                    </a:cubicBezTo>
                    <a:cubicBezTo>
                      <a:pt x="166814" y="1187827"/>
                      <a:pt x="166261" y="1186208"/>
                      <a:pt x="165708" y="1185668"/>
                    </a:cubicBezTo>
                    <a:cubicBezTo>
                      <a:pt x="164049" y="1182969"/>
                      <a:pt x="157412" y="1184049"/>
                      <a:pt x="155752" y="1182430"/>
                    </a:cubicBezTo>
                    <a:cubicBezTo>
                      <a:pt x="152434" y="1180811"/>
                      <a:pt x="157412" y="1177032"/>
                      <a:pt x="160177" y="1177032"/>
                    </a:cubicBezTo>
                    <a:cubicBezTo>
                      <a:pt x="171239" y="1177572"/>
                      <a:pt x="181748" y="1191605"/>
                      <a:pt x="180088" y="1202399"/>
                    </a:cubicBezTo>
                    <a:cubicBezTo>
                      <a:pt x="176770" y="1201320"/>
                      <a:pt x="174557" y="1193224"/>
                      <a:pt x="172345" y="1192684"/>
                    </a:cubicBezTo>
                    <a:close/>
                    <a:moveTo>
                      <a:pt x="167920" y="367447"/>
                    </a:moveTo>
                    <a:cubicBezTo>
                      <a:pt x="167367" y="358272"/>
                      <a:pt x="171792" y="353415"/>
                      <a:pt x="171239" y="345319"/>
                    </a:cubicBezTo>
                    <a:cubicBezTo>
                      <a:pt x="170686" y="333445"/>
                      <a:pt x="157412" y="338842"/>
                      <a:pt x="155752" y="330746"/>
                    </a:cubicBezTo>
                    <a:cubicBezTo>
                      <a:pt x="154093" y="325349"/>
                      <a:pt x="156858" y="318872"/>
                      <a:pt x="155752" y="312935"/>
                    </a:cubicBezTo>
                    <a:cubicBezTo>
                      <a:pt x="154646" y="308078"/>
                      <a:pt x="143584" y="294585"/>
                      <a:pt x="143031" y="293505"/>
                    </a:cubicBezTo>
                    <a:cubicBezTo>
                      <a:pt x="142478" y="289188"/>
                      <a:pt x="146903" y="283251"/>
                      <a:pt x="144137" y="274075"/>
                    </a:cubicBezTo>
                    <a:cubicBezTo>
                      <a:pt x="141372" y="263821"/>
                      <a:pt x="134735" y="267599"/>
                      <a:pt x="127545" y="264360"/>
                    </a:cubicBezTo>
                    <a:cubicBezTo>
                      <a:pt x="122014" y="262201"/>
                      <a:pt x="114270" y="248708"/>
                      <a:pt x="108186" y="243851"/>
                    </a:cubicBezTo>
                    <a:cubicBezTo>
                      <a:pt x="105421" y="241152"/>
                      <a:pt x="102102" y="239533"/>
                      <a:pt x="99337" y="237914"/>
                    </a:cubicBezTo>
                    <a:cubicBezTo>
                      <a:pt x="97125" y="236295"/>
                      <a:pt x="94912" y="234676"/>
                      <a:pt x="92147" y="234136"/>
                    </a:cubicBezTo>
                    <a:cubicBezTo>
                      <a:pt x="79426" y="230358"/>
                      <a:pt x="65598" y="229818"/>
                      <a:pt x="52324" y="226040"/>
                    </a:cubicBezTo>
                    <a:cubicBezTo>
                      <a:pt x="29647" y="219563"/>
                      <a:pt x="14714" y="201752"/>
                      <a:pt x="1440" y="183402"/>
                    </a:cubicBezTo>
                    <a:lnTo>
                      <a:pt x="4205" y="179624"/>
                    </a:lnTo>
                    <a:lnTo>
                      <a:pt x="-773" y="162353"/>
                    </a:lnTo>
                    <a:lnTo>
                      <a:pt x="9183" y="147240"/>
                    </a:lnTo>
                    <a:lnTo>
                      <a:pt x="34072" y="149939"/>
                    </a:lnTo>
                    <a:lnTo>
                      <a:pt x="63939" y="190958"/>
                    </a:lnTo>
                    <a:lnTo>
                      <a:pt x="68364" y="203911"/>
                    </a:lnTo>
                    <a:lnTo>
                      <a:pt x="100443" y="203372"/>
                    </a:lnTo>
                    <a:lnTo>
                      <a:pt x="111505" y="206610"/>
                    </a:lnTo>
                    <a:lnTo>
                      <a:pt x="128098" y="192577"/>
                    </a:lnTo>
                    <a:lnTo>
                      <a:pt x="129204" y="181783"/>
                    </a:lnTo>
                    <a:lnTo>
                      <a:pt x="135288" y="175846"/>
                    </a:lnTo>
                    <a:lnTo>
                      <a:pt x="149115" y="186640"/>
                    </a:lnTo>
                    <a:lnTo>
                      <a:pt x="173451" y="192037"/>
                    </a:lnTo>
                    <a:lnTo>
                      <a:pt x="178982" y="196355"/>
                    </a:lnTo>
                    <a:lnTo>
                      <a:pt x="196681" y="200133"/>
                    </a:lnTo>
                    <a:cubicBezTo>
                      <a:pt x="198340" y="189339"/>
                      <a:pt x="198893" y="178005"/>
                      <a:pt x="200553" y="167210"/>
                    </a:cubicBezTo>
                    <a:lnTo>
                      <a:pt x="203871" y="154257"/>
                    </a:lnTo>
                    <a:cubicBezTo>
                      <a:pt x="205531" y="151018"/>
                      <a:pt x="208296" y="147780"/>
                      <a:pt x="209402" y="144542"/>
                    </a:cubicBezTo>
                    <a:cubicBezTo>
                      <a:pt x="211061" y="141303"/>
                      <a:pt x="214933" y="126731"/>
                      <a:pt x="213274" y="124032"/>
                    </a:cubicBezTo>
                    <a:cubicBezTo>
                      <a:pt x="212168" y="120794"/>
                      <a:pt x="207743" y="117556"/>
                      <a:pt x="205531" y="114857"/>
                    </a:cubicBezTo>
                    <a:cubicBezTo>
                      <a:pt x="195575" y="103523"/>
                      <a:pt x="201659" y="94887"/>
                      <a:pt x="202765" y="82474"/>
                    </a:cubicBezTo>
                    <a:cubicBezTo>
                      <a:pt x="203318" y="78156"/>
                      <a:pt x="202765" y="73838"/>
                      <a:pt x="203871" y="70060"/>
                    </a:cubicBezTo>
                    <a:cubicBezTo>
                      <a:pt x="204424" y="66822"/>
                      <a:pt x="206084" y="64123"/>
                      <a:pt x="207190" y="61424"/>
                    </a:cubicBezTo>
                    <a:cubicBezTo>
                      <a:pt x="211615" y="49550"/>
                      <a:pt x="209955" y="47392"/>
                      <a:pt x="219358" y="37137"/>
                    </a:cubicBezTo>
                    <a:cubicBezTo>
                      <a:pt x="229867" y="24723"/>
                      <a:pt x="238163" y="31200"/>
                      <a:pt x="245353" y="20945"/>
                    </a:cubicBezTo>
                    <a:cubicBezTo>
                      <a:pt x="251437" y="11770"/>
                      <a:pt x="248672" y="7452"/>
                      <a:pt x="259180" y="-104"/>
                    </a:cubicBezTo>
                    <a:lnTo>
                      <a:pt x="277433" y="13929"/>
                    </a:lnTo>
                    <a:lnTo>
                      <a:pt x="316149" y="24183"/>
                    </a:lnTo>
                    <a:lnTo>
                      <a:pt x="321127" y="28501"/>
                    </a:lnTo>
                    <a:lnTo>
                      <a:pt x="331636" y="44153"/>
                    </a:lnTo>
                    <a:lnTo>
                      <a:pt x="324445" y="73298"/>
                    </a:lnTo>
                    <a:lnTo>
                      <a:pt x="339932" y="101364"/>
                    </a:lnTo>
                    <a:cubicBezTo>
                      <a:pt x="331636" y="105142"/>
                      <a:pt x="323339" y="104602"/>
                      <a:pt x="323339" y="115936"/>
                    </a:cubicBezTo>
                    <a:lnTo>
                      <a:pt x="335507" y="114857"/>
                    </a:lnTo>
                    <a:lnTo>
                      <a:pt x="337166" y="152638"/>
                    </a:lnTo>
                    <a:lnTo>
                      <a:pt x="358184" y="188259"/>
                    </a:lnTo>
                    <a:lnTo>
                      <a:pt x="392476" y="194736"/>
                    </a:lnTo>
                    <a:lnTo>
                      <a:pt x="409068" y="211467"/>
                    </a:lnTo>
                    <a:lnTo>
                      <a:pt x="438935" y="225500"/>
                    </a:lnTo>
                    <a:lnTo>
                      <a:pt x="442254" y="236295"/>
                    </a:lnTo>
                    <a:lnTo>
                      <a:pt x="440595" y="268138"/>
                    </a:lnTo>
                    <a:lnTo>
                      <a:pt x="428427" y="323730"/>
                    </a:lnTo>
                    <a:lnTo>
                      <a:pt x="437276" y="338842"/>
                    </a:lnTo>
                    <a:lnTo>
                      <a:pt x="471568" y="375543"/>
                    </a:lnTo>
                    <a:lnTo>
                      <a:pt x="506413" y="404688"/>
                    </a:lnTo>
                    <a:lnTo>
                      <a:pt x="530749" y="443548"/>
                    </a:lnTo>
                    <a:lnTo>
                      <a:pt x="514709" y="456502"/>
                    </a:lnTo>
                    <a:lnTo>
                      <a:pt x="520793" y="468915"/>
                    </a:lnTo>
                    <a:lnTo>
                      <a:pt x="524112" y="502378"/>
                    </a:lnTo>
                    <a:lnTo>
                      <a:pt x="542364" y="505077"/>
                    </a:lnTo>
                    <a:lnTo>
                      <a:pt x="536280" y="521269"/>
                    </a:lnTo>
                    <a:lnTo>
                      <a:pt x="542364" y="539619"/>
                    </a:lnTo>
                    <a:lnTo>
                      <a:pt x="551213" y="548795"/>
                    </a:lnTo>
                    <a:lnTo>
                      <a:pt x="568359" y="548255"/>
                    </a:lnTo>
                    <a:lnTo>
                      <a:pt x="574996" y="555811"/>
                    </a:lnTo>
                    <a:lnTo>
                      <a:pt x="572231" y="566605"/>
                    </a:lnTo>
                    <a:lnTo>
                      <a:pt x="580527" y="587115"/>
                    </a:lnTo>
                    <a:lnTo>
                      <a:pt x="611500" y="601148"/>
                    </a:lnTo>
                    <a:lnTo>
                      <a:pt x="615925" y="608164"/>
                    </a:lnTo>
                    <a:lnTo>
                      <a:pt x="618690" y="618959"/>
                    </a:lnTo>
                    <a:lnTo>
                      <a:pt x="613712" y="645945"/>
                    </a:lnTo>
                    <a:lnTo>
                      <a:pt x="606522" y="656739"/>
                    </a:lnTo>
                    <a:lnTo>
                      <a:pt x="643579" y="690742"/>
                    </a:lnTo>
                    <a:lnTo>
                      <a:pt x="686721" y="695599"/>
                    </a:lnTo>
                    <a:lnTo>
                      <a:pt x="689486" y="702076"/>
                    </a:lnTo>
                    <a:lnTo>
                      <a:pt x="717141" y="723125"/>
                    </a:lnTo>
                    <a:lnTo>
                      <a:pt x="722119" y="774939"/>
                    </a:lnTo>
                    <a:lnTo>
                      <a:pt x="704973" y="813259"/>
                    </a:lnTo>
                    <a:lnTo>
                      <a:pt x="695017" y="859675"/>
                    </a:lnTo>
                    <a:lnTo>
                      <a:pt x="674000" y="924442"/>
                    </a:lnTo>
                    <a:lnTo>
                      <a:pt x="646345" y="974636"/>
                    </a:lnTo>
                    <a:lnTo>
                      <a:pt x="629199" y="1018354"/>
                    </a:lnTo>
                    <a:lnTo>
                      <a:pt x="622009" y="1030767"/>
                    </a:lnTo>
                    <a:lnTo>
                      <a:pt x="615372" y="1057754"/>
                    </a:lnTo>
                    <a:cubicBezTo>
                      <a:pt x="614266" y="1057754"/>
                      <a:pt x="612053" y="1057754"/>
                      <a:pt x="610947" y="1058293"/>
                    </a:cubicBezTo>
                    <a:cubicBezTo>
                      <a:pt x="603204" y="1061532"/>
                      <a:pt x="598779" y="1069628"/>
                      <a:pt x="588823" y="1071247"/>
                    </a:cubicBezTo>
                    <a:cubicBezTo>
                      <a:pt x="577208" y="1073406"/>
                      <a:pt x="573890" y="1069088"/>
                      <a:pt x="561722" y="1076644"/>
                    </a:cubicBezTo>
                    <a:cubicBezTo>
                      <a:pt x="552319" y="1082041"/>
                      <a:pt x="552319" y="1086899"/>
                      <a:pt x="540704" y="1090677"/>
                    </a:cubicBezTo>
                    <a:cubicBezTo>
                      <a:pt x="534620" y="1092296"/>
                      <a:pt x="532408" y="1097153"/>
                      <a:pt x="527430" y="1099852"/>
                    </a:cubicBezTo>
                    <a:cubicBezTo>
                      <a:pt x="524112" y="1102011"/>
                      <a:pt x="519687" y="1102011"/>
                      <a:pt x="516368" y="1104710"/>
                    </a:cubicBezTo>
                    <a:cubicBezTo>
                      <a:pt x="514156" y="1106868"/>
                      <a:pt x="514709" y="1117663"/>
                      <a:pt x="505860" y="1120362"/>
                    </a:cubicBezTo>
                    <a:cubicBezTo>
                      <a:pt x="501988" y="1121441"/>
                      <a:pt x="496457" y="1116583"/>
                      <a:pt x="486501" y="1122520"/>
                    </a:cubicBezTo>
                    <a:cubicBezTo>
                      <a:pt x="478758" y="1127378"/>
                      <a:pt x="473227" y="1136553"/>
                      <a:pt x="466037" y="1141950"/>
                    </a:cubicBezTo>
                    <a:cubicBezTo>
                      <a:pt x="459953" y="1146808"/>
                      <a:pt x="450550" y="1148967"/>
                      <a:pt x="445019" y="1154364"/>
                    </a:cubicBezTo>
                    <a:cubicBezTo>
                      <a:pt x="440042" y="1158682"/>
                      <a:pt x="440042" y="1166778"/>
                      <a:pt x="434511" y="1170556"/>
                    </a:cubicBezTo>
                    <a:cubicBezTo>
                      <a:pt x="431745" y="1170556"/>
                      <a:pt x="426767" y="1168397"/>
                      <a:pt x="424555" y="1169476"/>
                    </a:cubicBezTo>
                    <a:cubicBezTo>
                      <a:pt x="415152" y="1172175"/>
                      <a:pt x="405750" y="1180271"/>
                      <a:pt x="397453" y="1185128"/>
                    </a:cubicBezTo>
                    <a:cubicBezTo>
                      <a:pt x="391369" y="1188367"/>
                      <a:pt x="383626" y="1190526"/>
                      <a:pt x="378095" y="1194843"/>
                    </a:cubicBezTo>
                    <a:cubicBezTo>
                      <a:pt x="372011" y="1199161"/>
                      <a:pt x="364268" y="1216972"/>
                      <a:pt x="355972" y="1213194"/>
                    </a:cubicBezTo>
                    <a:lnTo>
                      <a:pt x="355418" y="1211575"/>
                    </a:lnTo>
                    <a:cubicBezTo>
                      <a:pt x="358184" y="1207257"/>
                      <a:pt x="362609" y="1203479"/>
                      <a:pt x="363162" y="1198082"/>
                    </a:cubicBezTo>
                    <a:cubicBezTo>
                      <a:pt x="362609" y="1197002"/>
                      <a:pt x="359290" y="1194843"/>
                      <a:pt x="358737" y="1193224"/>
                    </a:cubicBezTo>
                    <a:cubicBezTo>
                      <a:pt x="358184" y="1191605"/>
                      <a:pt x="360949" y="1186747"/>
                      <a:pt x="359843" y="1185128"/>
                    </a:cubicBezTo>
                    <a:cubicBezTo>
                      <a:pt x="359290" y="1184049"/>
                      <a:pt x="350994" y="1184049"/>
                      <a:pt x="347675" y="1180811"/>
                    </a:cubicBezTo>
                    <a:cubicBezTo>
                      <a:pt x="338826" y="1173794"/>
                      <a:pt x="347675" y="1158682"/>
                      <a:pt x="343250" y="1151665"/>
                    </a:cubicBezTo>
                    <a:cubicBezTo>
                      <a:pt x="338826" y="1148427"/>
                      <a:pt x="325552" y="1167857"/>
                      <a:pt x="318361" y="1170556"/>
                    </a:cubicBezTo>
                    <a:cubicBezTo>
                      <a:pt x="311724" y="1172715"/>
                      <a:pt x="310065" y="1159222"/>
                      <a:pt x="306746" y="1157063"/>
                    </a:cubicBezTo>
                    <a:cubicBezTo>
                      <a:pt x="306193" y="1156523"/>
                      <a:pt x="284623" y="1152205"/>
                      <a:pt x="281857" y="1151665"/>
                    </a:cubicBezTo>
                    <a:cubicBezTo>
                      <a:pt x="279092" y="1149507"/>
                      <a:pt x="275773" y="1147887"/>
                      <a:pt x="273561" y="1147887"/>
                    </a:cubicBezTo>
                    <a:cubicBezTo>
                      <a:pt x="272455" y="1147348"/>
                      <a:pt x="270795" y="1147887"/>
                      <a:pt x="269689" y="1147348"/>
                    </a:cubicBezTo>
                    <a:cubicBezTo>
                      <a:pt x="268583" y="1146808"/>
                      <a:pt x="266371" y="1140871"/>
                      <a:pt x="264711" y="1139792"/>
                    </a:cubicBezTo>
                    <a:cubicBezTo>
                      <a:pt x="257521" y="1136013"/>
                      <a:pt x="254756" y="1153824"/>
                      <a:pt x="245906" y="1147348"/>
                    </a:cubicBezTo>
                    <a:cubicBezTo>
                      <a:pt x="235398" y="1139252"/>
                      <a:pt x="238716" y="1126298"/>
                      <a:pt x="235398" y="1116044"/>
                    </a:cubicBezTo>
                    <a:cubicBezTo>
                      <a:pt x="233738" y="1110646"/>
                      <a:pt x="229867" y="1106329"/>
                      <a:pt x="227654" y="1100931"/>
                    </a:cubicBezTo>
                    <a:cubicBezTo>
                      <a:pt x="227101" y="1099312"/>
                      <a:pt x="226548" y="1096074"/>
                      <a:pt x="227101" y="1094455"/>
                    </a:cubicBezTo>
                    <a:cubicBezTo>
                      <a:pt x="227101" y="1089058"/>
                      <a:pt x="229867" y="1083121"/>
                      <a:pt x="229867" y="1077184"/>
                    </a:cubicBezTo>
                    <a:cubicBezTo>
                      <a:pt x="230420" y="1070167"/>
                      <a:pt x="229867" y="1062071"/>
                      <a:pt x="228760" y="1055595"/>
                    </a:cubicBezTo>
                    <a:cubicBezTo>
                      <a:pt x="227654" y="1050197"/>
                      <a:pt x="224336" y="1045340"/>
                      <a:pt x="223783" y="1039943"/>
                    </a:cubicBezTo>
                    <a:cubicBezTo>
                      <a:pt x="223783" y="1033466"/>
                      <a:pt x="228207" y="1026989"/>
                      <a:pt x="227101" y="1019973"/>
                    </a:cubicBezTo>
                    <a:cubicBezTo>
                      <a:pt x="225995" y="1015655"/>
                      <a:pt x="216592" y="1001083"/>
                      <a:pt x="213274" y="998384"/>
                    </a:cubicBezTo>
                    <a:cubicBezTo>
                      <a:pt x="206637" y="992447"/>
                      <a:pt x="196128" y="996225"/>
                      <a:pt x="198893" y="982732"/>
                    </a:cubicBezTo>
                    <a:cubicBezTo>
                      <a:pt x="199447" y="976255"/>
                      <a:pt x="200553" y="961143"/>
                      <a:pt x="198340" y="955206"/>
                    </a:cubicBezTo>
                    <a:cubicBezTo>
                      <a:pt x="193363" y="942793"/>
                      <a:pt x="184513" y="939554"/>
                      <a:pt x="181194" y="934157"/>
                    </a:cubicBezTo>
                    <a:cubicBezTo>
                      <a:pt x="178982" y="930379"/>
                      <a:pt x="170686" y="904472"/>
                      <a:pt x="171239" y="900694"/>
                    </a:cubicBezTo>
                    <a:cubicBezTo>
                      <a:pt x="171792" y="897995"/>
                      <a:pt x="175664" y="885582"/>
                      <a:pt x="177323" y="882883"/>
                    </a:cubicBezTo>
                    <a:cubicBezTo>
                      <a:pt x="178429" y="881264"/>
                      <a:pt x="180641" y="880185"/>
                      <a:pt x="181748" y="878026"/>
                    </a:cubicBezTo>
                    <a:cubicBezTo>
                      <a:pt x="185066" y="872089"/>
                      <a:pt x="178982" y="863453"/>
                      <a:pt x="180641" y="860215"/>
                    </a:cubicBezTo>
                    <a:cubicBezTo>
                      <a:pt x="181748" y="858596"/>
                      <a:pt x="187832" y="859135"/>
                      <a:pt x="189491" y="858056"/>
                    </a:cubicBezTo>
                    <a:cubicBezTo>
                      <a:pt x="189491" y="852659"/>
                      <a:pt x="183407" y="849420"/>
                      <a:pt x="183960" y="844023"/>
                    </a:cubicBezTo>
                    <a:cubicBezTo>
                      <a:pt x="190044" y="833768"/>
                      <a:pt x="197787" y="844023"/>
                      <a:pt x="206084" y="841325"/>
                    </a:cubicBezTo>
                    <a:cubicBezTo>
                      <a:pt x="209402" y="840245"/>
                      <a:pt x="219358" y="825673"/>
                      <a:pt x="219911" y="821894"/>
                    </a:cubicBezTo>
                    <a:cubicBezTo>
                      <a:pt x="220464" y="820275"/>
                      <a:pt x="219358" y="814878"/>
                      <a:pt x="218252" y="813259"/>
                    </a:cubicBezTo>
                    <a:cubicBezTo>
                      <a:pt x="216039" y="809481"/>
                      <a:pt x="210508" y="807322"/>
                      <a:pt x="207743" y="804084"/>
                    </a:cubicBezTo>
                    <a:lnTo>
                      <a:pt x="207743" y="801925"/>
                    </a:lnTo>
                    <a:cubicBezTo>
                      <a:pt x="211615" y="800306"/>
                      <a:pt x="216039" y="803004"/>
                      <a:pt x="218252" y="801925"/>
                    </a:cubicBezTo>
                    <a:cubicBezTo>
                      <a:pt x="224889" y="799226"/>
                      <a:pt x="218252" y="779796"/>
                      <a:pt x="223229" y="776018"/>
                    </a:cubicBezTo>
                    <a:cubicBezTo>
                      <a:pt x="227654" y="775478"/>
                      <a:pt x="232079" y="776018"/>
                      <a:pt x="235951" y="776018"/>
                    </a:cubicBezTo>
                    <a:cubicBezTo>
                      <a:pt x="237057" y="775478"/>
                      <a:pt x="237610" y="774939"/>
                      <a:pt x="238716" y="773859"/>
                    </a:cubicBezTo>
                    <a:cubicBezTo>
                      <a:pt x="239269" y="773319"/>
                      <a:pt x="245353" y="758207"/>
                      <a:pt x="247012" y="755509"/>
                    </a:cubicBezTo>
                    <a:cubicBezTo>
                      <a:pt x="248119" y="753350"/>
                      <a:pt x="250331" y="751730"/>
                      <a:pt x="251437" y="749032"/>
                    </a:cubicBezTo>
                    <a:cubicBezTo>
                      <a:pt x="253096" y="745794"/>
                      <a:pt x="252543" y="741476"/>
                      <a:pt x="254203" y="738237"/>
                    </a:cubicBezTo>
                    <a:cubicBezTo>
                      <a:pt x="256415" y="731221"/>
                      <a:pt x="261393" y="725284"/>
                      <a:pt x="263605" y="718807"/>
                    </a:cubicBezTo>
                    <a:cubicBezTo>
                      <a:pt x="265818" y="712870"/>
                      <a:pt x="267477" y="706394"/>
                      <a:pt x="268583" y="700457"/>
                    </a:cubicBezTo>
                    <a:cubicBezTo>
                      <a:pt x="269689" y="696139"/>
                      <a:pt x="279645" y="682646"/>
                      <a:pt x="282963" y="677249"/>
                    </a:cubicBezTo>
                    <a:cubicBezTo>
                      <a:pt x="285729" y="672391"/>
                      <a:pt x="287941" y="664835"/>
                      <a:pt x="290154" y="659438"/>
                    </a:cubicBezTo>
                    <a:cubicBezTo>
                      <a:pt x="294025" y="647024"/>
                      <a:pt x="287941" y="633531"/>
                      <a:pt x="294578" y="621117"/>
                    </a:cubicBezTo>
                    <a:cubicBezTo>
                      <a:pt x="297344" y="615720"/>
                      <a:pt x="308959" y="608164"/>
                      <a:pt x="315043" y="607624"/>
                    </a:cubicBezTo>
                    <a:cubicBezTo>
                      <a:pt x="317808" y="607085"/>
                      <a:pt x="332742" y="613561"/>
                      <a:pt x="329423" y="606545"/>
                    </a:cubicBezTo>
                    <a:cubicBezTo>
                      <a:pt x="328317" y="603846"/>
                      <a:pt x="322786" y="602227"/>
                      <a:pt x="319468" y="593052"/>
                    </a:cubicBezTo>
                    <a:cubicBezTo>
                      <a:pt x="316702" y="585496"/>
                      <a:pt x="313937" y="575241"/>
                      <a:pt x="312830" y="567685"/>
                    </a:cubicBezTo>
                    <a:cubicBezTo>
                      <a:pt x="311171" y="558510"/>
                      <a:pt x="313383" y="543937"/>
                      <a:pt x="305640" y="536921"/>
                    </a:cubicBezTo>
                    <a:cubicBezTo>
                      <a:pt x="305087" y="536381"/>
                      <a:pt x="299556" y="535841"/>
                      <a:pt x="298450" y="534762"/>
                    </a:cubicBezTo>
                    <a:cubicBezTo>
                      <a:pt x="294025" y="532603"/>
                      <a:pt x="290707" y="527745"/>
                      <a:pt x="285729" y="525047"/>
                    </a:cubicBezTo>
                    <a:cubicBezTo>
                      <a:pt x="279645" y="521808"/>
                      <a:pt x="268030" y="526126"/>
                      <a:pt x="266371" y="524507"/>
                    </a:cubicBezTo>
                    <a:cubicBezTo>
                      <a:pt x="261946" y="520189"/>
                      <a:pt x="264158" y="509934"/>
                      <a:pt x="255309" y="511554"/>
                    </a:cubicBezTo>
                    <a:cubicBezTo>
                      <a:pt x="245906" y="513712"/>
                      <a:pt x="246459" y="513173"/>
                      <a:pt x="239822" y="517491"/>
                    </a:cubicBezTo>
                    <a:cubicBezTo>
                      <a:pt x="222123" y="501299"/>
                      <a:pt x="226548" y="493743"/>
                      <a:pt x="215486" y="478091"/>
                    </a:cubicBezTo>
                    <a:cubicBezTo>
                      <a:pt x="212721" y="473773"/>
                      <a:pt x="204424" y="473233"/>
                      <a:pt x="201106" y="465137"/>
                    </a:cubicBezTo>
                    <a:cubicBezTo>
                      <a:pt x="199447" y="461359"/>
                      <a:pt x="197787" y="446787"/>
                      <a:pt x="198340" y="443009"/>
                    </a:cubicBezTo>
                    <a:cubicBezTo>
                      <a:pt x="198893" y="439770"/>
                      <a:pt x="202765" y="430055"/>
                      <a:pt x="202765" y="428436"/>
                    </a:cubicBezTo>
                    <a:cubicBezTo>
                      <a:pt x="202765" y="424658"/>
                      <a:pt x="200000" y="421960"/>
                      <a:pt x="199447" y="417642"/>
                    </a:cubicBezTo>
                    <a:cubicBezTo>
                      <a:pt x="198340" y="412244"/>
                      <a:pt x="200553" y="405228"/>
                      <a:pt x="198340" y="399831"/>
                    </a:cubicBezTo>
                    <a:cubicBezTo>
                      <a:pt x="195575" y="392814"/>
                      <a:pt x="175110" y="370686"/>
                      <a:pt x="167920" y="367447"/>
                    </a:cubicBezTo>
                    <a:close/>
                    <a:moveTo>
                      <a:pt x="315043" y="1178112"/>
                    </a:moveTo>
                    <a:cubicBezTo>
                      <a:pt x="316149" y="1175953"/>
                      <a:pt x="331636" y="1171095"/>
                      <a:pt x="334401" y="1170556"/>
                    </a:cubicBezTo>
                    <a:cubicBezTo>
                      <a:pt x="334954" y="1174334"/>
                      <a:pt x="334401" y="1185128"/>
                      <a:pt x="332742" y="1187827"/>
                    </a:cubicBezTo>
                    <a:cubicBezTo>
                      <a:pt x="331636" y="1189986"/>
                      <a:pt x="324998" y="1194843"/>
                      <a:pt x="322786" y="1195923"/>
                    </a:cubicBezTo>
                    <a:cubicBezTo>
                      <a:pt x="321680" y="1196462"/>
                      <a:pt x="316702" y="1196462"/>
                      <a:pt x="315043" y="1195923"/>
                    </a:cubicBezTo>
                    <a:cubicBezTo>
                      <a:pt x="313937" y="1191605"/>
                      <a:pt x="313383" y="1180811"/>
                      <a:pt x="315043" y="1178112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2" name="Freeform 1084">
                <a:extLst>
                  <a:ext uri="{FF2B5EF4-FFF2-40B4-BE49-F238E27FC236}">
                    <a16:creationId xmlns:a16="http://schemas.microsoft.com/office/drawing/2014/main" id="{90D2400A-3916-436C-9BD4-FC33C3461275}"/>
                  </a:ext>
                </a:extLst>
              </p:cNvPr>
              <p:cNvSpPr/>
              <p:nvPr/>
            </p:nvSpPr>
            <p:spPr>
              <a:xfrm>
                <a:off x="5192239" y="3782444"/>
                <a:ext cx="1166484" cy="1159154"/>
              </a:xfrm>
              <a:custGeom>
                <a:avLst/>
                <a:gdLst>
                  <a:gd name="connsiteX0" fmla="*/ 1083469 w 1166484"/>
                  <a:gd name="connsiteY0" fmla="*/ 1087143 h 1159154"/>
                  <a:gd name="connsiteX1" fmla="*/ 1089553 w 1166484"/>
                  <a:gd name="connsiteY1" fmla="*/ 1077428 h 1159154"/>
                  <a:gd name="connsiteX2" fmla="*/ 1078491 w 1166484"/>
                  <a:gd name="connsiteY2" fmla="*/ 1065555 h 1159154"/>
                  <a:gd name="connsiteX3" fmla="*/ 1079044 w 1166484"/>
                  <a:gd name="connsiteY3" fmla="*/ 1056379 h 1159154"/>
                  <a:gd name="connsiteX4" fmla="*/ 1082916 w 1166484"/>
                  <a:gd name="connsiteY4" fmla="*/ 1051522 h 1159154"/>
                  <a:gd name="connsiteX5" fmla="*/ 1078491 w 1166484"/>
                  <a:gd name="connsiteY5" fmla="*/ 1038568 h 1159154"/>
                  <a:gd name="connsiteX6" fmla="*/ 1089000 w 1166484"/>
                  <a:gd name="connsiteY6" fmla="*/ 1026155 h 1159154"/>
                  <a:gd name="connsiteX7" fmla="*/ 1092871 w 1166484"/>
                  <a:gd name="connsiteY7" fmla="*/ 1019138 h 1159154"/>
                  <a:gd name="connsiteX8" fmla="*/ 1097296 w 1166484"/>
                  <a:gd name="connsiteY8" fmla="*/ 1016979 h 1159154"/>
                  <a:gd name="connsiteX9" fmla="*/ 1121079 w 1166484"/>
                  <a:gd name="connsiteY9" fmla="*/ 1001327 h 1159154"/>
                  <a:gd name="connsiteX10" fmla="*/ 1136013 w 1166484"/>
                  <a:gd name="connsiteY10" fmla="*/ 1004026 h 1159154"/>
                  <a:gd name="connsiteX11" fmla="*/ 1143203 w 1166484"/>
                  <a:gd name="connsiteY11" fmla="*/ 1000248 h 1159154"/>
                  <a:gd name="connsiteX12" fmla="*/ 1151499 w 1166484"/>
                  <a:gd name="connsiteY12" fmla="*/ 968944 h 1159154"/>
                  <a:gd name="connsiteX13" fmla="*/ 1154818 w 1166484"/>
                  <a:gd name="connsiteY13" fmla="*/ 972182 h 1159154"/>
                  <a:gd name="connsiteX14" fmla="*/ 1156477 w 1166484"/>
                  <a:gd name="connsiteY14" fmla="*/ 1013201 h 1159154"/>
                  <a:gd name="connsiteX15" fmla="*/ 1162008 w 1166484"/>
                  <a:gd name="connsiteY15" fmla="*/ 1031552 h 1159154"/>
                  <a:gd name="connsiteX16" fmla="*/ 1164220 w 1166484"/>
                  <a:gd name="connsiteY16" fmla="*/ 1035870 h 1159154"/>
                  <a:gd name="connsiteX17" fmla="*/ 1165880 w 1166484"/>
                  <a:gd name="connsiteY17" fmla="*/ 1067174 h 1159154"/>
                  <a:gd name="connsiteX18" fmla="*/ 1153711 w 1166484"/>
                  <a:gd name="connsiteY18" fmla="*/ 1096319 h 1159154"/>
                  <a:gd name="connsiteX19" fmla="*/ 1151499 w 1166484"/>
                  <a:gd name="connsiteY19" fmla="*/ 1119527 h 1159154"/>
                  <a:gd name="connsiteX20" fmla="*/ 1145968 w 1166484"/>
                  <a:gd name="connsiteY20" fmla="*/ 1147053 h 1159154"/>
                  <a:gd name="connsiteX21" fmla="*/ 1134906 w 1166484"/>
                  <a:gd name="connsiteY21" fmla="*/ 1157847 h 1159154"/>
                  <a:gd name="connsiteX22" fmla="*/ 1123845 w 1166484"/>
                  <a:gd name="connsiteY22" fmla="*/ 1148672 h 1159154"/>
                  <a:gd name="connsiteX23" fmla="*/ 1111123 w 1166484"/>
                  <a:gd name="connsiteY23" fmla="*/ 1144354 h 1159154"/>
                  <a:gd name="connsiteX24" fmla="*/ 1101721 w 1166484"/>
                  <a:gd name="connsiteY24" fmla="*/ 1137877 h 1159154"/>
                  <a:gd name="connsiteX25" fmla="*/ 1099508 w 1166484"/>
                  <a:gd name="connsiteY25" fmla="*/ 1135179 h 1159154"/>
                  <a:gd name="connsiteX26" fmla="*/ 1107805 w 1166484"/>
                  <a:gd name="connsiteY26" fmla="*/ 1122226 h 1159154"/>
                  <a:gd name="connsiteX27" fmla="*/ 1089553 w 1166484"/>
                  <a:gd name="connsiteY27" fmla="*/ 1117368 h 1159154"/>
                  <a:gd name="connsiteX28" fmla="*/ 1088447 w 1166484"/>
                  <a:gd name="connsiteY28" fmla="*/ 1113050 h 1159154"/>
                  <a:gd name="connsiteX29" fmla="*/ 1093978 w 1166484"/>
                  <a:gd name="connsiteY29" fmla="*/ 1106574 h 1159154"/>
                  <a:gd name="connsiteX30" fmla="*/ 1093424 w 1166484"/>
                  <a:gd name="connsiteY30" fmla="*/ 1093620 h 1159154"/>
                  <a:gd name="connsiteX31" fmla="*/ 1083469 w 1166484"/>
                  <a:gd name="connsiteY31" fmla="*/ 1092001 h 1159154"/>
                  <a:gd name="connsiteX32" fmla="*/ 1083469 w 1166484"/>
                  <a:gd name="connsiteY32" fmla="*/ 1087143 h 1159154"/>
                  <a:gd name="connsiteX33" fmla="*/ 895971 w 1166484"/>
                  <a:gd name="connsiteY33" fmla="*/ 502623 h 1159154"/>
                  <a:gd name="connsiteX34" fmla="*/ 894864 w 1166484"/>
                  <a:gd name="connsiteY34" fmla="*/ 523672 h 1159154"/>
                  <a:gd name="connsiteX35" fmla="*/ 874953 w 1166484"/>
                  <a:gd name="connsiteY35" fmla="*/ 534467 h 1159154"/>
                  <a:gd name="connsiteX36" fmla="*/ 862785 w 1166484"/>
                  <a:gd name="connsiteY36" fmla="*/ 557675 h 1159154"/>
                  <a:gd name="connsiteX37" fmla="*/ 866104 w 1166484"/>
                  <a:gd name="connsiteY37" fmla="*/ 570089 h 1159154"/>
                  <a:gd name="connsiteX38" fmla="*/ 861679 w 1166484"/>
                  <a:gd name="connsiteY38" fmla="*/ 584121 h 1159154"/>
                  <a:gd name="connsiteX39" fmla="*/ 852829 w 1166484"/>
                  <a:gd name="connsiteY39" fmla="*/ 588439 h 1159154"/>
                  <a:gd name="connsiteX40" fmla="*/ 853382 w 1166484"/>
                  <a:gd name="connsiteY40" fmla="*/ 596535 h 1159154"/>
                  <a:gd name="connsiteX41" fmla="*/ 865551 w 1166484"/>
                  <a:gd name="connsiteY41" fmla="*/ 599234 h 1159154"/>
                  <a:gd name="connsiteX42" fmla="*/ 879931 w 1166484"/>
                  <a:gd name="connsiteY42" fmla="*/ 588979 h 1159154"/>
                  <a:gd name="connsiteX43" fmla="*/ 876059 w 1166484"/>
                  <a:gd name="connsiteY43" fmla="*/ 579804 h 1159154"/>
                  <a:gd name="connsiteX44" fmla="*/ 874400 w 1166484"/>
                  <a:gd name="connsiteY44" fmla="*/ 576025 h 1159154"/>
                  <a:gd name="connsiteX45" fmla="*/ 881590 w 1166484"/>
                  <a:gd name="connsiteY45" fmla="*/ 566310 h 1159154"/>
                  <a:gd name="connsiteX46" fmla="*/ 900948 w 1166484"/>
                  <a:gd name="connsiteY46" fmla="*/ 561453 h 1159154"/>
                  <a:gd name="connsiteX47" fmla="*/ 912010 w 1166484"/>
                  <a:gd name="connsiteY47" fmla="*/ 561453 h 1159154"/>
                  <a:gd name="connsiteX48" fmla="*/ 921966 w 1166484"/>
                  <a:gd name="connsiteY48" fmla="*/ 564691 h 1159154"/>
                  <a:gd name="connsiteX49" fmla="*/ 921413 w 1166484"/>
                  <a:gd name="connsiteY49" fmla="*/ 567390 h 1159154"/>
                  <a:gd name="connsiteX50" fmla="*/ 919754 w 1166484"/>
                  <a:gd name="connsiteY50" fmla="*/ 575486 h 1159154"/>
                  <a:gd name="connsiteX51" fmla="*/ 926391 w 1166484"/>
                  <a:gd name="connsiteY51" fmla="*/ 586280 h 1159154"/>
                  <a:gd name="connsiteX52" fmla="*/ 920860 w 1166484"/>
                  <a:gd name="connsiteY52" fmla="*/ 596535 h 1159154"/>
                  <a:gd name="connsiteX53" fmla="*/ 929709 w 1166484"/>
                  <a:gd name="connsiteY53" fmla="*/ 603551 h 1159154"/>
                  <a:gd name="connsiteX54" fmla="*/ 931922 w 1166484"/>
                  <a:gd name="connsiteY54" fmla="*/ 610568 h 1159154"/>
                  <a:gd name="connsiteX55" fmla="*/ 939665 w 1166484"/>
                  <a:gd name="connsiteY55" fmla="*/ 618124 h 1159154"/>
                  <a:gd name="connsiteX56" fmla="*/ 939665 w 1166484"/>
                  <a:gd name="connsiteY56" fmla="*/ 628379 h 1159154"/>
                  <a:gd name="connsiteX57" fmla="*/ 921413 w 1166484"/>
                  <a:gd name="connsiteY57" fmla="*/ 646190 h 1159154"/>
                  <a:gd name="connsiteX58" fmla="*/ 935793 w 1166484"/>
                  <a:gd name="connsiteY58" fmla="*/ 660762 h 1159154"/>
                  <a:gd name="connsiteX59" fmla="*/ 934687 w 1166484"/>
                  <a:gd name="connsiteY59" fmla="*/ 673176 h 1159154"/>
                  <a:gd name="connsiteX60" fmla="*/ 940218 w 1166484"/>
                  <a:gd name="connsiteY60" fmla="*/ 679113 h 1159154"/>
                  <a:gd name="connsiteX61" fmla="*/ 947961 w 1166484"/>
                  <a:gd name="connsiteY61" fmla="*/ 686669 h 1159154"/>
                  <a:gd name="connsiteX62" fmla="*/ 946302 w 1166484"/>
                  <a:gd name="connsiteY62" fmla="*/ 703940 h 1159154"/>
                  <a:gd name="connsiteX63" fmla="*/ 925838 w 1166484"/>
                  <a:gd name="connsiteY63" fmla="*/ 718512 h 1159154"/>
                  <a:gd name="connsiteX64" fmla="*/ 906479 w 1166484"/>
                  <a:gd name="connsiteY64" fmla="*/ 717973 h 1159154"/>
                  <a:gd name="connsiteX65" fmla="*/ 909245 w 1166484"/>
                  <a:gd name="connsiteY65" fmla="*/ 731466 h 1159154"/>
                  <a:gd name="connsiteX66" fmla="*/ 921413 w 1166484"/>
                  <a:gd name="connsiteY66" fmla="*/ 751975 h 1159154"/>
                  <a:gd name="connsiteX67" fmla="*/ 936346 w 1166484"/>
                  <a:gd name="connsiteY67" fmla="*/ 754674 h 1159154"/>
                  <a:gd name="connsiteX68" fmla="*/ 939665 w 1166484"/>
                  <a:gd name="connsiteY68" fmla="*/ 773564 h 1159154"/>
                  <a:gd name="connsiteX69" fmla="*/ 926391 w 1166484"/>
                  <a:gd name="connsiteY69" fmla="*/ 790835 h 1159154"/>
                  <a:gd name="connsiteX70" fmla="*/ 929709 w 1166484"/>
                  <a:gd name="connsiteY70" fmla="*/ 815123 h 1159154"/>
                  <a:gd name="connsiteX71" fmla="*/ 936899 w 1166484"/>
                  <a:gd name="connsiteY71" fmla="*/ 824838 h 1159154"/>
                  <a:gd name="connsiteX72" fmla="*/ 970085 w 1166484"/>
                  <a:gd name="connsiteY72" fmla="*/ 838871 h 1159154"/>
                  <a:gd name="connsiteX73" fmla="*/ 997186 w 1166484"/>
                  <a:gd name="connsiteY73" fmla="*/ 832394 h 1159154"/>
                  <a:gd name="connsiteX74" fmla="*/ 999399 w 1166484"/>
                  <a:gd name="connsiteY74" fmla="*/ 838331 h 1159154"/>
                  <a:gd name="connsiteX75" fmla="*/ 999952 w 1166484"/>
                  <a:gd name="connsiteY75" fmla="*/ 845887 h 1159154"/>
                  <a:gd name="connsiteX76" fmla="*/ 984465 w 1166484"/>
                  <a:gd name="connsiteY76" fmla="*/ 865317 h 1159154"/>
                  <a:gd name="connsiteX77" fmla="*/ 984465 w 1166484"/>
                  <a:gd name="connsiteY77" fmla="*/ 877731 h 1159154"/>
                  <a:gd name="connsiteX78" fmla="*/ 977275 w 1166484"/>
                  <a:gd name="connsiteY78" fmla="*/ 879890 h 1159154"/>
                  <a:gd name="connsiteX79" fmla="*/ 972850 w 1166484"/>
                  <a:gd name="connsiteY79" fmla="*/ 876651 h 1159154"/>
                  <a:gd name="connsiteX80" fmla="*/ 967873 w 1166484"/>
                  <a:gd name="connsiteY80" fmla="*/ 880969 h 1159154"/>
                  <a:gd name="connsiteX81" fmla="*/ 969532 w 1166484"/>
                  <a:gd name="connsiteY81" fmla="*/ 888525 h 1159154"/>
                  <a:gd name="connsiteX82" fmla="*/ 952939 w 1166484"/>
                  <a:gd name="connsiteY82" fmla="*/ 886366 h 1159154"/>
                  <a:gd name="connsiteX83" fmla="*/ 948514 w 1166484"/>
                  <a:gd name="connsiteY83" fmla="*/ 902018 h 1159154"/>
                  <a:gd name="connsiteX84" fmla="*/ 939665 w 1166484"/>
                  <a:gd name="connsiteY84" fmla="*/ 901479 h 1159154"/>
                  <a:gd name="connsiteX85" fmla="*/ 930262 w 1166484"/>
                  <a:gd name="connsiteY85" fmla="*/ 912813 h 1159154"/>
                  <a:gd name="connsiteX86" fmla="*/ 914776 w 1166484"/>
                  <a:gd name="connsiteY86" fmla="*/ 918210 h 1159154"/>
                  <a:gd name="connsiteX87" fmla="*/ 909245 w 1166484"/>
                  <a:gd name="connsiteY87" fmla="*/ 927925 h 1159154"/>
                  <a:gd name="connsiteX88" fmla="*/ 904267 w 1166484"/>
                  <a:gd name="connsiteY88" fmla="*/ 932243 h 1159154"/>
                  <a:gd name="connsiteX89" fmla="*/ 906479 w 1166484"/>
                  <a:gd name="connsiteY89" fmla="*/ 937640 h 1159154"/>
                  <a:gd name="connsiteX90" fmla="*/ 903714 w 1166484"/>
                  <a:gd name="connsiteY90" fmla="*/ 946815 h 1159154"/>
                  <a:gd name="connsiteX91" fmla="*/ 892099 w 1166484"/>
                  <a:gd name="connsiteY91" fmla="*/ 945196 h 1159154"/>
                  <a:gd name="connsiteX92" fmla="*/ 879378 w 1166484"/>
                  <a:gd name="connsiteY92" fmla="*/ 954911 h 1159154"/>
                  <a:gd name="connsiteX93" fmla="*/ 866104 w 1166484"/>
                  <a:gd name="connsiteY93" fmla="*/ 952752 h 1159154"/>
                  <a:gd name="connsiteX94" fmla="*/ 859467 w 1166484"/>
                  <a:gd name="connsiteY94" fmla="*/ 959769 h 1159154"/>
                  <a:gd name="connsiteX95" fmla="*/ 841214 w 1166484"/>
                  <a:gd name="connsiteY95" fmla="*/ 954372 h 1159154"/>
                  <a:gd name="connsiteX96" fmla="*/ 835130 w 1166484"/>
                  <a:gd name="connsiteY96" fmla="*/ 958150 h 1159154"/>
                  <a:gd name="connsiteX97" fmla="*/ 829046 w 1166484"/>
                  <a:gd name="connsiteY97" fmla="*/ 952752 h 1159154"/>
                  <a:gd name="connsiteX98" fmla="*/ 821303 w 1166484"/>
                  <a:gd name="connsiteY98" fmla="*/ 950054 h 1159154"/>
                  <a:gd name="connsiteX99" fmla="*/ 818538 w 1166484"/>
                  <a:gd name="connsiteY99" fmla="*/ 945196 h 1159154"/>
                  <a:gd name="connsiteX100" fmla="*/ 794755 w 1166484"/>
                  <a:gd name="connsiteY100" fmla="*/ 943037 h 1159154"/>
                  <a:gd name="connsiteX101" fmla="*/ 791989 w 1166484"/>
                  <a:gd name="connsiteY101" fmla="*/ 925226 h 1159154"/>
                  <a:gd name="connsiteX102" fmla="*/ 790330 w 1166484"/>
                  <a:gd name="connsiteY102" fmla="*/ 923607 h 1159154"/>
                  <a:gd name="connsiteX103" fmla="*/ 770972 w 1166484"/>
                  <a:gd name="connsiteY103" fmla="*/ 924147 h 1159154"/>
                  <a:gd name="connsiteX104" fmla="*/ 767100 w 1166484"/>
                  <a:gd name="connsiteY104" fmla="*/ 925226 h 1159154"/>
                  <a:gd name="connsiteX105" fmla="*/ 759910 w 1166484"/>
                  <a:gd name="connsiteY105" fmla="*/ 920909 h 1159154"/>
                  <a:gd name="connsiteX106" fmla="*/ 780927 w 1166484"/>
                  <a:gd name="connsiteY106" fmla="*/ 913892 h 1159154"/>
                  <a:gd name="connsiteX107" fmla="*/ 762675 w 1166484"/>
                  <a:gd name="connsiteY107" fmla="*/ 899320 h 1159154"/>
                  <a:gd name="connsiteX108" fmla="*/ 759357 w 1166484"/>
                  <a:gd name="connsiteY108" fmla="*/ 911733 h 1159154"/>
                  <a:gd name="connsiteX109" fmla="*/ 751614 w 1166484"/>
                  <a:gd name="connsiteY109" fmla="*/ 913353 h 1159154"/>
                  <a:gd name="connsiteX110" fmla="*/ 725065 w 1166484"/>
                  <a:gd name="connsiteY110" fmla="*/ 917670 h 1159154"/>
                  <a:gd name="connsiteX111" fmla="*/ 724512 w 1166484"/>
                  <a:gd name="connsiteY111" fmla="*/ 909035 h 1159154"/>
                  <a:gd name="connsiteX112" fmla="*/ 692986 w 1166484"/>
                  <a:gd name="connsiteY112" fmla="*/ 906336 h 1159154"/>
                  <a:gd name="connsiteX113" fmla="*/ 670862 w 1166484"/>
                  <a:gd name="connsiteY113" fmla="*/ 891764 h 1159154"/>
                  <a:gd name="connsiteX114" fmla="*/ 628274 w 1166484"/>
                  <a:gd name="connsiteY114" fmla="*/ 926306 h 1159154"/>
                  <a:gd name="connsiteX115" fmla="*/ 616659 w 1166484"/>
                  <a:gd name="connsiteY115" fmla="*/ 924687 h 1159154"/>
                  <a:gd name="connsiteX116" fmla="*/ 608363 w 1166484"/>
                  <a:gd name="connsiteY116" fmla="*/ 929005 h 1159154"/>
                  <a:gd name="connsiteX117" fmla="*/ 581814 w 1166484"/>
                  <a:gd name="connsiteY117" fmla="*/ 970563 h 1159154"/>
                  <a:gd name="connsiteX118" fmla="*/ 589005 w 1166484"/>
                  <a:gd name="connsiteY118" fmla="*/ 980278 h 1159154"/>
                  <a:gd name="connsiteX119" fmla="*/ 584580 w 1166484"/>
                  <a:gd name="connsiteY119" fmla="*/ 1001327 h 1159154"/>
                  <a:gd name="connsiteX120" fmla="*/ 593429 w 1166484"/>
                  <a:gd name="connsiteY120" fmla="*/ 1021837 h 1159154"/>
                  <a:gd name="connsiteX121" fmla="*/ 570199 w 1166484"/>
                  <a:gd name="connsiteY121" fmla="*/ 1017519 h 1159154"/>
                  <a:gd name="connsiteX122" fmla="*/ 557478 w 1166484"/>
                  <a:gd name="connsiteY122" fmla="*/ 1023456 h 1159154"/>
                  <a:gd name="connsiteX123" fmla="*/ 551947 w 1166484"/>
                  <a:gd name="connsiteY123" fmla="*/ 1033711 h 1159154"/>
                  <a:gd name="connsiteX124" fmla="*/ 517656 w 1166484"/>
                  <a:gd name="connsiteY124" fmla="*/ 1019138 h 1159154"/>
                  <a:gd name="connsiteX125" fmla="*/ 497744 w 1166484"/>
                  <a:gd name="connsiteY125" fmla="*/ 1026694 h 1159154"/>
                  <a:gd name="connsiteX126" fmla="*/ 486129 w 1166484"/>
                  <a:gd name="connsiteY126" fmla="*/ 1014821 h 1159154"/>
                  <a:gd name="connsiteX127" fmla="*/ 468430 w 1166484"/>
                  <a:gd name="connsiteY127" fmla="*/ 1008884 h 1159154"/>
                  <a:gd name="connsiteX128" fmla="*/ 470643 w 1166484"/>
                  <a:gd name="connsiteY128" fmla="*/ 997010 h 1159154"/>
                  <a:gd name="connsiteX129" fmla="*/ 470643 w 1166484"/>
                  <a:gd name="connsiteY129" fmla="*/ 994851 h 1159154"/>
                  <a:gd name="connsiteX130" fmla="*/ 452391 w 1166484"/>
                  <a:gd name="connsiteY130" fmla="*/ 987295 h 1159154"/>
                  <a:gd name="connsiteX131" fmla="*/ 444094 w 1166484"/>
                  <a:gd name="connsiteY131" fmla="*/ 994851 h 1159154"/>
                  <a:gd name="connsiteX132" fmla="*/ 437457 w 1166484"/>
                  <a:gd name="connsiteY132" fmla="*/ 978659 h 1159154"/>
                  <a:gd name="connsiteX133" fmla="*/ 421971 w 1166484"/>
                  <a:gd name="connsiteY133" fmla="*/ 976500 h 1159154"/>
                  <a:gd name="connsiteX134" fmla="*/ 413121 w 1166484"/>
                  <a:gd name="connsiteY134" fmla="*/ 970563 h 1159154"/>
                  <a:gd name="connsiteX135" fmla="*/ 386020 w 1166484"/>
                  <a:gd name="connsiteY135" fmla="*/ 960308 h 1159154"/>
                  <a:gd name="connsiteX136" fmla="*/ 379383 w 1166484"/>
                  <a:gd name="connsiteY136" fmla="*/ 959229 h 1159154"/>
                  <a:gd name="connsiteX137" fmla="*/ 375511 w 1166484"/>
                  <a:gd name="connsiteY137" fmla="*/ 974341 h 1159154"/>
                  <a:gd name="connsiteX138" fmla="*/ 372746 w 1166484"/>
                  <a:gd name="connsiteY138" fmla="*/ 973802 h 1159154"/>
                  <a:gd name="connsiteX139" fmla="*/ 353387 w 1166484"/>
                  <a:gd name="connsiteY139" fmla="*/ 971103 h 1159154"/>
                  <a:gd name="connsiteX140" fmla="*/ 346197 w 1166484"/>
                  <a:gd name="connsiteY140" fmla="*/ 975960 h 1159154"/>
                  <a:gd name="connsiteX141" fmla="*/ 337348 w 1166484"/>
                  <a:gd name="connsiteY141" fmla="*/ 971643 h 1159154"/>
                  <a:gd name="connsiteX142" fmla="*/ 310246 w 1166484"/>
                  <a:gd name="connsiteY142" fmla="*/ 968944 h 1159154"/>
                  <a:gd name="connsiteX143" fmla="*/ 298078 w 1166484"/>
                  <a:gd name="connsiteY143" fmla="*/ 955991 h 1159154"/>
                  <a:gd name="connsiteX144" fmla="*/ 268211 w 1166484"/>
                  <a:gd name="connsiteY144" fmla="*/ 953832 h 1159154"/>
                  <a:gd name="connsiteX145" fmla="*/ 256596 w 1166484"/>
                  <a:gd name="connsiteY145" fmla="*/ 943577 h 1159154"/>
                  <a:gd name="connsiteX146" fmla="*/ 253831 w 1166484"/>
                  <a:gd name="connsiteY146" fmla="*/ 935481 h 1159154"/>
                  <a:gd name="connsiteX147" fmla="*/ 252725 w 1166484"/>
                  <a:gd name="connsiteY147" fmla="*/ 931703 h 1159154"/>
                  <a:gd name="connsiteX148" fmla="*/ 228942 w 1166484"/>
                  <a:gd name="connsiteY148" fmla="*/ 928465 h 1159154"/>
                  <a:gd name="connsiteX149" fmla="*/ 209583 w 1166484"/>
                  <a:gd name="connsiteY149" fmla="*/ 916051 h 1159154"/>
                  <a:gd name="connsiteX150" fmla="*/ 193544 w 1166484"/>
                  <a:gd name="connsiteY150" fmla="*/ 915511 h 1159154"/>
                  <a:gd name="connsiteX151" fmla="*/ 202393 w 1166484"/>
                  <a:gd name="connsiteY151" fmla="*/ 890144 h 1159154"/>
                  <a:gd name="connsiteX152" fmla="*/ 175292 w 1166484"/>
                  <a:gd name="connsiteY152" fmla="*/ 884207 h 1159154"/>
                  <a:gd name="connsiteX153" fmla="*/ 171420 w 1166484"/>
                  <a:gd name="connsiteY153" fmla="*/ 882588 h 1159154"/>
                  <a:gd name="connsiteX154" fmla="*/ 164230 w 1166484"/>
                  <a:gd name="connsiteY154" fmla="*/ 875032 h 1159154"/>
                  <a:gd name="connsiteX155" fmla="*/ 180823 w 1166484"/>
                  <a:gd name="connsiteY155" fmla="*/ 867476 h 1159154"/>
                  <a:gd name="connsiteX156" fmla="*/ 184141 w 1166484"/>
                  <a:gd name="connsiteY156" fmla="*/ 863698 h 1159154"/>
                  <a:gd name="connsiteX157" fmla="*/ 192438 w 1166484"/>
                  <a:gd name="connsiteY157" fmla="*/ 858841 h 1159154"/>
                  <a:gd name="connsiteX158" fmla="*/ 203499 w 1166484"/>
                  <a:gd name="connsiteY158" fmla="*/ 831315 h 1159154"/>
                  <a:gd name="connsiteX159" fmla="*/ 226176 w 1166484"/>
                  <a:gd name="connsiteY159" fmla="*/ 751975 h 1159154"/>
                  <a:gd name="connsiteX160" fmla="*/ 236132 w 1166484"/>
                  <a:gd name="connsiteY160" fmla="*/ 734164 h 1159154"/>
                  <a:gd name="connsiteX161" fmla="*/ 243875 w 1166484"/>
                  <a:gd name="connsiteY161" fmla="*/ 730386 h 1159154"/>
                  <a:gd name="connsiteX162" fmla="*/ 237791 w 1166484"/>
                  <a:gd name="connsiteY162" fmla="*/ 720132 h 1159154"/>
                  <a:gd name="connsiteX163" fmla="*/ 231707 w 1166484"/>
                  <a:gd name="connsiteY163" fmla="*/ 728227 h 1159154"/>
                  <a:gd name="connsiteX164" fmla="*/ 227282 w 1166484"/>
                  <a:gd name="connsiteY164" fmla="*/ 732006 h 1159154"/>
                  <a:gd name="connsiteX165" fmla="*/ 228388 w 1166484"/>
                  <a:gd name="connsiteY165" fmla="*/ 715274 h 1159154"/>
                  <a:gd name="connsiteX166" fmla="*/ 244981 w 1166484"/>
                  <a:gd name="connsiteY166" fmla="*/ 648348 h 1159154"/>
                  <a:gd name="connsiteX167" fmla="*/ 252171 w 1166484"/>
                  <a:gd name="connsiteY167" fmla="*/ 633776 h 1159154"/>
                  <a:gd name="connsiteX168" fmla="*/ 256043 w 1166484"/>
                  <a:gd name="connsiteY168" fmla="*/ 633236 h 1159154"/>
                  <a:gd name="connsiteX169" fmla="*/ 260468 w 1166484"/>
                  <a:gd name="connsiteY169" fmla="*/ 641872 h 1159154"/>
                  <a:gd name="connsiteX170" fmla="*/ 272083 w 1166484"/>
                  <a:gd name="connsiteY170" fmla="*/ 653206 h 1159154"/>
                  <a:gd name="connsiteX171" fmla="*/ 282592 w 1166484"/>
                  <a:gd name="connsiteY171" fmla="*/ 693145 h 1159154"/>
                  <a:gd name="connsiteX172" fmla="*/ 289229 w 1166484"/>
                  <a:gd name="connsiteY172" fmla="*/ 699082 h 1159154"/>
                  <a:gd name="connsiteX173" fmla="*/ 296419 w 1166484"/>
                  <a:gd name="connsiteY173" fmla="*/ 702321 h 1159154"/>
                  <a:gd name="connsiteX174" fmla="*/ 288122 w 1166484"/>
                  <a:gd name="connsiteY174" fmla="*/ 683970 h 1159154"/>
                  <a:gd name="connsiteX175" fmla="*/ 284251 w 1166484"/>
                  <a:gd name="connsiteY175" fmla="*/ 665620 h 1159154"/>
                  <a:gd name="connsiteX176" fmla="*/ 283145 w 1166484"/>
                  <a:gd name="connsiteY176" fmla="*/ 658063 h 1159154"/>
                  <a:gd name="connsiteX177" fmla="*/ 260468 w 1166484"/>
                  <a:gd name="connsiteY177" fmla="*/ 619743 h 1159154"/>
                  <a:gd name="connsiteX178" fmla="*/ 245534 w 1166484"/>
                  <a:gd name="connsiteY178" fmla="*/ 612727 h 1159154"/>
                  <a:gd name="connsiteX179" fmla="*/ 247194 w 1166484"/>
                  <a:gd name="connsiteY179" fmla="*/ 600313 h 1159154"/>
                  <a:gd name="connsiteX180" fmla="*/ 244981 w 1166484"/>
                  <a:gd name="connsiteY180" fmla="*/ 591677 h 1159154"/>
                  <a:gd name="connsiteX181" fmla="*/ 237238 w 1166484"/>
                  <a:gd name="connsiteY181" fmla="*/ 583582 h 1159154"/>
                  <a:gd name="connsiteX182" fmla="*/ 235579 w 1166484"/>
                  <a:gd name="connsiteY182" fmla="*/ 570089 h 1159154"/>
                  <a:gd name="connsiteX183" fmla="*/ 240557 w 1166484"/>
                  <a:gd name="connsiteY183" fmla="*/ 568469 h 1159154"/>
                  <a:gd name="connsiteX184" fmla="*/ 251618 w 1166484"/>
                  <a:gd name="connsiteY184" fmla="*/ 587360 h 1159154"/>
                  <a:gd name="connsiteX185" fmla="*/ 257149 w 1166484"/>
                  <a:gd name="connsiteY185" fmla="*/ 588979 h 1159154"/>
                  <a:gd name="connsiteX186" fmla="*/ 258809 w 1166484"/>
                  <a:gd name="connsiteY186" fmla="*/ 588439 h 1159154"/>
                  <a:gd name="connsiteX187" fmla="*/ 258255 w 1166484"/>
                  <a:gd name="connsiteY187" fmla="*/ 574406 h 1159154"/>
                  <a:gd name="connsiteX188" fmla="*/ 261021 w 1166484"/>
                  <a:gd name="connsiteY188" fmla="*/ 566310 h 1159154"/>
                  <a:gd name="connsiteX189" fmla="*/ 252725 w 1166484"/>
                  <a:gd name="connsiteY189" fmla="*/ 555516 h 1159154"/>
                  <a:gd name="connsiteX190" fmla="*/ 262127 w 1166484"/>
                  <a:gd name="connsiteY190" fmla="*/ 541483 h 1159154"/>
                  <a:gd name="connsiteX191" fmla="*/ 254384 w 1166484"/>
                  <a:gd name="connsiteY191" fmla="*/ 538785 h 1159154"/>
                  <a:gd name="connsiteX192" fmla="*/ 252725 w 1166484"/>
                  <a:gd name="connsiteY192" fmla="*/ 538785 h 1159154"/>
                  <a:gd name="connsiteX193" fmla="*/ 244428 w 1166484"/>
                  <a:gd name="connsiteY193" fmla="*/ 531768 h 1159154"/>
                  <a:gd name="connsiteX194" fmla="*/ 232260 w 1166484"/>
                  <a:gd name="connsiteY194" fmla="*/ 528530 h 1159154"/>
                  <a:gd name="connsiteX195" fmla="*/ 227835 w 1166484"/>
                  <a:gd name="connsiteY195" fmla="*/ 520974 h 1159154"/>
                  <a:gd name="connsiteX196" fmla="*/ 215114 w 1166484"/>
                  <a:gd name="connsiteY196" fmla="*/ 512878 h 1159154"/>
                  <a:gd name="connsiteX197" fmla="*/ 207924 w 1166484"/>
                  <a:gd name="connsiteY197" fmla="*/ 510179 h 1159154"/>
                  <a:gd name="connsiteX198" fmla="*/ 199075 w 1166484"/>
                  <a:gd name="connsiteY198" fmla="*/ 482114 h 1159154"/>
                  <a:gd name="connsiteX199" fmla="*/ 185247 w 1166484"/>
                  <a:gd name="connsiteY199" fmla="*/ 469700 h 1159154"/>
                  <a:gd name="connsiteX200" fmla="*/ 202946 w 1166484"/>
                  <a:gd name="connsiteY200" fmla="*/ 440555 h 1159154"/>
                  <a:gd name="connsiteX201" fmla="*/ 184694 w 1166484"/>
                  <a:gd name="connsiteY201" fmla="*/ 433539 h 1159154"/>
                  <a:gd name="connsiteX202" fmla="*/ 189672 w 1166484"/>
                  <a:gd name="connsiteY202" fmla="*/ 427602 h 1159154"/>
                  <a:gd name="connsiteX203" fmla="*/ 194650 w 1166484"/>
                  <a:gd name="connsiteY203" fmla="*/ 417347 h 1159154"/>
                  <a:gd name="connsiteX204" fmla="*/ 201840 w 1166484"/>
                  <a:gd name="connsiteY204" fmla="*/ 418966 h 1159154"/>
                  <a:gd name="connsiteX205" fmla="*/ 215114 w 1166484"/>
                  <a:gd name="connsiteY205" fmla="*/ 420585 h 1159154"/>
                  <a:gd name="connsiteX206" fmla="*/ 209583 w 1166484"/>
                  <a:gd name="connsiteY206" fmla="*/ 413029 h 1159154"/>
                  <a:gd name="connsiteX207" fmla="*/ 204052 w 1166484"/>
                  <a:gd name="connsiteY207" fmla="*/ 410870 h 1159154"/>
                  <a:gd name="connsiteX208" fmla="*/ 189119 w 1166484"/>
                  <a:gd name="connsiteY208" fmla="*/ 411410 h 1159154"/>
                  <a:gd name="connsiteX209" fmla="*/ 180269 w 1166484"/>
                  <a:gd name="connsiteY209" fmla="*/ 416267 h 1159154"/>
                  <a:gd name="connsiteX210" fmla="*/ 173632 w 1166484"/>
                  <a:gd name="connsiteY210" fmla="*/ 414108 h 1159154"/>
                  <a:gd name="connsiteX211" fmla="*/ 164230 w 1166484"/>
                  <a:gd name="connsiteY211" fmla="*/ 398457 h 1159154"/>
                  <a:gd name="connsiteX212" fmla="*/ 170314 w 1166484"/>
                  <a:gd name="connsiteY212" fmla="*/ 391980 h 1159154"/>
                  <a:gd name="connsiteX213" fmla="*/ 170314 w 1166484"/>
                  <a:gd name="connsiteY213" fmla="*/ 385503 h 1159154"/>
                  <a:gd name="connsiteX214" fmla="*/ 145425 w 1166484"/>
                  <a:gd name="connsiteY214" fmla="*/ 383344 h 1159154"/>
                  <a:gd name="connsiteX215" fmla="*/ 143212 w 1166484"/>
                  <a:gd name="connsiteY215" fmla="*/ 383884 h 1159154"/>
                  <a:gd name="connsiteX216" fmla="*/ 135469 w 1166484"/>
                  <a:gd name="connsiteY216" fmla="*/ 381725 h 1159154"/>
                  <a:gd name="connsiteX217" fmla="*/ 138788 w 1166484"/>
                  <a:gd name="connsiteY217" fmla="*/ 377947 h 1159154"/>
                  <a:gd name="connsiteX218" fmla="*/ 148743 w 1166484"/>
                  <a:gd name="connsiteY218" fmla="*/ 375788 h 1159154"/>
                  <a:gd name="connsiteX219" fmla="*/ 149296 w 1166484"/>
                  <a:gd name="connsiteY219" fmla="*/ 369851 h 1159154"/>
                  <a:gd name="connsiteX220" fmla="*/ 131044 w 1166484"/>
                  <a:gd name="connsiteY220" fmla="*/ 371470 h 1159154"/>
                  <a:gd name="connsiteX221" fmla="*/ 117217 w 1166484"/>
                  <a:gd name="connsiteY221" fmla="*/ 368232 h 1159154"/>
                  <a:gd name="connsiteX222" fmla="*/ 112239 w 1166484"/>
                  <a:gd name="connsiteY222" fmla="*/ 361216 h 1159154"/>
                  <a:gd name="connsiteX223" fmla="*/ 105049 w 1166484"/>
                  <a:gd name="connsiteY223" fmla="*/ 357438 h 1159154"/>
                  <a:gd name="connsiteX224" fmla="*/ 97859 w 1166484"/>
                  <a:gd name="connsiteY224" fmla="*/ 349881 h 1159154"/>
                  <a:gd name="connsiteX225" fmla="*/ 93987 w 1166484"/>
                  <a:gd name="connsiteY225" fmla="*/ 348802 h 1159154"/>
                  <a:gd name="connsiteX226" fmla="*/ 79054 w 1166484"/>
                  <a:gd name="connsiteY226" fmla="*/ 340166 h 1159154"/>
                  <a:gd name="connsiteX227" fmla="*/ 63567 w 1166484"/>
                  <a:gd name="connsiteY227" fmla="*/ 335849 h 1159154"/>
                  <a:gd name="connsiteX228" fmla="*/ 53611 w 1166484"/>
                  <a:gd name="connsiteY228" fmla="*/ 326134 h 1159154"/>
                  <a:gd name="connsiteX229" fmla="*/ 35912 w 1166484"/>
                  <a:gd name="connsiteY229" fmla="*/ 322356 h 1159154"/>
                  <a:gd name="connsiteX230" fmla="*/ 23191 w 1166484"/>
                  <a:gd name="connsiteY230" fmla="*/ 330451 h 1159154"/>
                  <a:gd name="connsiteX231" fmla="*/ 24298 w 1166484"/>
                  <a:gd name="connsiteY231" fmla="*/ 315339 h 1159154"/>
                  <a:gd name="connsiteX232" fmla="*/ 16554 w 1166484"/>
                  <a:gd name="connsiteY232" fmla="*/ 312101 h 1159154"/>
                  <a:gd name="connsiteX233" fmla="*/ 6045 w 1166484"/>
                  <a:gd name="connsiteY233" fmla="*/ 301306 h 1159154"/>
                  <a:gd name="connsiteX234" fmla="*/ 3833 w 1166484"/>
                  <a:gd name="connsiteY234" fmla="*/ 297528 h 1159154"/>
                  <a:gd name="connsiteX235" fmla="*/ 2174 w 1166484"/>
                  <a:gd name="connsiteY235" fmla="*/ 296989 h 1159154"/>
                  <a:gd name="connsiteX236" fmla="*/ 2174 w 1166484"/>
                  <a:gd name="connsiteY236" fmla="*/ 295369 h 1159154"/>
                  <a:gd name="connsiteX237" fmla="*/ 5492 w 1166484"/>
                  <a:gd name="connsiteY237" fmla="*/ 293210 h 1159154"/>
                  <a:gd name="connsiteX238" fmla="*/ 34253 w 1166484"/>
                  <a:gd name="connsiteY238" fmla="*/ 298608 h 1159154"/>
                  <a:gd name="connsiteX239" fmla="*/ 38125 w 1166484"/>
                  <a:gd name="connsiteY239" fmla="*/ 290512 h 1159154"/>
                  <a:gd name="connsiteX240" fmla="*/ 35912 w 1166484"/>
                  <a:gd name="connsiteY240" fmla="*/ 286734 h 1159154"/>
                  <a:gd name="connsiteX241" fmla="*/ 18767 w 1166484"/>
                  <a:gd name="connsiteY241" fmla="*/ 280797 h 1159154"/>
                  <a:gd name="connsiteX242" fmla="*/ 14342 w 1166484"/>
                  <a:gd name="connsiteY242" fmla="*/ 281337 h 1159154"/>
                  <a:gd name="connsiteX243" fmla="*/ 14895 w 1166484"/>
                  <a:gd name="connsiteY243" fmla="*/ 273241 h 1159154"/>
                  <a:gd name="connsiteX244" fmla="*/ 39784 w 1166484"/>
                  <a:gd name="connsiteY244" fmla="*/ 276479 h 1159154"/>
                  <a:gd name="connsiteX245" fmla="*/ 41996 w 1166484"/>
                  <a:gd name="connsiteY245" fmla="*/ 273241 h 1159154"/>
                  <a:gd name="connsiteX246" fmla="*/ 31488 w 1166484"/>
                  <a:gd name="connsiteY246" fmla="*/ 266224 h 1159154"/>
                  <a:gd name="connsiteX247" fmla="*/ 34253 w 1166484"/>
                  <a:gd name="connsiteY247" fmla="*/ 259748 h 1159154"/>
                  <a:gd name="connsiteX248" fmla="*/ 10470 w 1166484"/>
                  <a:gd name="connsiteY248" fmla="*/ 262446 h 1159154"/>
                  <a:gd name="connsiteX249" fmla="*/ 515 w 1166484"/>
                  <a:gd name="connsiteY249" fmla="*/ 259748 h 1159154"/>
                  <a:gd name="connsiteX250" fmla="*/ 6599 w 1166484"/>
                  <a:gd name="connsiteY250" fmla="*/ 241937 h 1159154"/>
                  <a:gd name="connsiteX251" fmla="*/ 24851 w 1166484"/>
                  <a:gd name="connsiteY251" fmla="*/ 236540 h 1159154"/>
                  <a:gd name="connsiteX252" fmla="*/ 38125 w 1166484"/>
                  <a:gd name="connsiteY252" fmla="*/ 230603 h 1159154"/>
                  <a:gd name="connsiteX253" fmla="*/ 48634 w 1166484"/>
                  <a:gd name="connsiteY253" fmla="*/ 232222 h 1159154"/>
                  <a:gd name="connsiteX254" fmla="*/ 63567 w 1166484"/>
                  <a:gd name="connsiteY254" fmla="*/ 230603 h 1159154"/>
                  <a:gd name="connsiteX255" fmla="*/ 75735 w 1166484"/>
                  <a:gd name="connsiteY255" fmla="*/ 237619 h 1159154"/>
                  <a:gd name="connsiteX256" fmla="*/ 85138 w 1166484"/>
                  <a:gd name="connsiteY256" fmla="*/ 231682 h 1159154"/>
                  <a:gd name="connsiteX257" fmla="*/ 98965 w 1166484"/>
                  <a:gd name="connsiteY257" fmla="*/ 238698 h 1159154"/>
                  <a:gd name="connsiteX258" fmla="*/ 101177 w 1166484"/>
                  <a:gd name="connsiteY258" fmla="*/ 237079 h 1159154"/>
                  <a:gd name="connsiteX259" fmla="*/ 105602 w 1166484"/>
                  <a:gd name="connsiteY259" fmla="*/ 221967 h 1159154"/>
                  <a:gd name="connsiteX260" fmla="*/ 117770 w 1166484"/>
                  <a:gd name="connsiteY260" fmla="*/ 223586 h 1159154"/>
                  <a:gd name="connsiteX261" fmla="*/ 125513 w 1166484"/>
                  <a:gd name="connsiteY261" fmla="*/ 220888 h 1159154"/>
                  <a:gd name="connsiteX262" fmla="*/ 131044 w 1166484"/>
                  <a:gd name="connsiteY262" fmla="*/ 225205 h 1159154"/>
                  <a:gd name="connsiteX263" fmla="*/ 142659 w 1166484"/>
                  <a:gd name="connsiteY263" fmla="*/ 226825 h 1159154"/>
                  <a:gd name="connsiteX264" fmla="*/ 148190 w 1166484"/>
                  <a:gd name="connsiteY264" fmla="*/ 238698 h 1159154"/>
                  <a:gd name="connsiteX265" fmla="*/ 153168 w 1166484"/>
                  <a:gd name="connsiteY265" fmla="*/ 245715 h 1159154"/>
                  <a:gd name="connsiteX266" fmla="*/ 166442 w 1166484"/>
                  <a:gd name="connsiteY266" fmla="*/ 268383 h 1159154"/>
                  <a:gd name="connsiteX267" fmla="*/ 185247 w 1166484"/>
                  <a:gd name="connsiteY267" fmla="*/ 254350 h 1159154"/>
                  <a:gd name="connsiteX268" fmla="*/ 196862 w 1166484"/>
                  <a:gd name="connsiteY268" fmla="*/ 252731 h 1159154"/>
                  <a:gd name="connsiteX269" fmla="*/ 197415 w 1166484"/>
                  <a:gd name="connsiteY269" fmla="*/ 255970 h 1159154"/>
                  <a:gd name="connsiteX270" fmla="*/ 200181 w 1166484"/>
                  <a:gd name="connsiteY270" fmla="*/ 259208 h 1159154"/>
                  <a:gd name="connsiteX271" fmla="*/ 210690 w 1166484"/>
                  <a:gd name="connsiteY271" fmla="*/ 263526 h 1159154"/>
                  <a:gd name="connsiteX272" fmla="*/ 228388 w 1166484"/>
                  <a:gd name="connsiteY272" fmla="*/ 252731 h 1159154"/>
                  <a:gd name="connsiteX273" fmla="*/ 235579 w 1166484"/>
                  <a:gd name="connsiteY273" fmla="*/ 263526 h 1159154"/>
                  <a:gd name="connsiteX274" fmla="*/ 259362 w 1166484"/>
                  <a:gd name="connsiteY274" fmla="*/ 269463 h 1159154"/>
                  <a:gd name="connsiteX275" fmla="*/ 264893 w 1166484"/>
                  <a:gd name="connsiteY275" fmla="*/ 268383 h 1159154"/>
                  <a:gd name="connsiteX276" fmla="*/ 268764 w 1166484"/>
                  <a:gd name="connsiteY276" fmla="*/ 263526 h 1159154"/>
                  <a:gd name="connsiteX277" fmla="*/ 259915 w 1166484"/>
                  <a:gd name="connsiteY277" fmla="*/ 255430 h 1159154"/>
                  <a:gd name="connsiteX278" fmla="*/ 258809 w 1166484"/>
                  <a:gd name="connsiteY278" fmla="*/ 247874 h 1159154"/>
                  <a:gd name="connsiteX279" fmla="*/ 264893 w 1166484"/>
                  <a:gd name="connsiteY279" fmla="*/ 224666 h 1159154"/>
                  <a:gd name="connsiteX280" fmla="*/ 263233 w 1166484"/>
                  <a:gd name="connsiteY280" fmla="*/ 209553 h 1159154"/>
                  <a:gd name="connsiteX281" fmla="*/ 264339 w 1166484"/>
                  <a:gd name="connsiteY281" fmla="*/ 194981 h 1159154"/>
                  <a:gd name="connsiteX282" fmla="*/ 257702 w 1166484"/>
                  <a:gd name="connsiteY282" fmla="*/ 186345 h 1159154"/>
                  <a:gd name="connsiteX283" fmla="*/ 254384 w 1166484"/>
                  <a:gd name="connsiteY283" fmla="*/ 172852 h 1159154"/>
                  <a:gd name="connsiteX284" fmla="*/ 246641 w 1166484"/>
                  <a:gd name="connsiteY284" fmla="*/ 166915 h 1159154"/>
                  <a:gd name="connsiteX285" fmla="*/ 247194 w 1166484"/>
                  <a:gd name="connsiteY285" fmla="*/ 142628 h 1159154"/>
                  <a:gd name="connsiteX286" fmla="*/ 244981 w 1166484"/>
                  <a:gd name="connsiteY286" fmla="*/ 133452 h 1159154"/>
                  <a:gd name="connsiteX287" fmla="*/ 248853 w 1166484"/>
                  <a:gd name="connsiteY287" fmla="*/ 131833 h 1159154"/>
                  <a:gd name="connsiteX288" fmla="*/ 253831 w 1166484"/>
                  <a:gd name="connsiteY288" fmla="*/ 136691 h 1159154"/>
                  <a:gd name="connsiteX289" fmla="*/ 272636 w 1166484"/>
                  <a:gd name="connsiteY289" fmla="*/ 144787 h 1159154"/>
                  <a:gd name="connsiteX290" fmla="*/ 287016 w 1166484"/>
                  <a:gd name="connsiteY290" fmla="*/ 139929 h 1159154"/>
                  <a:gd name="connsiteX291" fmla="*/ 298078 w 1166484"/>
                  <a:gd name="connsiteY291" fmla="*/ 141548 h 1159154"/>
                  <a:gd name="connsiteX292" fmla="*/ 300290 w 1166484"/>
                  <a:gd name="connsiteY292" fmla="*/ 143707 h 1159154"/>
                  <a:gd name="connsiteX293" fmla="*/ 291994 w 1166484"/>
                  <a:gd name="connsiteY293" fmla="*/ 154502 h 1159154"/>
                  <a:gd name="connsiteX294" fmla="*/ 298078 w 1166484"/>
                  <a:gd name="connsiteY294" fmla="*/ 170154 h 1159154"/>
                  <a:gd name="connsiteX295" fmla="*/ 299184 w 1166484"/>
                  <a:gd name="connsiteY295" fmla="*/ 180408 h 1159154"/>
                  <a:gd name="connsiteX296" fmla="*/ 313012 w 1166484"/>
                  <a:gd name="connsiteY296" fmla="*/ 180408 h 1159154"/>
                  <a:gd name="connsiteX297" fmla="*/ 339560 w 1166484"/>
                  <a:gd name="connsiteY297" fmla="*/ 187964 h 1159154"/>
                  <a:gd name="connsiteX298" fmla="*/ 358918 w 1166484"/>
                  <a:gd name="connsiteY298" fmla="*/ 190123 h 1159154"/>
                  <a:gd name="connsiteX299" fmla="*/ 379936 w 1166484"/>
                  <a:gd name="connsiteY299" fmla="*/ 198759 h 1159154"/>
                  <a:gd name="connsiteX300" fmla="*/ 393210 w 1166484"/>
                  <a:gd name="connsiteY300" fmla="*/ 191742 h 1159154"/>
                  <a:gd name="connsiteX301" fmla="*/ 409250 w 1166484"/>
                  <a:gd name="connsiteY301" fmla="*/ 184186 h 1159154"/>
                  <a:gd name="connsiteX302" fmla="*/ 412568 w 1166484"/>
                  <a:gd name="connsiteY302" fmla="*/ 179869 h 1159154"/>
                  <a:gd name="connsiteX303" fmla="*/ 406484 w 1166484"/>
                  <a:gd name="connsiteY303" fmla="*/ 179329 h 1159154"/>
                  <a:gd name="connsiteX304" fmla="*/ 404825 w 1166484"/>
                  <a:gd name="connsiteY304" fmla="*/ 160439 h 1159154"/>
                  <a:gd name="connsiteX305" fmla="*/ 456262 w 1166484"/>
                  <a:gd name="connsiteY305" fmla="*/ 135072 h 1159154"/>
                  <a:gd name="connsiteX306" fmla="*/ 462900 w 1166484"/>
                  <a:gd name="connsiteY306" fmla="*/ 133992 h 1159154"/>
                  <a:gd name="connsiteX307" fmla="*/ 488342 w 1166484"/>
                  <a:gd name="connsiteY307" fmla="*/ 125896 h 1159154"/>
                  <a:gd name="connsiteX308" fmla="*/ 509359 w 1166484"/>
                  <a:gd name="connsiteY308" fmla="*/ 111863 h 1159154"/>
                  <a:gd name="connsiteX309" fmla="*/ 517656 w 1166484"/>
                  <a:gd name="connsiteY309" fmla="*/ 99990 h 1159154"/>
                  <a:gd name="connsiteX310" fmla="*/ 525952 w 1166484"/>
                  <a:gd name="connsiteY310" fmla="*/ 101069 h 1159154"/>
                  <a:gd name="connsiteX311" fmla="*/ 524846 w 1166484"/>
                  <a:gd name="connsiteY311" fmla="*/ 83258 h 1159154"/>
                  <a:gd name="connsiteX312" fmla="*/ 528164 w 1166484"/>
                  <a:gd name="connsiteY312" fmla="*/ 74623 h 1159154"/>
                  <a:gd name="connsiteX313" fmla="*/ 526505 w 1166484"/>
                  <a:gd name="connsiteY313" fmla="*/ 70844 h 1159154"/>
                  <a:gd name="connsiteX314" fmla="*/ 528717 w 1166484"/>
                  <a:gd name="connsiteY314" fmla="*/ 57351 h 1159154"/>
                  <a:gd name="connsiteX315" fmla="*/ 529824 w 1166484"/>
                  <a:gd name="connsiteY315" fmla="*/ 22269 h 1159154"/>
                  <a:gd name="connsiteX316" fmla="*/ 540332 w 1166484"/>
                  <a:gd name="connsiteY316" fmla="*/ 14174 h 1159154"/>
                  <a:gd name="connsiteX317" fmla="*/ 601726 w 1166484"/>
                  <a:gd name="connsiteY317" fmla="*/ -399 h 1159154"/>
                  <a:gd name="connsiteX318" fmla="*/ 607810 w 1166484"/>
                  <a:gd name="connsiteY318" fmla="*/ 14174 h 1159154"/>
                  <a:gd name="connsiteX319" fmla="*/ 606703 w 1166484"/>
                  <a:gd name="connsiteY319" fmla="*/ 32524 h 1159154"/>
                  <a:gd name="connsiteX320" fmla="*/ 629380 w 1166484"/>
                  <a:gd name="connsiteY320" fmla="*/ 51414 h 1159154"/>
                  <a:gd name="connsiteX321" fmla="*/ 632699 w 1166484"/>
                  <a:gd name="connsiteY321" fmla="*/ 45477 h 1159154"/>
                  <a:gd name="connsiteX322" fmla="*/ 645973 w 1166484"/>
                  <a:gd name="connsiteY322" fmla="*/ 40620 h 1159154"/>
                  <a:gd name="connsiteX323" fmla="*/ 654822 w 1166484"/>
                  <a:gd name="connsiteY323" fmla="*/ 74083 h 1159154"/>
                  <a:gd name="connsiteX324" fmla="*/ 675287 w 1166484"/>
                  <a:gd name="connsiteY324" fmla="*/ 81639 h 1159154"/>
                  <a:gd name="connsiteX325" fmla="*/ 685243 w 1166484"/>
                  <a:gd name="connsiteY325" fmla="*/ 100529 h 1159154"/>
                  <a:gd name="connsiteX326" fmla="*/ 692986 w 1166484"/>
                  <a:gd name="connsiteY326" fmla="*/ 97831 h 1159154"/>
                  <a:gd name="connsiteX327" fmla="*/ 709025 w 1166484"/>
                  <a:gd name="connsiteY327" fmla="*/ 98910 h 1159154"/>
                  <a:gd name="connsiteX328" fmla="*/ 718981 w 1166484"/>
                  <a:gd name="connsiteY328" fmla="*/ 109705 h 1159154"/>
                  <a:gd name="connsiteX329" fmla="*/ 722300 w 1166484"/>
                  <a:gd name="connsiteY329" fmla="*/ 118880 h 1159154"/>
                  <a:gd name="connsiteX330" fmla="*/ 722853 w 1166484"/>
                  <a:gd name="connsiteY330" fmla="*/ 140469 h 1159154"/>
                  <a:gd name="connsiteX331" fmla="*/ 742211 w 1166484"/>
                  <a:gd name="connsiteY331" fmla="*/ 144787 h 1159154"/>
                  <a:gd name="connsiteX332" fmla="*/ 751060 w 1166484"/>
                  <a:gd name="connsiteY332" fmla="*/ 146406 h 1159154"/>
                  <a:gd name="connsiteX333" fmla="*/ 759910 w 1166484"/>
                  <a:gd name="connsiteY333" fmla="*/ 138850 h 1159154"/>
                  <a:gd name="connsiteX334" fmla="*/ 768759 w 1166484"/>
                  <a:gd name="connsiteY334" fmla="*/ 123737 h 1159154"/>
                  <a:gd name="connsiteX335" fmla="*/ 773184 w 1166484"/>
                  <a:gd name="connsiteY335" fmla="*/ 122658 h 1159154"/>
                  <a:gd name="connsiteX336" fmla="*/ 775397 w 1166484"/>
                  <a:gd name="connsiteY336" fmla="*/ 125896 h 1159154"/>
                  <a:gd name="connsiteX337" fmla="*/ 770972 w 1166484"/>
                  <a:gd name="connsiteY337" fmla="*/ 145326 h 1159154"/>
                  <a:gd name="connsiteX338" fmla="*/ 774290 w 1166484"/>
                  <a:gd name="connsiteY338" fmla="*/ 164217 h 1159154"/>
                  <a:gd name="connsiteX339" fmla="*/ 785905 w 1166484"/>
                  <a:gd name="connsiteY339" fmla="*/ 168534 h 1159154"/>
                  <a:gd name="connsiteX340" fmla="*/ 804157 w 1166484"/>
                  <a:gd name="connsiteY340" fmla="*/ 177170 h 1159154"/>
                  <a:gd name="connsiteX341" fmla="*/ 812454 w 1166484"/>
                  <a:gd name="connsiteY341" fmla="*/ 186345 h 1159154"/>
                  <a:gd name="connsiteX342" fmla="*/ 817985 w 1166484"/>
                  <a:gd name="connsiteY342" fmla="*/ 192282 h 1159154"/>
                  <a:gd name="connsiteX343" fmla="*/ 820750 w 1166484"/>
                  <a:gd name="connsiteY343" fmla="*/ 198219 h 1159154"/>
                  <a:gd name="connsiteX344" fmla="*/ 846192 w 1166484"/>
                  <a:gd name="connsiteY344" fmla="*/ 195521 h 1159154"/>
                  <a:gd name="connsiteX345" fmla="*/ 858913 w 1166484"/>
                  <a:gd name="connsiteY345" fmla="*/ 207934 h 1159154"/>
                  <a:gd name="connsiteX346" fmla="*/ 880484 w 1166484"/>
                  <a:gd name="connsiteY346" fmla="*/ 201458 h 1159154"/>
                  <a:gd name="connsiteX347" fmla="*/ 887121 w 1166484"/>
                  <a:gd name="connsiteY347" fmla="*/ 202537 h 1159154"/>
                  <a:gd name="connsiteX348" fmla="*/ 904267 w 1166484"/>
                  <a:gd name="connsiteY348" fmla="*/ 210633 h 1159154"/>
                  <a:gd name="connsiteX349" fmla="*/ 907586 w 1166484"/>
                  <a:gd name="connsiteY349" fmla="*/ 217109 h 1159154"/>
                  <a:gd name="connsiteX350" fmla="*/ 915882 w 1166484"/>
                  <a:gd name="connsiteY350" fmla="*/ 237619 h 1159154"/>
                  <a:gd name="connsiteX351" fmla="*/ 926944 w 1166484"/>
                  <a:gd name="connsiteY351" fmla="*/ 243556 h 1159154"/>
                  <a:gd name="connsiteX352" fmla="*/ 934134 w 1166484"/>
                  <a:gd name="connsiteY352" fmla="*/ 234920 h 1159154"/>
                  <a:gd name="connsiteX353" fmla="*/ 951833 w 1166484"/>
                  <a:gd name="connsiteY353" fmla="*/ 250572 h 1159154"/>
                  <a:gd name="connsiteX354" fmla="*/ 973957 w 1166484"/>
                  <a:gd name="connsiteY354" fmla="*/ 244096 h 1159154"/>
                  <a:gd name="connsiteX355" fmla="*/ 978934 w 1166484"/>
                  <a:gd name="connsiteY355" fmla="*/ 242476 h 1159154"/>
                  <a:gd name="connsiteX356" fmla="*/ 989996 w 1166484"/>
                  <a:gd name="connsiteY356" fmla="*/ 253811 h 1159154"/>
                  <a:gd name="connsiteX357" fmla="*/ 1002717 w 1166484"/>
                  <a:gd name="connsiteY357" fmla="*/ 257049 h 1159154"/>
                  <a:gd name="connsiteX358" fmla="*/ 1011014 w 1166484"/>
                  <a:gd name="connsiteY358" fmla="*/ 254890 h 1159154"/>
                  <a:gd name="connsiteX359" fmla="*/ 1034244 w 1166484"/>
                  <a:gd name="connsiteY359" fmla="*/ 267304 h 1159154"/>
                  <a:gd name="connsiteX360" fmla="*/ 1022076 w 1166484"/>
                  <a:gd name="connsiteY360" fmla="*/ 285115 h 1159154"/>
                  <a:gd name="connsiteX361" fmla="*/ 1005483 w 1166484"/>
                  <a:gd name="connsiteY361" fmla="*/ 301306 h 1159154"/>
                  <a:gd name="connsiteX362" fmla="*/ 997740 w 1166484"/>
                  <a:gd name="connsiteY362" fmla="*/ 323975 h 1159154"/>
                  <a:gd name="connsiteX363" fmla="*/ 998293 w 1166484"/>
                  <a:gd name="connsiteY363" fmla="*/ 341246 h 1159154"/>
                  <a:gd name="connsiteX364" fmla="*/ 987784 w 1166484"/>
                  <a:gd name="connsiteY364" fmla="*/ 365533 h 1159154"/>
                  <a:gd name="connsiteX365" fmla="*/ 986125 w 1166484"/>
                  <a:gd name="connsiteY365" fmla="*/ 384963 h 1159154"/>
                  <a:gd name="connsiteX366" fmla="*/ 986678 w 1166484"/>
                  <a:gd name="connsiteY366" fmla="*/ 393059 h 1159154"/>
                  <a:gd name="connsiteX367" fmla="*/ 982253 w 1166484"/>
                  <a:gd name="connsiteY367" fmla="*/ 415188 h 1159154"/>
                  <a:gd name="connsiteX368" fmla="*/ 988337 w 1166484"/>
                  <a:gd name="connsiteY368" fmla="*/ 428681 h 1159154"/>
                  <a:gd name="connsiteX369" fmla="*/ 973957 w 1166484"/>
                  <a:gd name="connsiteY369" fmla="*/ 445412 h 1159154"/>
                  <a:gd name="connsiteX370" fmla="*/ 959576 w 1166484"/>
                  <a:gd name="connsiteY370" fmla="*/ 444333 h 1159154"/>
                  <a:gd name="connsiteX371" fmla="*/ 953492 w 1166484"/>
                  <a:gd name="connsiteY371" fmla="*/ 433539 h 1159154"/>
                  <a:gd name="connsiteX372" fmla="*/ 938559 w 1166484"/>
                  <a:gd name="connsiteY372" fmla="*/ 440555 h 1159154"/>
                  <a:gd name="connsiteX373" fmla="*/ 934687 w 1166484"/>
                  <a:gd name="connsiteY373" fmla="*/ 448651 h 1159154"/>
                  <a:gd name="connsiteX374" fmla="*/ 945196 w 1166484"/>
                  <a:gd name="connsiteY374" fmla="*/ 455667 h 1159154"/>
                  <a:gd name="connsiteX375" fmla="*/ 939112 w 1166484"/>
                  <a:gd name="connsiteY375" fmla="*/ 465922 h 1159154"/>
                  <a:gd name="connsiteX376" fmla="*/ 911457 w 1166484"/>
                  <a:gd name="connsiteY376" fmla="*/ 491829 h 1159154"/>
                  <a:gd name="connsiteX377" fmla="*/ 907032 w 1166484"/>
                  <a:gd name="connsiteY377" fmla="*/ 497766 h 1159154"/>
                  <a:gd name="connsiteX378" fmla="*/ 895971 w 1166484"/>
                  <a:gd name="connsiteY378" fmla="*/ 502623 h 1159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1166484" h="1159154">
                    <a:moveTo>
                      <a:pt x="1083469" y="1087143"/>
                    </a:moveTo>
                    <a:cubicBezTo>
                      <a:pt x="1085128" y="1086064"/>
                      <a:pt x="1089553" y="1079048"/>
                      <a:pt x="1089553" y="1077428"/>
                    </a:cubicBezTo>
                    <a:cubicBezTo>
                      <a:pt x="1090106" y="1073111"/>
                      <a:pt x="1079044" y="1066094"/>
                      <a:pt x="1078491" y="1065555"/>
                    </a:cubicBezTo>
                    <a:cubicBezTo>
                      <a:pt x="1077938" y="1064475"/>
                      <a:pt x="1078491" y="1057998"/>
                      <a:pt x="1079044" y="1056379"/>
                    </a:cubicBezTo>
                    <a:cubicBezTo>
                      <a:pt x="1079597" y="1054760"/>
                      <a:pt x="1082916" y="1053141"/>
                      <a:pt x="1082916" y="1051522"/>
                    </a:cubicBezTo>
                    <a:cubicBezTo>
                      <a:pt x="1082916" y="1048283"/>
                      <a:pt x="1075726" y="1045045"/>
                      <a:pt x="1078491" y="1038568"/>
                    </a:cubicBezTo>
                    <a:cubicBezTo>
                      <a:pt x="1080703" y="1034251"/>
                      <a:pt x="1085681" y="1030473"/>
                      <a:pt x="1089000" y="1026155"/>
                    </a:cubicBezTo>
                    <a:cubicBezTo>
                      <a:pt x="1090106" y="1023996"/>
                      <a:pt x="1091212" y="1021297"/>
                      <a:pt x="1092871" y="1019138"/>
                    </a:cubicBezTo>
                    <a:cubicBezTo>
                      <a:pt x="1093978" y="1018059"/>
                      <a:pt x="1096190" y="1017519"/>
                      <a:pt x="1097296" y="1016979"/>
                    </a:cubicBezTo>
                    <a:cubicBezTo>
                      <a:pt x="1105039" y="1011582"/>
                      <a:pt x="1112230" y="1005106"/>
                      <a:pt x="1121079" y="1001327"/>
                    </a:cubicBezTo>
                    <a:cubicBezTo>
                      <a:pt x="1126057" y="999169"/>
                      <a:pt x="1131035" y="1004026"/>
                      <a:pt x="1136013" y="1004026"/>
                    </a:cubicBezTo>
                    <a:cubicBezTo>
                      <a:pt x="1137672" y="1004026"/>
                      <a:pt x="1142650" y="1001327"/>
                      <a:pt x="1143203" y="1000248"/>
                    </a:cubicBezTo>
                    <a:cubicBezTo>
                      <a:pt x="1144309" y="995390"/>
                      <a:pt x="1139331" y="961388"/>
                      <a:pt x="1151499" y="968944"/>
                    </a:cubicBezTo>
                    <a:cubicBezTo>
                      <a:pt x="1152605" y="969484"/>
                      <a:pt x="1154265" y="971103"/>
                      <a:pt x="1154818" y="972182"/>
                    </a:cubicBezTo>
                    <a:cubicBezTo>
                      <a:pt x="1161455" y="986755"/>
                      <a:pt x="1155371" y="998629"/>
                      <a:pt x="1156477" y="1013201"/>
                    </a:cubicBezTo>
                    <a:cubicBezTo>
                      <a:pt x="1157030" y="1017519"/>
                      <a:pt x="1160349" y="1027234"/>
                      <a:pt x="1162008" y="1031552"/>
                    </a:cubicBezTo>
                    <a:cubicBezTo>
                      <a:pt x="1162561" y="1033171"/>
                      <a:pt x="1163667" y="1034790"/>
                      <a:pt x="1164220" y="1035870"/>
                    </a:cubicBezTo>
                    <a:cubicBezTo>
                      <a:pt x="1165326" y="1045045"/>
                      <a:pt x="1165880" y="1057998"/>
                      <a:pt x="1165880" y="1067174"/>
                    </a:cubicBezTo>
                    <a:cubicBezTo>
                      <a:pt x="1165880" y="1080127"/>
                      <a:pt x="1155371" y="1084985"/>
                      <a:pt x="1153711" y="1096319"/>
                    </a:cubicBezTo>
                    <a:cubicBezTo>
                      <a:pt x="1152605" y="1103875"/>
                      <a:pt x="1152605" y="1111971"/>
                      <a:pt x="1151499" y="1119527"/>
                    </a:cubicBezTo>
                    <a:cubicBezTo>
                      <a:pt x="1150393" y="1128702"/>
                      <a:pt x="1148734" y="1138957"/>
                      <a:pt x="1145968" y="1147053"/>
                    </a:cubicBezTo>
                    <a:cubicBezTo>
                      <a:pt x="1144862" y="1149751"/>
                      <a:pt x="1137119" y="1156768"/>
                      <a:pt x="1134906" y="1157847"/>
                    </a:cubicBezTo>
                    <a:cubicBezTo>
                      <a:pt x="1126057" y="1162165"/>
                      <a:pt x="1124398" y="1149751"/>
                      <a:pt x="1123845" y="1148672"/>
                    </a:cubicBezTo>
                    <a:cubicBezTo>
                      <a:pt x="1121632" y="1147053"/>
                      <a:pt x="1113889" y="1145973"/>
                      <a:pt x="1111123" y="1144354"/>
                    </a:cubicBezTo>
                    <a:cubicBezTo>
                      <a:pt x="1107805" y="1142195"/>
                      <a:pt x="1105592" y="1139497"/>
                      <a:pt x="1101721" y="1137877"/>
                    </a:cubicBezTo>
                    <a:cubicBezTo>
                      <a:pt x="1101721" y="1137877"/>
                      <a:pt x="1099508" y="1135719"/>
                      <a:pt x="1099508" y="1135179"/>
                    </a:cubicBezTo>
                    <a:cubicBezTo>
                      <a:pt x="1097296" y="1126543"/>
                      <a:pt x="1109464" y="1129782"/>
                      <a:pt x="1107805" y="1122226"/>
                    </a:cubicBezTo>
                    <a:cubicBezTo>
                      <a:pt x="1103933" y="1117908"/>
                      <a:pt x="1093978" y="1120067"/>
                      <a:pt x="1089553" y="1117368"/>
                    </a:cubicBezTo>
                    <a:cubicBezTo>
                      <a:pt x="1088447" y="1116828"/>
                      <a:pt x="1088447" y="1114130"/>
                      <a:pt x="1088447" y="1113050"/>
                    </a:cubicBezTo>
                    <a:cubicBezTo>
                      <a:pt x="1089000" y="1109812"/>
                      <a:pt x="1092871" y="1109272"/>
                      <a:pt x="1093978" y="1106574"/>
                    </a:cubicBezTo>
                    <a:cubicBezTo>
                      <a:pt x="1095084" y="1103875"/>
                      <a:pt x="1095637" y="1095779"/>
                      <a:pt x="1093424" y="1093620"/>
                    </a:cubicBezTo>
                    <a:cubicBezTo>
                      <a:pt x="1090659" y="1093080"/>
                      <a:pt x="1085681" y="1094160"/>
                      <a:pt x="1083469" y="1092001"/>
                    </a:cubicBezTo>
                    <a:cubicBezTo>
                      <a:pt x="1082916" y="1090922"/>
                      <a:pt x="1083469" y="1088763"/>
                      <a:pt x="1083469" y="1087143"/>
                    </a:cubicBezTo>
                    <a:close/>
                    <a:moveTo>
                      <a:pt x="895971" y="502623"/>
                    </a:moveTo>
                    <a:lnTo>
                      <a:pt x="894864" y="523672"/>
                    </a:lnTo>
                    <a:lnTo>
                      <a:pt x="874953" y="534467"/>
                    </a:lnTo>
                    <a:lnTo>
                      <a:pt x="862785" y="557675"/>
                    </a:lnTo>
                    <a:lnTo>
                      <a:pt x="866104" y="570089"/>
                    </a:lnTo>
                    <a:lnTo>
                      <a:pt x="861679" y="584121"/>
                    </a:lnTo>
                    <a:lnTo>
                      <a:pt x="852829" y="588439"/>
                    </a:lnTo>
                    <a:lnTo>
                      <a:pt x="853382" y="596535"/>
                    </a:lnTo>
                    <a:lnTo>
                      <a:pt x="865551" y="599234"/>
                    </a:lnTo>
                    <a:lnTo>
                      <a:pt x="879931" y="588979"/>
                    </a:lnTo>
                    <a:lnTo>
                      <a:pt x="876059" y="579804"/>
                    </a:lnTo>
                    <a:lnTo>
                      <a:pt x="874400" y="576025"/>
                    </a:lnTo>
                    <a:lnTo>
                      <a:pt x="881590" y="566310"/>
                    </a:lnTo>
                    <a:lnTo>
                      <a:pt x="900948" y="561453"/>
                    </a:lnTo>
                    <a:lnTo>
                      <a:pt x="912010" y="561453"/>
                    </a:lnTo>
                    <a:lnTo>
                      <a:pt x="921966" y="564691"/>
                    </a:lnTo>
                    <a:lnTo>
                      <a:pt x="921413" y="567390"/>
                    </a:lnTo>
                    <a:lnTo>
                      <a:pt x="919754" y="575486"/>
                    </a:lnTo>
                    <a:lnTo>
                      <a:pt x="926391" y="586280"/>
                    </a:lnTo>
                    <a:lnTo>
                      <a:pt x="920860" y="596535"/>
                    </a:lnTo>
                    <a:lnTo>
                      <a:pt x="929709" y="603551"/>
                    </a:lnTo>
                    <a:lnTo>
                      <a:pt x="931922" y="610568"/>
                    </a:lnTo>
                    <a:lnTo>
                      <a:pt x="939665" y="618124"/>
                    </a:lnTo>
                    <a:lnTo>
                      <a:pt x="939665" y="628379"/>
                    </a:lnTo>
                    <a:lnTo>
                      <a:pt x="921413" y="646190"/>
                    </a:lnTo>
                    <a:lnTo>
                      <a:pt x="935793" y="660762"/>
                    </a:lnTo>
                    <a:lnTo>
                      <a:pt x="934687" y="673176"/>
                    </a:lnTo>
                    <a:lnTo>
                      <a:pt x="940218" y="679113"/>
                    </a:lnTo>
                    <a:lnTo>
                      <a:pt x="947961" y="686669"/>
                    </a:lnTo>
                    <a:lnTo>
                      <a:pt x="946302" y="703940"/>
                    </a:lnTo>
                    <a:lnTo>
                      <a:pt x="925838" y="718512"/>
                    </a:lnTo>
                    <a:lnTo>
                      <a:pt x="906479" y="717973"/>
                    </a:lnTo>
                    <a:lnTo>
                      <a:pt x="909245" y="731466"/>
                    </a:lnTo>
                    <a:lnTo>
                      <a:pt x="921413" y="751975"/>
                    </a:lnTo>
                    <a:lnTo>
                      <a:pt x="936346" y="754674"/>
                    </a:lnTo>
                    <a:lnTo>
                      <a:pt x="939665" y="773564"/>
                    </a:lnTo>
                    <a:lnTo>
                      <a:pt x="926391" y="790835"/>
                    </a:lnTo>
                    <a:lnTo>
                      <a:pt x="929709" y="815123"/>
                    </a:lnTo>
                    <a:lnTo>
                      <a:pt x="936899" y="824838"/>
                    </a:lnTo>
                    <a:lnTo>
                      <a:pt x="970085" y="838871"/>
                    </a:lnTo>
                    <a:lnTo>
                      <a:pt x="997186" y="832394"/>
                    </a:lnTo>
                    <a:lnTo>
                      <a:pt x="999399" y="838331"/>
                    </a:lnTo>
                    <a:lnTo>
                      <a:pt x="999952" y="845887"/>
                    </a:lnTo>
                    <a:lnTo>
                      <a:pt x="984465" y="865317"/>
                    </a:lnTo>
                    <a:lnTo>
                      <a:pt x="984465" y="877731"/>
                    </a:lnTo>
                    <a:cubicBezTo>
                      <a:pt x="980594" y="877191"/>
                      <a:pt x="978381" y="878271"/>
                      <a:pt x="977275" y="879890"/>
                    </a:cubicBezTo>
                    <a:lnTo>
                      <a:pt x="972850" y="876651"/>
                    </a:lnTo>
                    <a:lnTo>
                      <a:pt x="967873" y="880969"/>
                    </a:lnTo>
                    <a:lnTo>
                      <a:pt x="969532" y="888525"/>
                    </a:lnTo>
                    <a:cubicBezTo>
                      <a:pt x="965660" y="889605"/>
                      <a:pt x="954598" y="884747"/>
                      <a:pt x="952939" y="886366"/>
                    </a:cubicBezTo>
                    <a:cubicBezTo>
                      <a:pt x="952386" y="886906"/>
                      <a:pt x="949067" y="899859"/>
                      <a:pt x="948514" y="902018"/>
                    </a:cubicBezTo>
                    <a:cubicBezTo>
                      <a:pt x="945749" y="903638"/>
                      <a:pt x="942430" y="900939"/>
                      <a:pt x="939665" y="901479"/>
                    </a:cubicBezTo>
                    <a:cubicBezTo>
                      <a:pt x="933581" y="902558"/>
                      <a:pt x="933028" y="909035"/>
                      <a:pt x="930262" y="912813"/>
                    </a:cubicBezTo>
                    <a:cubicBezTo>
                      <a:pt x="926944" y="917131"/>
                      <a:pt x="918647" y="914972"/>
                      <a:pt x="914776" y="918210"/>
                    </a:cubicBezTo>
                    <a:cubicBezTo>
                      <a:pt x="912010" y="920369"/>
                      <a:pt x="911457" y="925766"/>
                      <a:pt x="909245" y="927925"/>
                    </a:cubicBezTo>
                    <a:cubicBezTo>
                      <a:pt x="908139" y="929005"/>
                      <a:pt x="904267" y="931163"/>
                      <a:pt x="904267" y="932243"/>
                    </a:cubicBezTo>
                    <a:cubicBezTo>
                      <a:pt x="903714" y="933862"/>
                      <a:pt x="906479" y="936021"/>
                      <a:pt x="906479" y="937640"/>
                    </a:cubicBezTo>
                    <a:cubicBezTo>
                      <a:pt x="906479" y="939259"/>
                      <a:pt x="904267" y="945196"/>
                      <a:pt x="903714" y="946815"/>
                    </a:cubicBezTo>
                    <a:cubicBezTo>
                      <a:pt x="899842" y="947355"/>
                      <a:pt x="895971" y="944657"/>
                      <a:pt x="892099" y="945196"/>
                    </a:cubicBezTo>
                    <a:cubicBezTo>
                      <a:pt x="884356" y="946815"/>
                      <a:pt x="881037" y="953832"/>
                      <a:pt x="879378" y="954911"/>
                    </a:cubicBezTo>
                    <a:cubicBezTo>
                      <a:pt x="876059" y="956530"/>
                      <a:pt x="872741" y="949514"/>
                      <a:pt x="866104" y="952752"/>
                    </a:cubicBezTo>
                    <a:cubicBezTo>
                      <a:pt x="864444" y="953832"/>
                      <a:pt x="861679" y="959229"/>
                      <a:pt x="859467" y="959769"/>
                    </a:cubicBezTo>
                    <a:cubicBezTo>
                      <a:pt x="858913" y="959769"/>
                      <a:pt x="845639" y="953832"/>
                      <a:pt x="841214" y="954372"/>
                    </a:cubicBezTo>
                    <a:cubicBezTo>
                      <a:pt x="839002" y="954911"/>
                      <a:pt x="836790" y="958150"/>
                      <a:pt x="835130" y="958150"/>
                    </a:cubicBezTo>
                    <a:cubicBezTo>
                      <a:pt x="830706" y="958689"/>
                      <a:pt x="829600" y="953832"/>
                      <a:pt x="829046" y="952752"/>
                    </a:cubicBezTo>
                    <a:cubicBezTo>
                      <a:pt x="827940" y="952213"/>
                      <a:pt x="822409" y="951133"/>
                      <a:pt x="821303" y="950054"/>
                    </a:cubicBezTo>
                    <a:cubicBezTo>
                      <a:pt x="820197" y="948974"/>
                      <a:pt x="820197" y="945736"/>
                      <a:pt x="818538" y="945196"/>
                    </a:cubicBezTo>
                    <a:cubicBezTo>
                      <a:pt x="814113" y="943037"/>
                      <a:pt x="798626" y="944657"/>
                      <a:pt x="794755" y="943037"/>
                    </a:cubicBezTo>
                    <a:cubicBezTo>
                      <a:pt x="790883" y="941418"/>
                      <a:pt x="798073" y="932783"/>
                      <a:pt x="791989" y="925226"/>
                    </a:cubicBezTo>
                    <a:lnTo>
                      <a:pt x="790330" y="923607"/>
                    </a:lnTo>
                    <a:cubicBezTo>
                      <a:pt x="789224" y="923607"/>
                      <a:pt x="772078" y="923607"/>
                      <a:pt x="770972" y="924147"/>
                    </a:cubicBezTo>
                    <a:cubicBezTo>
                      <a:pt x="769866" y="924147"/>
                      <a:pt x="768206" y="925226"/>
                      <a:pt x="767100" y="925226"/>
                    </a:cubicBezTo>
                    <a:cubicBezTo>
                      <a:pt x="766547" y="925226"/>
                      <a:pt x="759910" y="920909"/>
                      <a:pt x="759910" y="920909"/>
                    </a:cubicBezTo>
                    <a:cubicBezTo>
                      <a:pt x="760463" y="919829"/>
                      <a:pt x="779821" y="914972"/>
                      <a:pt x="780927" y="913892"/>
                    </a:cubicBezTo>
                    <a:cubicBezTo>
                      <a:pt x="784799" y="910114"/>
                      <a:pt x="767653" y="899320"/>
                      <a:pt x="762675" y="899320"/>
                    </a:cubicBezTo>
                    <a:cubicBezTo>
                      <a:pt x="757698" y="898780"/>
                      <a:pt x="761016" y="909574"/>
                      <a:pt x="759357" y="911733"/>
                    </a:cubicBezTo>
                    <a:cubicBezTo>
                      <a:pt x="757698" y="913353"/>
                      <a:pt x="753273" y="912813"/>
                      <a:pt x="751614" y="913353"/>
                    </a:cubicBezTo>
                    <a:cubicBezTo>
                      <a:pt x="737786" y="918210"/>
                      <a:pt x="751060" y="927385"/>
                      <a:pt x="725065" y="917670"/>
                    </a:cubicBezTo>
                    <a:cubicBezTo>
                      <a:pt x="725065" y="916051"/>
                      <a:pt x="726171" y="910114"/>
                      <a:pt x="724512" y="909035"/>
                    </a:cubicBezTo>
                    <a:cubicBezTo>
                      <a:pt x="721747" y="907416"/>
                      <a:pt x="701835" y="909574"/>
                      <a:pt x="692986" y="906336"/>
                    </a:cubicBezTo>
                    <a:cubicBezTo>
                      <a:pt x="682477" y="905796"/>
                      <a:pt x="685796" y="889065"/>
                      <a:pt x="670862" y="891764"/>
                    </a:cubicBezTo>
                    <a:cubicBezTo>
                      <a:pt x="653716" y="895002"/>
                      <a:pt x="639336" y="920909"/>
                      <a:pt x="628274" y="926306"/>
                    </a:cubicBezTo>
                    <a:cubicBezTo>
                      <a:pt x="625509" y="927385"/>
                      <a:pt x="619978" y="924147"/>
                      <a:pt x="616659" y="924687"/>
                    </a:cubicBezTo>
                    <a:cubicBezTo>
                      <a:pt x="615000" y="924687"/>
                      <a:pt x="610022" y="927385"/>
                      <a:pt x="608363" y="929005"/>
                    </a:cubicBezTo>
                    <a:cubicBezTo>
                      <a:pt x="604491" y="933862"/>
                      <a:pt x="582920" y="965706"/>
                      <a:pt x="581814" y="970563"/>
                    </a:cubicBezTo>
                    <a:cubicBezTo>
                      <a:pt x="583474" y="973802"/>
                      <a:pt x="588451" y="977580"/>
                      <a:pt x="589005" y="980278"/>
                    </a:cubicBezTo>
                    <a:cubicBezTo>
                      <a:pt x="589558" y="984596"/>
                      <a:pt x="584580" y="995930"/>
                      <a:pt x="584580" y="1001327"/>
                    </a:cubicBezTo>
                    <a:cubicBezTo>
                      <a:pt x="585133" y="1005645"/>
                      <a:pt x="591217" y="1017519"/>
                      <a:pt x="593429" y="1021837"/>
                    </a:cubicBezTo>
                    <a:lnTo>
                      <a:pt x="570199" y="1017519"/>
                    </a:lnTo>
                    <a:lnTo>
                      <a:pt x="557478" y="1023456"/>
                    </a:lnTo>
                    <a:lnTo>
                      <a:pt x="551947" y="1033711"/>
                    </a:lnTo>
                    <a:lnTo>
                      <a:pt x="517656" y="1019138"/>
                    </a:lnTo>
                    <a:lnTo>
                      <a:pt x="497744" y="1026694"/>
                    </a:lnTo>
                    <a:lnTo>
                      <a:pt x="486129" y="1014821"/>
                    </a:lnTo>
                    <a:lnTo>
                      <a:pt x="468430" y="1008884"/>
                    </a:lnTo>
                    <a:lnTo>
                      <a:pt x="470643" y="997010"/>
                    </a:lnTo>
                    <a:lnTo>
                      <a:pt x="470643" y="994851"/>
                    </a:lnTo>
                    <a:lnTo>
                      <a:pt x="452391" y="987295"/>
                    </a:lnTo>
                    <a:lnTo>
                      <a:pt x="444094" y="994851"/>
                    </a:lnTo>
                    <a:lnTo>
                      <a:pt x="437457" y="978659"/>
                    </a:lnTo>
                    <a:lnTo>
                      <a:pt x="421971" y="976500"/>
                    </a:lnTo>
                    <a:lnTo>
                      <a:pt x="413121" y="970563"/>
                    </a:lnTo>
                    <a:lnTo>
                      <a:pt x="386020" y="960308"/>
                    </a:lnTo>
                    <a:lnTo>
                      <a:pt x="379383" y="959229"/>
                    </a:lnTo>
                    <a:lnTo>
                      <a:pt x="375511" y="974341"/>
                    </a:lnTo>
                    <a:lnTo>
                      <a:pt x="372746" y="973802"/>
                    </a:lnTo>
                    <a:lnTo>
                      <a:pt x="353387" y="971103"/>
                    </a:lnTo>
                    <a:lnTo>
                      <a:pt x="346197" y="975960"/>
                    </a:lnTo>
                    <a:lnTo>
                      <a:pt x="337348" y="971643"/>
                    </a:lnTo>
                    <a:lnTo>
                      <a:pt x="310246" y="968944"/>
                    </a:lnTo>
                    <a:lnTo>
                      <a:pt x="298078" y="955991"/>
                    </a:lnTo>
                    <a:lnTo>
                      <a:pt x="268211" y="953832"/>
                    </a:lnTo>
                    <a:lnTo>
                      <a:pt x="256596" y="943577"/>
                    </a:lnTo>
                    <a:lnTo>
                      <a:pt x="253831" y="935481"/>
                    </a:lnTo>
                    <a:lnTo>
                      <a:pt x="252725" y="931703"/>
                    </a:lnTo>
                    <a:lnTo>
                      <a:pt x="228942" y="928465"/>
                    </a:lnTo>
                    <a:lnTo>
                      <a:pt x="209583" y="916051"/>
                    </a:lnTo>
                    <a:lnTo>
                      <a:pt x="193544" y="915511"/>
                    </a:lnTo>
                    <a:lnTo>
                      <a:pt x="202393" y="890144"/>
                    </a:lnTo>
                    <a:lnTo>
                      <a:pt x="175292" y="884207"/>
                    </a:lnTo>
                    <a:lnTo>
                      <a:pt x="171420" y="882588"/>
                    </a:lnTo>
                    <a:lnTo>
                      <a:pt x="164230" y="875032"/>
                    </a:lnTo>
                    <a:cubicBezTo>
                      <a:pt x="169761" y="873413"/>
                      <a:pt x="176398" y="871254"/>
                      <a:pt x="180823" y="867476"/>
                    </a:cubicBezTo>
                    <a:cubicBezTo>
                      <a:pt x="181929" y="866397"/>
                      <a:pt x="182482" y="864777"/>
                      <a:pt x="184141" y="863698"/>
                    </a:cubicBezTo>
                    <a:cubicBezTo>
                      <a:pt x="185800" y="862079"/>
                      <a:pt x="190778" y="860999"/>
                      <a:pt x="192438" y="858841"/>
                    </a:cubicBezTo>
                    <a:cubicBezTo>
                      <a:pt x="195203" y="854523"/>
                      <a:pt x="201287" y="836712"/>
                      <a:pt x="203499" y="831315"/>
                    </a:cubicBezTo>
                    <a:cubicBezTo>
                      <a:pt x="211243" y="804868"/>
                      <a:pt x="215667" y="777882"/>
                      <a:pt x="226176" y="751975"/>
                    </a:cubicBezTo>
                    <a:cubicBezTo>
                      <a:pt x="227835" y="748737"/>
                      <a:pt x="233919" y="736323"/>
                      <a:pt x="236132" y="734164"/>
                    </a:cubicBezTo>
                    <a:cubicBezTo>
                      <a:pt x="238344" y="732545"/>
                      <a:pt x="244428" y="733625"/>
                      <a:pt x="243875" y="730386"/>
                    </a:cubicBezTo>
                    <a:cubicBezTo>
                      <a:pt x="243875" y="728767"/>
                      <a:pt x="240003" y="719052"/>
                      <a:pt x="237791" y="720132"/>
                    </a:cubicBezTo>
                    <a:cubicBezTo>
                      <a:pt x="231707" y="721751"/>
                      <a:pt x="233919" y="724449"/>
                      <a:pt x="231707" y="728227"/>
                    </a:cubicBezTo>
                    <a:cubicBezTo>
                      <a:pt x="231154" y="729307"/>
                      <a:pt x="228388" y="732006"/>
                      <a:pt x="227282" y="732006"/>
                    </a:cubicBezTo>
                    <a:cubicBezTo>
                      <a:pt x="225623" y="731466"/>
                      <a:pt x="227835" y="717433"/>
                      <a:pt x="228388" y="715274"/>
                    </a:cubicBezTo>
                    <a:cubicBezTo>
                      <a:pt x="232260" y="692606"/>
                      <a:pt x="236685" y="669937"/>
                      <a:pt x="244981" y="648348"/>
                    </a:cubicBezTo>
                    <a:cubicBezTo>
                      <a:pt x="245534" y="646190"/>
                      <a:pt x="251065" y="634855"/>
                      <a:pt x="252171" y="633776"/>
                    </a:cubicBezTo>
                    <a:cubicBezTo>
                      <a:pt x="252725" y="633236"/>
                      <a:pt x="255490" y="632696"/>
                      <a:pt x="256043" y="633236"/>
                    </a:cubicBezTo>
                    <a:cubicBezTo>
                      <a:pt x="257149" y="633776"/>
                      <a:pt x="259362" y="640253"/>
                      <a:pt x="260468" y="641872"/>
                    </a:cubicBezTo>
                    <a:cubicBezTo>
                      <a:pt x="263786" y="645650"/>
                      <a:pt x="269317" y="648888"/>
                      <a:pt x="272083" y="653206"/>
                    </a:cubicBezTo>
                    <a:cubicBezTo>
                      <a:pt x="278167" y="662921"/>
                      <a:pt x="274848" y="683430"/>
                      <a:pt x="282592" y="693145"/>
                    </a:cubicBezTo>
                    <a:cubicBezTo>
                      <a:pt x="284251" y="695844"/>
                      <a:pt x="287016" y="697463"/>
                      <a:pt x="289229" y="699082"/>
                    </a:cubicBezTo>
                    <a:cubicBezTo>
                      <a:pt x="290888" y="700702"/>
                      <a:pt x="294206" y="702321"/>
                      <a:pt x="296419" y="702321"/>
                    </a:cubicBezTo>
                    <a:cubicBezTo>
                      <a:pt x="295313" y="695844"/>
                      <a:pt x="289782" y="689907"/>
                      <a:pt x="288122" y="683970"/>
                    </a:cubicBezTo>
                    <a:cubicBezTo>
                      <a:pt x="285910" y="678033"/>
                      <a:pt x="285910" y="671557"/>
                      <a:pt x="284251" y="665620"/>
                    </a:cubicBezTo>
                    <a:cubicBezTo>
                      <a:pt x="283698" y="665080"/>
                      <a:pt x="283145" y="659143"/>
                      <a:pt x="283145" y="658063"/>
                    </a:cubicBezTo>
                    <a:cubicBezTo>
                      <a:pt x="282592" y="641332"/>
                      <a:pt x="274848" y="628379"/>
                      <a:pt x="260468" y="619743"/>
                    </a:cubicBezTo>
                    <a:cubicBezTo>
                      <a:pt x="256043" y="617044"/>
                      <a:pt x="248853" y="616505"/>
                      <a:pt x="245534" y="612727"/>
                    </a:cubicBezTo>
                    <a:cubicBezTo>
                      <a:pt x="243322" y="605171"/>
                      <a:pt x="245534" y="606250"/>
                      <a:pt x="247194" y="600313"/>
                    </a:cubicBezTo>
                    <a:cubicBezTo>
                      <a:pt x="244981" y="598154"/>
                      <a:pt x="246087" y="594376"/>
                      <a:pt x="244981" y="591677"/>
                    </a:cubicBezTo>
                    <a:cubicBezTo>
                      <a:pt x="243322" y="588979"/>
                      <a:pt x="238897" y="586820"/>
                      <a:pt x="237238" y="583582"/>
                    </a:cubicBezTo>
                    <a:cubicBezTo>
                      <a:pt x="236685" y="581962"/>
                      <a:pt x="235026" y="572247"/>
                      <a:pt x="235579" y="570089"/>
                    </a:cubicBezTo>
                    <a:cubicBezTo>
                      <a:pt x="235579" y="567930"/>
                      <a:pt x="238897" y="567930"/>
                      <a:pt x="240557" y="568469"/>
                    </a:cubicBezTo>
                    <a:cubicBezTo>
                      <a:pt x="251065" y="574946"/>
                      <a:pt x="248853" y="583582"/>
                      <a:pt x="251618" y="587360"/>
                    </a:cubicBezTo>
                    <a:cubicBezTo>
                      <a:pt x="252725" y="588439"/>
                      <a:pt x="256043" y="588979"/>
                      <a:pt x="257149" y="588979"/>
                    </a:cubicBezTo>
                    <a:lnTo>
                      <a:pt x="258809" y="588439"/>
                    </a:lnTo>
                    <a:cubicBezTo>
                      <a:pt x="260468" y="582502"/>
                      <a:pt x="257702" y="579264"/>
                      <a:pt x="258255" y="574406"/>
                    </a:cubicBezTo>
                    <a:cubicBezTo>
                      <a:pt x="258255" y="571708"/>
                      <a:pt x="261021" y="568469"/>
                      <a:pt x="261021" y="566310"/>
                    </a:cubicBezTo>
                    <a:cubicBezTo>
                      <a:pt x="261021" y="560913"/>
                      <a:pt x="252725" y="559834"/>
                      <a:pt x="252725" y="555516"/>
                    </a:cubicBezTo>
                    <a:cubicBezTo>
                      <a:pt x="252725" y="551738"/>
                      <a:pt x="263233" y="546880"/>
                      <a:pt x="262127" y="541483"/>
                    </a:cubicBezTo>
                    <a:cubicBezTo>
                      <a:pt x="261574" y="538245"/>
                      <a:pt x="257149" y="538245"/>
                      <a:pt x="254384" y="538785"/>
                    </a:cubicBezTo>
                    <a:lnTo>
                      <a:pt x="252725" y="538785"/>
                    </a:lnTo>
                    <a:cubicBezTo>
                      <a:pt x="249959" y="536626"/>
                      <a:pt x="247747" y="533387"/>
                      <a:pt x="244428" y="531768"/>
                    </a:cubicBezTo>
                    <a:cubicBezTo>
                      <a:pt x="241663" y="530689"/>
                      <a:pt x="234472" y="530149"/>
                      <a:pt x="232260" y="528530"/>
                    </a:cubicBezTo>
                    <a:cubicBezTo>
                      <a:pt x="230601" y="527450"/>
                      <a:pt x="229495" y="522593"/>
                      <a:pt x="227835" y="520974"/>
                    </a:cubicBezTo>
                    <a:cubicBezTo>
                      <a:pt x="225623" y="518815"/>
                      <a:pt x="217880" y="513957"/>
                      <a:pt x="215114" y="512878"/>
                    </a:cubicBezTo>
                    <a:cubicBezTo>
                      <a:pt x="213455" y="511798"/>
                      <a:pt x="209030" y="511259"/>
                      <a:pt x="207924" y="510179"/>
                    </a:cubicBezTo>
                    <a:cubicBezTo>
                      <a:pt x="200734" y="504782"/>
                      <a:pt x="205159" y="490209"/>
                      <a:pt x="199075" y="482114"/>
                    </a:cubicBezTo>
                    <a:cubicBezTo>
                      <a:pt x="195756" y="478875"/>
                      <a:pt x="186907" y="472938"/>
                      <a:pt x="185247" y="469700"/>
                    </a:cubicBezTo>
                    <a:cubicBezTo>
                      <a:pt x="181929" y="462684"/>
                      <a:pt x="201287" y="447032"/>
                      <a:pt x="202946" y="440555"/>
                    </a:cubicBezTo>
                    <a:cubicBezTo>
                      <a:pt x="204052" y="437317"/>
                      <a:pt x="188013" y="436777"/>
                      <a:pt x="184694" y="433539"/>
                    </a:cubicBezTo>
                    <a:cubicBezTo>
                      <a:pt x="185800" y="429760"/>
                      <a:pt x="188566" y="430300"/>
                      <a:pt x="189672" y="427602"/>
                    </a:cubicBezTo>
                    <a:cubicBezTo>
                      <a:pt x="191331" y="424363"/>
                      <a:pt x="187460" y="417347"/>
                      <a:pt x="194650" y="417347"/>
                    </a:cubicBezTo>
                    <a:cubicBezTo>
                      <a:pt x="196862" y="417887"/>
                      <a:pt x="199628" y="418426"/>
                      <a:pt x="201840" y="418966"/>
                    </a:cubicBezTo>
                    <a:cubicBezTo>
                      <a:pt x="204052" y="419506"/>
                      <a:pt x="214561" y="424903"/>
                      <a:pt x="215114" y="420585"/>
                    </a:cubicBezTo>
                    <a:cubicBezTo>
                      <a:pt x="215667" y="418426"/>
                      <a:pt x="211243" y="414108"/>
                      <a:pt x="209583" y="413029"/>
                    </a:cubicBezTo>
                    <a:cubicBezTo>
                      <a:pt x="207924" y="412489"/>
                      <a:pt x="205712" y="411410"/>
                      <a:pt x="204052" y="410870"/>
                    </a:cubicBezTo>
                    <a:cubicBezTo>
                      <a:pt x="197415" y="409251"/>
                      <a:pt x="195203" y="408172"/>
                      <a:pt x="189119" y="411410"/>
                    </a:cubicBezTo>
                    <a:cubicBezTo>
                      <a:pt x="186907" y="412489"/>
                      <a:pt x="182482" y="416267"/>
                      <a:pt x="180269" y="416267"/>
                    </a:cubicBezTo>
                    <a:cubicBezTo>
                      <a:pt x="178610" y="416807"/>
                      <a:pt x="174739" y="414648"/>
                      <a:pt x="173632" y="414108"/>
                    </a:cubicBezTo>
                    <a:cubicBezTo>
                      <a:pt x="170314" y="411410"/>
                      <a:pt x="160358" y="403314"/>
                      <a:pt x="164230" y="398457"/>
                    </a:cubicBezTo>
                    <a:cubicBezTo>
                      <a:pt x="165336" y="397377"/>
                      <a:pt x="175292" y="397917"/>
                      <a:pt x="170314" y="391980"/>
                    </a:cubicBezTo>
                    <a:cubicBezTo>
                      <a:pt x="170867" y="390900"/>
                      <a:pt x="170867" y="387122"/>
                      <a:pt x="170314" y="385503"/>
                    </a:cubicBezTo>
                    <a:cubicBezTo>
                      <a:pt x="168655" y="381725"/>
                      <a:pt x="149296" y="382265"/>
                      <a:pt x="145425" y="383344"/>
                    </a:cubicBezTo>
                    <a:cubicBezTo>
                      <a:pt x="144872" y="383344"/>
                      <a:pt x="143765" y="383884"/>
                      <a:pt x="143212" y="383884"/>
                    </a:cubicBezTo>
                    <a:cubicBezTo>
                      <a:pt x="142106" y="384424"/>
                      <a:pt x="136022" y="382805"/>
                      <a:pt x="135469" y="381725"/>
                    </a:cubicBezTo>
                    <a:cubicBezTo>
                      <a:pt x="134916" y="380646"/>
                      <a:pt x="138234" y="377947"/>
                      <a:pt x="138788" y="377947"/>
                    </a:cubicBezTo>
                    <a:cubicBezTo>
                      <a:pt x="141000" y="376868"/>
                      <a:pt x="147637" y="376868"/>
                      <a:pt x="148743" y="375788"/>
                    </a:cubicBezTo>
                    <a:cubicBezTo>
                      <a:pt x="149849" y="374709"/>
                      <a:pt x="149849" y="370931"/>
                      <a:pt x="149296" y="369851"/>
                    </a:cubicBezTo>
                    <a:cubicBezTo>
                      <a:pt x="147084" y="361755"/>
                      <a:pt x="135469" y="371470"/>
                      <a:pt x="131044" y="371470"/>
                    </a:cubicBezTo>
                    <a:cubicBezTo>
                      <a:pt x="128832" y="371470"/>
                      <a:pt x="119429" y="369311"/>
                      <a:pt x="117217" y="368232"/>
                    </a:cubicBezTo>
                    <a:cubicBezTo>
                      <a:pt x="113345" y="366613"/>
                      <a:pt x="114452" y="363375"/>
                      <a:pt x="112239" y="361216"/>
                    </a:cubicBezTo>
                    <a:cubicBezTo>
                      <a:pt x="111133" y="360136"/>
                      <a:pt x="106708" y="359057"/>
                      <a:pt x="105049" y="357438"/>
                    </a:cubicBezTo>
                    <a:cubicBezTo>
                      <a:pt x="102283" y="355818"/>
                      <a:pt x="100624" y="352040"/>
                      <a:pt x="97859" y="349881"/>
                    </a:cubicBezTo>
                    <a:cubicBezTo>
                      <a:pt x="96753" y="349342"/>
                      <a:pt x="95093" y="349342"/>
                      <a:pt x="93987" y="348802"/>
                    </a:cubicBezTo>
                    <a:cubicBezTo>
                      <a:pt x="89009" y="346103"/>
                      <a:pt x="84585" y="342325"/>
                      <a:pt x="79054" y="340166"/>
                    </a:cubicBezTo>
                    <a:cubicBezTo>
                      <a:pt x="74076" y="338008"/>
                      <a:pt x="68545" y="337468"/>
                      <a:pt x="63567" y="335849"/>
                    </a:cubicBezTo>
                    <a:cubicBezTo>
                      <a:pt x="58036" y="333690"/>
                      <a:pt x="56930" y="327753"/>
                      <a:pt x="53611" y="326134"/>
                    </a:cubicBezTo>
                    <a:cubicBezTo>
                      <a:pt x="51399" y="325054"/>
                      <a:pt x="38125" y="322356"/>
                      <a:pt x="35912" y="322356"/>
                    </a:cubicBezTo>
                    <a:cubicBezTo>
                      <a:pt x="29828" y="322356"/>
                      <a:pt x="37019" y="336388"/>
                      <a:pt x="23191" y="330451"/>
                    </a:cubicBezTo>
                    <a:cubicBezTo>
                      <a:pt x="17107" y="327753"/>
                      <a:pt x="25957" y="320197"/>
                      <a:pt x="24298" y="315339"/>
                    </a:cubicBezTo>
                    <a:cubicBezTo>
                      <a:pt x="23744" y="313720"/>
                      <a:pt x="17660" y="313180"/>
                      <a:pt x="16554" y="312101"/>
                    </a:cubicBezTo>
                    <a:cubicBezTo>
                      <a:pt x="12683" y="309402"/>
                      <a:pt x="8811" y="305084"/>
                      <a:pt x="6045" y="301306"/>
                    </a:cubicBezTo>
                    <a:cubicBezTo>
                      <a:pt x="5492" y="300767"/>
                      <a:pt x="3833" y="298068"/>
                      <a:pt x="3833" y="297528"/>
                    </a:cubicBezTo>
                    <a:cubicBezTo>
                      <a:pt x="3280" y="297528"/>
                      <a:pt x="2727" y="297528"/>
                      <a:pt x="2174" y="296989"/>
                    </a:cubicBezTo>
                    <a:lnTo>
                      <a:pt x="2174" y="295369"/>
                    </a:lnTo>
                    <a:cubicBezTo>
                      <a:pt x="2727" y="294830"/>
                      <a:pt x="4386" y="293210"/>
                      <a:pt x="5492" y="293210"/>
                    </a:cubicBezTo>
                    <a:cubicBezTo>
                      <a:pt x="11023" y="293210"/>
                      <a:pt x="30935" y="299687"/>
                      <a:pt x="34253" y="298608"/>
                    </a:cubicBezTo>
                    <a:cubicBezTo>
                      <a:pt x="37019" y="298068"/>
                      <a:pt x="38125" y="293210"/>
                      <a:pt x="38125" y="290512"/>
                    </a:cubicBezTo>
                    <a:cubicBezTo>
                      <a:pt x="37572" y="289432"/>
                      <a:pt x="36466" y="287813"/>
                      <a:pt x="35912" y="286734"/>
                    </a:cubicBezTo>
                    <a:cubicBezTo>
                      <a:pt x="33147" y="284035"/>
                      <a:pt x="22638" y="280797"/>
                      <a:pt x="18767" y="280797"/>
                    </a:cubicBezTo>
                    <a:cubicBezTo>
                      <a:pt x="17107" y="280797"/>
                      <a:pt x="17660" y="282416"/>
                      <a:pt x="14342" y="281337"/>
                    </a:cubicBezTo>
                    <a:cubicBezTo>
                      <a:pt x="13236" y="279717"/>
                      <a:pt x="13789" y="274860"/>
                      <a:pt x="14895" y="273241"/>
                    </a:cubicBezTo>
                    <a:cubicBezTo>
                      <a:pt x="17107" y="272161"/>
                      <a:pt x="35359" y="275939"/>
                      <a:pt x="39784" y="276479"/>
                    </a:cubicBezTo>
                    <a:cubicBezTo>
                      <a:pt x="41996" y="275400"/>
                      <a:pt x="41443" y="275400"/>
                      <a:pt x="41996" y="273241"/>
                    </a:cubicBezTo>
                    <a:cubicBezTo>
                      <a:pt x="38125" y="266764"/>
                      <a:pt x="37019" y="268383"/>
                      <a:pt x="31488" y="266224"/>
                    </a:cubicBezTo>
                    <a:cubicBezTo>
                      <a:pt x="32041" y="263526"/>
                      <a:pt x="33147" y="261907"/>
                      <a:pt x="34253" y="259748"/>
                    </a:cubicBezTo>
                    <a:cubicBezTo>
                      <a:pt x="21532" y="257589"/>
                      <a:pt x="17660" y="261907"/>
                      <a:pt x="10470" y="262446"/>
                    </a:cubicBezTo>
                    <a:cubicBezTo>
                      <a:pt x="8811" y="262446"/>
                      <a:pt x="2174" y="260287"/>
                      <a:pt x="515" y="259748"/>
                    </a:cubicBezTo>
                    <a:cubicBezTo>
                      <a:pt x="-3357" y="256509"/>
                      <a:pt x="3833" y="244096"/>
                      <a:pt x="6599" y="241937"/>
                    </a:cubicBezTo>
                    <a:cubicBezTo>
                      <a:pt x="13789" y="235460"/>
                      <a:pt x="17107" y="238698"/>
                      <a:pt x="24851" y="236540"/>
                    </a:cubicBezTo>
                    <a:cubicBezTo>
                      <a:pt x="29275" y="234920"/>
                      <a:pt x="33700" y="231142"/>
                      <a:pt x="38125" y="230603"/>
                    </a:cubicBezTo>
                    <a:cubicBezTo>
                      <a:pt x="40890" y="230063"/>
                      <a:pt x="45315" y="232222"/>
                      <a:pt x="48634" y="232222"/>
                    </a:cubicBezTo>
                    <a:cubicBezTo>
                      <a:pt x="53058" y="231682"/>
                      <a:pt x="57483" y="227904"/>
                      <a:pt x="63567" y="230603"/>
                    </a:cubicBezTo>
                    <a:cubicBezTo>
                      <a:pt x="67439" y="232222"/>
                      <a:pt x="70757" y="239778"/>
                      <a:pt x="75735" y="237619"/>
                    </a:cubicBezTo>
                    <a:cubicBezTo>
                      <a:pt x="77947" y="237079"/>
                      <a:pt x="82925" y="231142"/>
                      <a:pt x="85138" y="231682"/>
                    </a:cubicBezTo>
                    <a:cubicBezTo>
                      <a:pt x="85691" y="231682"/>
                      <a:pt x="94540" y="238159"/>
                      <a:pt x="98965" y="238698"/>
                    </a:cubicBezTo>
                    <a:cubicBezTo>
                      <a:pt x="99518" y="238698"/>
                      <a:pt x="100624" y="237619"/>
                      <a:pt x="101177" y="237079"/>
                    </a:cubicBezTo>
                    <a:cubicBezTo>
                      <a:pt x="107814" y="230603"/>
                      <a:pt x="101177" y="225205"/>
                      <a:pt x="105602" y="221967"/>
                    </a:cubicBezTo>
                    <a:cubicBezTo>
                      <a:pt x="110027" y="218729"/>
                      <a:pt x="113898" y="223586"/>
                      <a:pt x="117770" y="223586"/>
                    </a:cubicBezTo>
                    <a:cubicBezTo>
                      <a:pt x="119982" y="223586"/>
                      <a:pt x="123301" y="220888"/>
                      <a:pt x="125513" y="220888"/>
                    </a:cubicBezTo>
                    <a:cubicBezTo>
                      <a:pt x="130491" y="220348"/>
                      <a:pt x="129385" y="224666"/>
                      <a:pt x="131044" y="225205"/>
                    </a:cubicBezTo>
                    <a:cubicBezTo>
                      <a:pt x="133257" y="226285"/>
                      <a:pt x="140447" y="226285"/>
                      <a:pt x="142659" y="226825"/>
                    </a:cubicBezTo>
                    <a:cubicBezTo>
                      <a:pt x="147637" y="228983"/>
                      <a:pt x="146531" y="234920"/>
                      <a:pt x="148190" y="238698"/>
                    </a:cubicBezTo>
                    <a:cubicBezTo>
                      <a:pt x="149296" y="241397"/>
                      <a:pt x="152062" y="243016"/>
                      <a:pt x="153168" y="245715"/>
                    </a:cubicBezTo>
                    <a:cubicBezTo>
                      <a:pt x="157593" y="253271"/>
                      <a:pt x="157593" y="263526"/>
                      <a:pt x="166442" y="268383"/>
                    </a:cubicBezTo>
                    <a:cubicBezTo>
                      <a:pt x="174185" y="272161"/>
                      <a:pt x="175292" y="258128"/>
                      <a:pt x="185247" y="254350"/>
                    </a:cubicBezTo>
                    <a:cubicBezTo>
                      <a:pt x="186907" y="253811"/>
                      <a:pt x="195756" y="252191"/>
                      <a:pt x="196862" y="252731"/>
                    </a:cubicBezTo>
                    <a:cubicBezTo>
                      <a:pt x="197415" y="253271"/>
                      <a:pt x="196862" y="254890"/>
                      <a:pt x="197415" y="255970"/>
                    </a:cubicBezTo>
                    <a:cubicBezTo>
                      <a:pt x="197415" y="256509"/>
                      <a:pt x="199075" y="258668"/>
                      <a:pt x="200181" y="259208"/>
                    </a:cubicBezTo>
                    <a:cubicBezTo>
                      <a:pt x="201840" y="260287"/>
                      <a:pt x="208477" y="263526"/>
                      <a:pt x="210690" y="263526"/>
                    </a:cubicBezTo>
                    <a:cubicBezTo>
                      <a:pt x="217327" y="261907"/>
                      <a:pt x="222858" y="254350"/>
                      <a:pt x="228388" y="252731"/>
                    </a:cubicBezTo>
                    <a:cubicBezTo>
                      <a:pt x="233366" y="251652"/>
                      <a:pt x="232813" y="261367"/>
                      <a:pt x="235579" y="263526"/>
                    </a:cubicBezTo>
                    <a:cubicBezTo>
                      <a:pt x="239450" y="266224"/>
                      <a:pt x="254384" y="268383"/>
                      <a:pt x="259362" y="269463"/>
                    </a:cubicBezTo>
                    <a:cubicBezTo>
                      <a:pt x="260468" y="269463"/>
                      <a:pt x="263786" y="268923"/>
                      <a:pt x="264893" y="268383"/>
                    </a:cubicBezTo>
                    <a:cubicBezTo>
                      <a:pt x="265999" y="267843"/>
                      <a:pt x="268764" y="264065"/>
                      <a:pt x="268764" y="263526"/>
                    </a:cubicBezTo>
                    <a:cubicBezTo>
                      <a:pt x="269870" y="259748"/>
                      <a:pt x="261574" y="257589"/>
                      <a:pt x="259915" y="255430"/>
                    </a:cubicBezTo>
                    <a:cubicBezTo>
                      <a:pt x="258809" y="253811"/>
                      <a:pt x="258255" y="249493"/>
                      <a:pt x="258809" y="247874"/>
                    </a:cubicBezTo>
                    <a:cubicBezTo>
                      <a:pt x="259915" y="239778"/>
                      <a:pt x="264339" y="232222"/>
                      <a:pt x="264893" y="224666"/>
                    </a:cubicBezTo>
                    <a:cubicBezTo>
                      <a:pt x="265446" y="219808"/>
                      <a:pt x="263233" y="214411"/>
                      <a:pt x="263233" y="209553"/>
                    </a:cubicBezTo>
                    <a:cubicBezTo>
                      <a:pt x="262680" y="205775"/>
                      <a:pt x="264893" y="198219"/>
                      <a:pt x="264339" y="194981"/>
                    </a:cubicBezTo>
                    <a:cubicBezTo>
                      <a:pt x="263786" y="192822"/>
                      <a:pt x="258809" y="188504"/>
                      <a:pt x="257702" y="186345"/>
                    </a:cubicBezTo>
                    <a:cubicBezTo>
                      <a:pt x="256596" y="183107"/>
                      <a:pt x="256043" y="175011"/>
                      <a:pt x="254384" y="172852"/>
                    </a:cubicBezTo>
                    <a:cubicBezTo>
                      <a:pt x="252725" y="170154"/>
                      <a:pt x="248300" y="171773"/>
                      <a:pt x="246641" y="166915"/>
                    </a:cubicBezTo>
                    <a:cubicBezTo>
                      <a:pt x="242216" y="155041"/>
                      <a:pt x="247747" y="151803"/>
                      <a:pt x="247194" y="142628"/>
                    </a:cubicBezTo>
                    <a:cubicBezTo>
                      <a:pt x="247194" y="139389"/>
                      <a:pt x="243875" y="137230"/>
                      <a:pt x="244981" y="133452"/>
                    </a:cubicBezTo>
                    <a:cubicBezTo>
                      <a:pt x="246087" y="132373"/>
                      <a:pt x="247194" y="131293"/>
                      <a:pt x="248853" y="131833"/>
                    </a:cubicBezTo>
                    <a:cubicBezTo>
                      <a:pt x="249959" y="132373"/>
                      <a:pt x="252725" y="136151"/>
                      <a:pt x="253831" y="136691"/>
                    </a:cubicBezTo>
                    <a:cubicBezTo>
                      <a:pt x="258255" y="141008"/>
                      <a:pt x="265999" y="145326"/>
                      <a:pt x="272636" y="144787"/>
                    </a:cubicBezTo>
                    <a:cubicBezTo>
                      <a:pt x="277614" y="144787"/>
                      <a:pt x="282038" y="140469"/>
                      <a:pt x="287016" y="139929"/>
                    </a:cubicBezTo>
                    <a:cubicBezTo>
                      <a:pt x="288676" y="139389"/>
                      <a:pt x="296972" y="140469"/>
                      <a:pt x="298078" y="141548"/>
                    </a:cubicBezTo>
                    <a:cubicBezTo>
                      <a:pt x="299184" y="141548"/>
                      <a:pt x="299737" y="143167"/>
                      <a:pt x="300290" y="143707"/>
                    </a:cubicBezTo>
                    <a:cubicBezTo>
                      <a:pt x="301397" y="149104"/>
                      <a:pt x="294206" y="150724"/>
                      <a:pt x="291994" y="154502"/>
                    </a:cubicBezTo>
                    <a:cubicBezTo>
                      <a:pt x="288676" y="159899"/>
                      <a:pt x="296419" y="165296"/>
                      <a:pt x="298078" y="170154"/>
                    </a:cubicBezTo>
                    <a:cubicBezTo>
                      <a:pt x="298631" y="171773"/>
                      <a:pt x="299184" y="179869"/>
                      <a:pt x="299184" y="180408"/>
                    </a:cubicBezTo>
                    <a:cubicBezTo>
                      <a:pt x="303609" y="185806"/>
                      <a:pt x="308587" y="179869"/>
                      <a:pt x="313012" y="180408"/>
                    </a:cubicBezTo>
                    <a:cubicBezTo>
                      <a:pt x="321861" y="181488"/>
                      <a:pt x="330711" y="186345"/>
                      <a:pt x="339560" y="187964"/>
                    </a:cubicBezTo>
                    <a:cubicBezTo>
                      <a:pt x="345644" y="189584"/>
                      <a:pt x="352834" y="188504"/>
                      <a:pt x="358918" y="190123"/>
                    </a:cubicBezTo>
                    <a:cubicBezTo>
                      <a:pt x="366108" y="192282"/>
                      <a:pt x="371639" y="200918"/>
                      <a:pt x="379936" y="198759"/>
                    </a:cubicBezTo>
                    <a:cubicBezTo>
                      <a:pt x="384360" y="197679"/>
                      <a:pt x="389338" y="193362"/>
                      <a:pt x="393210" y="191742"/>
                    </a:cubicBezTo>
                    <a:cubicBezTo>
                      <a:pt x="398188" y="189044"/>
                      <a:pt x="403719" y="186885"/>
                      <a:pt x="409250" y="184186"/>
                    </a:cubicBezTo>
                    <a:cubicBezTo>
                      <a:pt x="411462" y="184186"/>
                      <a:pt x="416993" y="182567"/>
                      <a:pt x="412568" y="179869"/>
                    </a:cubicBezTo>
                    <a:cubicBezTo>
                      <a:pt x="411462" y="179329"/>
                      <a:pt x="408143" y="179869"/>
                      <a:pt x="406484" y="179329"/>
                    </a:cubicBezTo>
                    <a:cubicBezTo>
                      <a:pt x="398741" y="175551"/>
                      <a:pt x="399294" y="165836"/>
                      <a:pt x="404825" y="160439"/>
                    </a:cubicBezTo>
                    <a:cubicBezTo>
                      <a:pt x="415887" y="148565"/>
                      <a:pt x="440776" y="139389"/>
                      <a:pt x="456262" y="135072"/>
                    </a:cubicBezTo>
                    <a:cubicBezTo>
                      <a:pt x="458475" y="134532"/>
                      <a:pt x="460687" y="134532"/>
                      <a:pt x="462900" y="133992"/>
                    </a:cubicBezTo>
                    <a:cubicBezTo>
                      <a:pt x="471196" y="131833"/>
                      <a:pt x="480598" y="129135"/>
                      <a:pt x="488342" y="125896"/>
                    </a:cubicBezTo>
                    <a:cubicBezTo>
                      <a:pt x="495532" y="122118"/>
                      <a:pt x="502722" y="116721"/>
                      <a:pt x="509359" y="111863"/>
                    </a:cubicBezTo>
                    <a:cubicBezTo>
                      <a:pt x="510465" y="109705"/>
                      <a:pt x="515443" y="101069"/>
                      <a:pt x="517656" y="99990"/>
                    </a:cubicBezTo>
                    <a:cubicBezTo>
                      <a:pt x="519315" y="98910"/>
                      <a:pt x="524846" y="102688"/>
                      <a:pt x="525952" y="101069"/>
                    </a:cubicBezTo>
                    <a:cubicBezTo>
                      <a:pt x="528164" y="97831"/>
                      <a:pt x="518762" y="93513"/>
                      <a:pt x="524846" y="83258"/>
                    </a:cubicBezTo>
                    <a:cubicBezTo>
                      <a:pt x="525399" y="81639"/>
                      <a:pt x="528164" y="75702"/>
                      <a:pt x="528164" y="74623"/>
                    </a:cubicBezTo>
                    <a:cubicBezTo>
                      <a:pt x="528164" y="73003"/>
                      <a:pt x="526505" y="71924"/>
                      <a:pt x="526505" y="70844"/>
                    </a:cubicBezTo>
                    <a:cubicBezTo>
                      <a:pt x="525952" y="68686"/>
                      <a:pt x="528717" y="60590"/>
                      <a:pt x="528717" y="57351"/>
                    </a:cubicBezTo>
                    <a:cubicBezTo>
                      <a:pt x="529271" y="48716"/>
                      <a:pt x="523740" y="29286"/>
                      <a:pt x="529824" y="22269"/>
                    </a:cubicBezTo>
                    <a:cubicBezTo>
                      <a:pt x="530930" y="21190"/>
                      <a:pt x="538673" y="15253"/>
                      <a:pt x="540332" y="14174"/>
                    </a:cubicBezTo>
                    <a:cubicBezTo>
                      <a:pt x="545310" y="11475"/>
                      <a:pt x="592323" y="1220"/>
                      <a:pt x="601726" y="-399"/>
                    </a:cubicBezTo>
                    <a:lnTo>
                      <a:pt x="607810" y="14174"/>
                    </a:lnTo>
                    <a:lnTo>
                      <a:pt x="606703" y="32524"/>
                    </a:lnTo>
                    <a:lnTo>
                      <a:pt x="629380" y="51414"/>
                    </a:lnTo>
                    <a:lnTo>
                      <a:pt x="632699" y="45477"/>
                    </a:lnTo>
                    <a:lnTo>
                      <a:pt x="645973" y="40620"/>
                    </a:lnTo>
                    <a:lnTo>
                      <a:pt x="654822" y="74083"/>
                    </a:lnTo>
                    <a:lnTo>
                      <a:pt x="675287" y="81639"/>
                    </a:lnTo>
                    <a:lnTo>
                      <a:pt x="685243" y="100529"/>
                    </a:lnTo>
                    <a:lnTo>
                      <a:pt x="692986" y="97831"/>
                    </a:lnTo>
                    <a:lnTo>
                      <a:pt x="709025" y="98910"/>
                    </a:lnTo>
                    <a:lnTo>
                      <a:pt x="718981" y="109705"/>
                    </a:lnTo>
                    <a:lnTo>
                      <a:pt x="722300" y="118880"/>
                    </a:lnTo>
                    <a:lnTo>
                      <a:pt x="722853" y="140469"/>
                    </a:lnTo>
                    <a:lnTo>
                      <a:pt x="742211" y="144787"/>
                    </a:lnTo>
                    <a:lnTo>
                      <a:pt x="751060" y="146406"/>
                    </a:lnTo>
                    <a:lnTo>
                      <a:pt x="759910" y="138850"/>
                    </a:lnTo>
                    <a:cubicBezTo>
                      <a:pt x="761016" y="132373"/>
                      <a:pt x="764888" y="128595"/>
                      <a:pt x="768759" y="123737"/>
                    </a:cubicBezTo>
                    <a:lnTo>
                      <a:pt x="773184" y="122658"/>
                    </a:lnTo>
                    <a:lnTo>
                      <a:pt x="775397" y="125896"/>
                    </a:lnTo>
                    <a:lnTo>
                      <a:pt x="770972" y="145326"/>
                    </a:lnTo>
                    <a:lnTo>
                      <a:pt x="774290" y="164217"/>
                    </a:lnTo>
                    <a:lnTo>
                      <a:pt x="785905" y="168534"/>
                    </a:lnTo>
                    <a:lnTo>
                      <a:pt x="804157" y="177170"/>
                    </a:lnTo>
                    <a:lnTo>
                      <a:pt x="812454" y="186345"/>
                    </a:lnTo>
                    <a:lnTo>
                      <a:pt x="817985" y="192282"/>
                    </a:lnTo>
                    <a:lnTo>
                      <a:pt x="820750" y="198219"/>
                    </a:lnTo>
                    <a:lnTo>
                      <a:pt x="846192" y="195521"/>
                    </a:lnTo>
                    <a:lnTo>
                      <a:pt x="858913" y="207934"/>
                    </a:lnTo>
                    <a:lnTo>
                      <a:pt x="880484" y="201458"/>
                    </a:lnTo>
                    <a:lnTo>
                      <a:pt x="887121" y="202537"/>
                    </a:lnTo>
                    <a:lnTo>
                      <a:pt x="904267" y="210633"/>
                    </a:lnTo>
                    <a:lnTo>
                      <a:pt x="907586" y="217109"/>
                    </a:lnTo>
                    <a:lnTo>
                      <a:pt x="915882" y="237619"/>
                    </a:lnTo>
                    <a:lnTo>
                      <a:pt x="926944" y="243556"/>
                    </a:lnTo>
                    <a:lnTo>
                      <a:pt x="934134" y="234920"/>
                    </a:lnTo>
                    <a:lnTo>
                      <a:pt x="951833" y="250572"/>
                    </a:lnTo>
                    <a:lnTo>
                      <a:pt x="973957" y="244096"/>
                    </a:lnTo>
                    <a:lnTo>
                      <a:pt x="978934" y="242476"/>
                    </a:lnTo>
                    <a:lnTo>
                      <a:pt x="989996" y="253811"/>
                    </a:lnTo>
                    <a:lnTo>
                      <a:pt x="1002717" y="257049"/>
                    </a:lnTo>
                    <a:lnTo>
                      <a:pt x="1011014" y="254890"/>
                    </a:lnTo>
                    <a:lnTo>
                      <a:pt x="1034244" y="267304"/>
                    </a:lnTo>
                    <a:cubicBezTo>
                      <a:pt x="1029819" y="272701"/>
                      <a:pt x="1026500" y="279717"/>
                      <a:pt x="1022076" y="285115"/>
                    </a:cubicBezTo>
                    <a:cubicBezTo>
                      <a:pt x="1017098" y="290512"/>
                      <a:pt x="1010461" y="295369"/>
                      <a:pt x="1005483" y="301306"/>
                    </a:cubicBezTo>
                    <a:cubicBezTo>
                      <a:pt x="1003270" y="304545"/>
                      <a:pt x="998293" y="319657"/>
                      <a:pt x="997740" y="323975"/>
                    </a:cubicBezTo>
                    <a:cubicBezTo>
                      <a:pt x="997186" y="329372"/>
                      <a:pt x="1000505" y="335309"/>
                      <a:pt x="998293" y="341246"/>
                    </a:cubicBezTo>
                    <a:cubicBezTo>
                      <a:pt x="995527" y="349342"/>
                      <a:pt x="989443" y="356358"/>
                      <a:pt x="987784" y="365533"/>
                    </a:cubicBezTo>
                    <a:cubicBezTo>
                      <a:pt x="986125" y="371470"/>
                      <a:pt x="986125" y="378487"/>
                      <a:pt x="986125" y="384963"/>
                    </a:cubicBezTo>
                    <a:cubicBezTo>
                      <a:pt x="986125" y="387662"/>
                      <a:pt x="986678" y="390361"/>
                      <a:pt x="986678" y="393059"/>
                    </a:cubicBezTo>
                    <a:cubicBezTo>
                      <a:pt x="985571" y="400076"/>
                      <a:pt x="982253" y="407632"/>
                      <a:pt x="982253" y="415188"/>
                    </a:cubicBezTo>
                    <a:cubicBezTo>
                      <a:pt x="981700" y="418966"/>
                      <a:pt x="988890" y="426522"/>
                      <a:pt x="988337" y="428681"/>
                    </a:cubicBezTo>
                    <a:lnTo>
                      <a:pt x="973957" y="445412"/>
                    </a:lnTo>
                    <a:lnTo>
                      <a:pt x="959576" y="444333"/>
                    </a:lnTo>
                    <a:lnTo>
                      <a:pt x="953492" y="433539"/>
                    </a:lnTo>
                    <a:lnTo>
                      <a:pt x="938559" y="440555"/>
                    </a:lnTo>
                    <a:lnTo>
                      <a:pt x="934687" y="448651"/>
                    </a:lnTo>
                    <a:lnTo>
                      <a:pt x="945196" y="455667"/>
                    </a:lnTo>
                    <a:lnTo>
                      <a:pt x="939112" y="465922"/>
                    </a:lnTo>
                    <a:cubicBezTo>
                      <a:pt x="928050" y="472399"/>
                      <a:pt x="919200" y="482653"/>
                      <a:pt x="911457" y="491829"/>
                    </a:cubicBezTo>
                    <a:cubicBezTo>
                      <a:pt x="909798" y="493988"/>
                      <a:pt x="909245" y="496146"/>
                      <a:pt x="907032" y="497766"/>
                    </a:cubicBezTo>
                    <a:cubicBezTo>
                      <a:pt x="903714" y="499924"/>
                      <a:pt x="899289" y="501004"/>
                      <a:pt x="895971" y="502623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3" name="Freeform 1085">
                <a:extLst>
                  <a:ext uri="{FF2B5EF4-FFF2-40B4-BE49-F238E27FC236}">
                    <a16:creationId xmlns:a16="http://schemas.microsoft.com/office/drawing/2014/main" id="{8E25A7AF-6CCA-45FC-A105-2EC0DD14E095}"/>
                  </a:ext>
                </a:extLst>
              </p:cNvPr>
              <p:cNvSpPr/>
              <p:nvPr/>
            </p:nvSpPr>
            <p:spPr>
              <a:xfrm>
                <a:off x="8857594" y="5706017"/>
                <a:ext cx="42034" cy="25906"/>
              </a:xfrm>
              <a:custGeom>
                <a:avLst/>
                <a:gdLst>
                  <a:gd name="connsiteX0" fmla="*/ -993 w 42034"/>
                  <a:gd name="connsiteY0" fmla="*/ 25334 h 25906"/>
                  <a:gd name="connsiteX1" fmla="*/ 20578 w 42034"/>
                  <a:gd name="connsiteY1" fmla="*/ -573 h 25906"/>
                  <a:gd name="connsiteX2" fmla="*/ 31639 w 42034"/>
                  <a:gd name="connsiteY2" fmla="*/ 10222 h 25906"/>
                  <a:gd name="connsiteX3" fmla="*/ 41042 w 42034"/>
                  <a:gd name="connsiteY3" fmla="*/ 25334 h 25906"/>
                  <a:gd name="connsiteX4" fmla="*/ -993 w 42034"/>
                  <a:gd name="connsiteY4" fmla="*/ 25334 h 2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034" h="25906">
                    <a:moveTo>
                      <a:pt x="-993" y="25334"/>
                    </a:moveTo>
                    <a:cubicBezTo>
                      <a:pt x="7303" y="17778"/>
                      <a:pt x="14494" y="8603"/>
                      <a:pt x="20578" y="-573"/>
                    </a:cubicBezTo>
                    <a:lnTo>
                      <a:pt x="31639" y="10222"/>
                    </a:lnTo>
                    <a:lnTo>
                      <a:pt x="41042" y="25334"/>
                    </a:lnTo>
                    <a:lnTo>
                      <a:pt x="-993" y="25334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4" name="Freeform 1086">
                <a:extLst>
                  <a:ext uri="{FF2B5EF4-FFF2-40B4-BE49-F238E27FC236}">
                    <a16:creationId xmlns:a16="http://schemas.microsoft.com/office/drawing/2014/main" id="{AB9CB59B-FAA6-4A2A-8898-B39612FC418B}"/>
                  </a:ext>
                </a:extLst>
              </p:cNvPr>
              <p:cNvSpPr/>
              <p:nvPr/>
            </p:nvSpPr>
            <p:spPr>
              <a:xfrm>
                <a:off x="4696018" y="4533704"/>
                <a:ext cx="1182765" cy="935940"/>
              </a:xfrm>
              <a:custGeom>
                <a:avLst/>
                <a:gdLst>
                  <a:gd name="connsiteX0" fmla="*/ 906638 w 1182765"/>
                  <a:gd name="connsiteY0" fmla="*/ 676367 h 935940"/>
                  <a:gd name="connsiteX1" fmla="*/ 896682 w 1182765"/>
                  <a:gd name="connsiteY1" fmla="*/ 684463 h 935940"/>
                  <a:gd name="connsiteX2" fmla="*/ 891704 w 1182765"/>
                  <a:gd name="connsiteY2" fmla="*/ 684463 h 935940"/>
                  <a:gd name="connsiteX3" fmla="*/ 884514 w 1182765"/>
                  <a:gd name="connsiteY3" fmla="*/ 677986 h 935940"/>
                  <a:gd name="connsiteX4" fmla="*/ 885067 w 1182765"/>
                  <a:gd name="connsiteY4" fmla="*/ 670970 h 935940"/>
                  <a:gd name="connsiteX5" fmla="*/ 892258 w 1182765"/>
                  <a:gd name="connsiteY5" fmla="*/ 665572 h 935940"/>
                  <a:gd name="connsiteX6" fmla="*/ 895576 w 1182765"/>
                  <a:gd name="connsiteY6" fmla="*/ 659096 h 935940"/>
                  <a:gd name="connsiteX7" fmla="*/ 908297 w 1182765"/>
                  <a:gd name="connsiteY7" fmla="*/ 651540 h 935940"/>
                  <a:gd name="connsiteX8" fmla="*/ 921018 w 1182765"/>
                  <a:gd name="connsiteY8" fmla="*/ 660715 h 935940"/>
                  <a:gd name="connsiteX9" fmla="*/ 915487 w 1182765"/>
                  <a:gd name="connsiteY9" fmla="*/ 669890 h 935940"/>
                  <a:gd name="connsiteX10" fmla="*/ 906638 w 1182765"/>
                  <a:gd name="connsiteY10" fmla="*/ 676367 h 935940"/>
                  <a:gd name="connsiteX11" fmla="*/ 30540 w 1182765"/>
                  <a:gd name="connsiteY11" fmla="*/ 731958 h 935940"/>
                  <a:gd name="connsiteX12" fmla="*/ 65938 w 1182765"/>
                  <a:gd name="connsiteY12" fmla="*/ 694717 h 935940"/>
                  <a:gd name="connsiteX13" fmla="*/ 70363 w 1182765"/>
                  <a:gd name="connsiteY13" fmla="*/ 684463 h 935940"/>
                  <a:gd name="connsiteX14" fmla="*/ 80872 w 1182765"/>
                  <a:gd name="connsiteY14" fmla="*/ 679065 h 935940"/>
                  <a:gd name="connsiteX15" fmla="*/ 93593 w 1182765"/>
                  <a:gd name="connsiteY15" fmla="*/ 682304 h 935940"/>
                  <a:gd name="connsiteX16" fmla="*/ 100783 w 1182765"/>
                  <a:gd name="connsiteY16" fmla="*/ 665572 h 935940"/>
                  <a:gd name="connsiteX17" fmla="*/ 96911 w 1182765"/>
                  <a:gd name="connsiteY17" fmla="*/ 661794 h 935940"/>
                  <a:gd name="connsiteX18" fmla="*/ 87509 w 1182765"/>
                  <a:gd name="connsiteY18" fmla="*/ 663413 h 935940"/>
                  <a:gd name="connsiteX19" fmla="*/ 70916 w 1182765"/>
                  <a:gd name="connsiteY19" fmla="*/ 631030 h 935940"/>
                  <a:gd name="connsiteX20" fmla="*/ 75894 w 1182765"/>
                  <a:gd name="connsiteY20" fmla="*/ 625093 h 935940"/>
                  <a:gd name="connsiteX21" fmla="*/ 83084 w 1182765"/>
                  <a:gd name="connsiteY21" fmla="*/ 600266 h 935940"/>
                  <a:gd name="connsiteX22" fmla="*/ 98017 w 1182765"/>
                  <a:gd name="connsiteY22" fmla="*/ 593249 h 935940"/>
                  <a:gd name="connsiteX23" fmla="*/ 113504 w 1182765"/>
                  <a:gd name="connsiteY23" fmla="*/ 560866 h 935940"/>
                  <a:gd name="connsiteX24" fmla="*/ 98570 w 1182765"/>
                  <a:gd name="connsiteY24" fmla="*/ 551691 h 935940"/>
                  <a:gd name="connsiteX25" fmla="*/ 90827 w 1182765"/>
                  <a:gd name="connsiteY25" fmla="*/ 522006 h 935940"/>
                  <a:gd name="connsiteX26" fmla="*/ 93593 w 1182765"/>
                  <a:gd name="connsiteY26" fmla="*/ 509592 h 935940"/>
                  <a:gd name="connsiteX27" fmla="*/ 81978 w 1182765"/>
                  <a:gd name="connsiteY27" fmla="*/ 493940 h 935940"/>
                  <a:gd name="connsiteX28" fmla="*/ 83637 w 1182765"/>
                  <a:gd name="connsiteY28" fmla="*/ 481527 h 935940"/>
                  <a:gd name="connsiteX29" fmla="*/ 116269 w 1182765"/>
                  <a:gd name="connsiteY29" fmla="*/ 498258 h 935940"/>
                  <a:gd name="connsiteX30" fmla="*/ 125119 w 1182765"/>
                  <a:gd name="connsiteY30" fmla="*/ 496099 h 935940"/>
                  <a:gd name="connsiteX31" fmla="*/ 132309 w 1182765"/>
                  <a:gd name="connsiteY31" fmla="*/ 476669 h 935940"/>
                  <a:gd name="connsiteX32" fmla="*/ 146136 w 1182765"/>
                  <a:gd name="connsiteY32" fmla="*/ 455080 h 935940"/>
                  <a:gd name="connsiteX33" fmla="*/ 142818 w 1182765"/>
                  <a:gd name="connsiteY33" fmla="*/ 443746 h 935940"/>
                  <a:gd name="connsiteX34" fmla="*/ 136734 w 1182765"/>
                  <a:gd name="connsiteY34" fmla="*/ 439428 h 935940"/>
                  <a:gd name="connsiteX35" fmla="*/ 138393 w 1182765"/>
                  <a:gd name="connsiteY35" fmla="*/ 430253 h 935940"/>
                  <a:gd name="connsiteX36" fmla="*/ 151114 w 1182765"/>
                  <a:gd name="connsiteY36" fmla="*/ 422157 h 935940"/>
                  <a:gd name="connsiteX37" fmla="*/ 161623 w 1182765"/>
                  <a:gd name="connsiteY37" fmla="*/ 416220 h 935940"/>
                  <a:gd name="connsiteX38" fmla="*/ 159964 w 1182765"/>
                  <a:gd name="connsiteY38" fmla="*/ 404346 h 935940"/>
                  <a:gd name="connsiteX39" fmla="*/ 167154 w 1182765"/>
                  <a:gd name="connsiteY39" fmla="*/ 397870 h 935940"/>
                  <a:gd name="connsiteX40" fmla="*/ 163282 w 1182765"/>
                  <a:gd name="connsiteY40" fmla="*/ 389774 h 935940"/>
                  <a:gd name="connsiteX41" fmla="*/ 172685 w 1182765"/>
                  <a:gd name="connsiteY41" fmla="*/ 360629 h 935940"/>
                  <a:gd name="connsiteX42" fmla="*/ 162729 w 1182765"/>
                  <a:gd name="connsiteY42" fmla="*/ 343358 h 935940"/>
                  <a:gd name="connsiteX43" fmla="*/ 171026 w 1182765"/>
                  <a:gd name="connsiteY43" fmla="*/ 343897 h 935940"/>
                  <a:gd name="connsiteX44" fmla="*/ 190384 w 1182765"/>
                  <a:gd name="connsiteY44" fmla="*/ 325547 h 935940"/>
                  <a:gd name="connsiteX45" fmla="*/ 214720 w 1182765"/>
                  <a:gd name="connsiteY45" fmla="*/ 319610 h 935940"/>
                  <a:gd name="connsiteX46" fmla="*/ 239609 w 1182765"/>
                  <a:gd name="connsiteY46" fmla="*/ 298561 h 935940"/>
                  <a:gd name="connsiteX47" fmla="*/ 235737 w 1182765"/>
                  <a:gd name="connsiteY47" fmla="*/ 273194 h 935940"/>
                  <a:gd name="connsiteX48" fmla="*/ 215273 w 1182765"/>
                  <a:gd name="connsiteY48" fmla="*/ 268336 h 935940"/>
                  <a:gd name="connsiteX49" fmla="*/ 218591 w 1182765"/>
                  <a:gd name="connsiteY49" fmla="*/ 238651 h 935940"/>
                  <a:gd name="connsiteX50" fmla="*/ 201999 w 1182765"/>
                  <a:gd name="connsiteY50" fmla="*/ 234333 h 935940"/>
                  <a:gd name="connsiteX51" fmla="*/ 196468 w 1182765"/>
                  <a:gd name="connsiteY51" fmla="*/ 226777 h 935940"/>
                  <a:gd name="connsiteX52" fmla="*/ 183194 w 1182765"/>
                  <a:gd name="connsiteY52" fmla="*/ 228396 h 935940"/>
                  <a:gd name="connsiteX53" fmla="*/ 175450 w 1182765"/>
                  <a:gd name="connsiteY53" fmla="*/ 226777 h 935940"/>
                  <a:gd name="connsiteX54" fmla="*/ 162729 w 1182765"/>
                  <a:gd name="connsiteY54" fmla="*/ 223539 h 935940"/>
                  <a:gd name="connsiteX55" fmla="*/ 157751 w 1182765"/>
                  <a:gd name="connsiteY55" fmla="*/ 228936 h 935940"/>
                  <a:gd name="connsiteX56" fmla="*/ 136181 w 1182765"/>
                  <a:gd name="connsiteY56" fmla="*/ 235953 h 935940"/>
                  <a:gd name="connsiteX57" fmla="*/ 129544 w 1182765"/>
                  <a:gd name="connsiteY57" fmla="*/ 228396 h 935940"/>
                  <a:gd name="connsiteX58" fmla="*/ 110738 w 1182765"/>
                  <a:gd name="connsiteY58" fmla="*/ 219761 h 935940"/>
                  <a:gd name="connsiteX59" fmla="*/ 96911 w 1182765"/>
                  <a:gd name="connsiteY59" fmla="*/ 222460 h 935940"/>
                  <a:gd name="connsiteX60" fmla="*/ 96358 w 1182765"/>
                  <a:gd name="connsiteY60" fmla="*/ 213824 h 935940"/>
                  <a:gd name="connsiteX61" fmla="*/ 81978 w 1182765"/>
                  <a:gd name="connsiteY61" fmla="*/ 224079 h 935940"/>
                  <a:gd name="connsiteX62" fmla="*/ 73681 w 1182765"/>
                  <a:gd name="connsiteY62" fmla="*/ 222999 h 935940"/>
                  <a:gd name="connsiteX63" fmla="*/ 66491 w 1182765"/>
                  <a:gd name="connsiteY63" fmla="*/ 212745 h 935940"/>
                  <a:gd name="connsiteX64" fmla="*/ 78106 w 1182765"/>
                  <a:gd name="connsiteY64" fmla="*/ 196553 h 935940"/>
                  <a:gd name="connsiteX65" fmla="*/ 71469 w 1182765"/>
                  <a:gd name="connsiteY65" fmla="*/ 182520 h 935940"/>
                  <a:gd name="connsiteX66" fmla="*/ 22797 w 1182765"/>
                  <a:gd name="connsiteY66" fmla="*/ 194934 h 935940"/>
                  <a:gd name="connsiteX67" fmla="*/ 12288 w 1182765"/>
                  <a:gd name="connsiteY67" fmla="*/ 198172 h 935940"/>
                  <a:gd name="connsiteX68" fmla="*/ 7863 w 1182765"/>
                  <a:gd name="connsiteY68" fmla="*/ 198172 h 935940"/>
                  <a:gd name="connsiteX69" fmla="*/ 5651 w 1182765"/>
                  <a:gd name="connsiteY69" fmla="*/ 198172 h 935940"/>
                  <a:gd name="connsiteX70" fmla="*/ 13947 w 1182765"/>
                  <a:gd name="connsiteY70" fmla="*/ 177123 h 935940"/>
                  <a:gd name="connsiteX71" fmla="*/ 26115 w 1182765"/>
                  <a:gd name="connsiteY71" fmla="*/ 171186 h 935940"/>
                  <a:gd name="connsiteX72" fmla="*/ 33306 w 1182765"/>
                  <a:gd name="connsiteY72" fmla="*/ 163090 h 935940"/>
                  <a:gd name="connsiteX73" fmla="*/ 43814 w 1182765"/>
                  <a:gd name="connsiteY73" fmla="*/ 158772 h 935940"/>
                  <a:gd name="connsiteX74" fmla="*/ 44367 w 1182765"/>
                  <a:gd name="connsiteY74" fmla="*/ 154454 h 935940"/>
                  <a:gd name="connsiteX75" fmla="*/ 40496 w 1182765"/>
                  <a:gd name="connsiteY75" fmla="*/ 152835 h 935940"/>
                  <a:gd name="connsiteX76" fmla="*/ 33859 w 1182765"/>
                  <a:gd name="connsiteY76" fmla="*/ 156074 h 935940"/>
                  <a:gd name="connsiteX77" fmla="*/ 24456 w 1182765"/>
                  <a:gd name="connsiteY77" fmla="*/ 157153 h 935940"/>
                  <a:gd name="connsiteX78" fmla="*/ 23350 w 1182765"/>
                  <a:gd name="connsiteY78" fmla="*/ 156074 h 935940"/>
                  <a:gd name="connsiteX79" fmla="*/ 24456 w 1182765"/>
                  <a:gd name="connsiteY79" fmla="*/ 152835 h 935940"/>
                  <a:gd name="connsiteX80" fmla="*/ 41049 w 1182765"/>
                  <a:gd name="connsiteY80" fmla="*/ 144739 h 935940"/>
                  <a:gd name="connsiteX81" fmla="*/ 25562 w 1182765"/>
                  <a:gd name="connsiteY81" fmla="*/ 138263 h 935940"/>
                  <a:gd name="connsiteX82" fmla="*/ 32199 w 1182765"/>
                  <a:gd name="connsiteY82" fmla="*/ 127468 h 935940"/>
                  <a:gd name="connsiteX83" fmla="*/ 33859 w 1182765"/>
                  <a:gd name="connsiteY83" fmla="*/ 117753 h 935940"/>
                  <a:gd name="connsiteX84" fmla="*/ 39943 w 1182765"/>
                  <a:gd name="connsiteY84" fmla="*/ 113435 h 935940"/>
                  <a:gd name="connsiteX85" fmla="*/ 39390 w 1182765"/>
                  <a:gd name="connsiteY85" fmla="*/ 111277 h 935940"/>
                  <a:gd name="connsiteX86" fmla="*/ 31646 w 1182765"/>
                  <a:gd name="connsiteY86" fmla="*/ 108578 h 935940"/>
                  <a:gd name="connsiteX87" fmla="*/ 24456 w 1182765"/>
                  <a:gd name="connsiteY87" fmla="*/ 114515 h 935940"/>
                  <a:gd name="connsiteX88" fmla="*/ 10076 w 1182765"/>
                  <a:gd name="connsiteY88" fmla="*/ 118293 h 935940"/>
                  <a:gd name="connsiteX89" fmla="*/ 10629 w 1182765"/>
                  <a:gd name="connsiteY89" fmla="*/ 114515 h 935940"/>
                  <a:gd name="connsiteX90" fmla="*/ 29434 w 1182765"/>
                  <a:gd name="connsiteY90" fmla="*/ 96164 h 935940"/>
                  <a:gd name="connsiteX91" fmla="*/ 35518 w 1182765"/>
                  <a:gd name="connsiteY91" fmla="*/ 90767 h 935940"/>
                  <a:gd name="connsiteX92" fmla="*/ 16713 w 1182765"/>
                  <a:gd name="connsiteY92" fmla="*/ 94545 h 935940"/>
                  <a:gd name="connsiteX93" fmla="*/ 11182 w 1182765"/>
                  <a:gd name="connsiteY93" fmla="*/ 92386 h 935940"/>
                  <a:gd name="connsiteX94" fmla="*/ 12841 w 1182765"/>
                  <a:gd name="connsiteY94" fmla="*/ 73496 h 935940"/>
                  <a:gd name="connsiteX95" fmla="*/ 9523 w 1182765"/>
                  <a:gd name="connsiteY95" fmla="*/ 70797 h 935940"/>
                  <a:gd name="connsiteX96" fmla="*/ -433 w 1182765"/>
                  <a:gd name="connsiteY96" fmla="*/ 71877 h 935940"/>
                  <a:gd name="connsiteX97" fmla="*/ 1226 w 1182765"/>
                  <a:gd name="connsiteY97" fmla="*/ 67019 h 935940"/>
                  <a:gd name="connsiteX98" fmla="*/ 6204 w 1182765"/>
                  <a:gd name="connsiteY98" fmla="*/ 56764 h 935940"/>
                  <a:gd name="connsiteX99" fmla="*/ 20584 w 1182765"/>
                  <a:gd name="connsiteY99" fmla="*/ 53526 h 935940"/>
                  <a:gd name="connsiteX100" fmla="*/ 18925 w 1182765"/>
                  <a:gd name="connsiteY100" fmla="*/ 45430 h 935940"/>
                  <a:gd name="connsiteX101" fmla="*/ 38837 w 1182765"/>
                  <a:gd name="connsiteY101" fmla="*/ 42732 h 935940"/>
                  <a:gd name="connsiteX102" fmla="*/ 41049 w 1182765"/>
                  <a:gd name="connsiteY102" fmla="*/ 36255 h 935940"/>
                  <a:gd name="connsiteX103" fmla="*/ 48792 w 1182765"/>
                  <a:gd name="connsiteY103" fmla="*/ 33556 h 935940"/>
                  <a:gd name="connsiteX104" fmla="*/ 56535 w 1182765"/>
                  <a:gd name="connsiteY104" fmla="*/ 37874 h 935940"/>
                  <a:gd name="connsiteX105" fmla="*/ 74787 w 1182765"/>
                  <a:gd name="connsiteY105" fmla="*/ 39493 h 935940"/>
                  <a:gd name="connsiteX106" fmla="*/ 86402 w 1182765"/>
                  <a:gd name="connsiteY106" fmla="*/ 36255 h 935940"/>
                  <a:gd name="connsiteX107" fmla="*/ 102442 w 1182765"/>
                  <a:gd name="connsiteY107" fmla="*/ 40033 h 935940"/>
                  <a:gd name="connsiteX108" fmla="*/ 105761 w 1182765"/>
                  <a:gd name="connsiteY108" fmla="*/ 35715 h 935940"/>
                  <a:gd name="connsiteX109" fmla="*/ 98017 w 1182765"/>
                  <a:gd name="connsiteY109" fmla="*/ 25461 h 935940"/>
                  <a:gd name="connsiteX110" fmla="*/ 100230 w 1182765"/>
                  <a:gd name="connsiteY110" fmla="*/ 17365 h 935940"/>
                  <a:gd name="connsiteX111" fmla="*/ 122353 w 1182765"/>
                  <a:gd name="connsiteY111" fmla="*/ 11428 h 935940"/>
                  <a:gd name="connsiteX112" fmla="*/ 135075 w 1182765"/>
                  <a:gd name="connsiteY112" fmla="*/ -446 h 935940"/>
                  <a:gd name="connsiteX113" fmla="*/ 143924 w 1182765"/>
                  <a:gd name="connsiteY113" fmla="*/ 4951 h 935940"/>
                  <a:gd name="connsiteX114" fmla="*/ 156092 w 1182765"/>
                  <a:gd name="connsiteY114" fmla="*/ 2792 h 935940"/>
                  <a:gd name="connsiteX115" fmla="*/ 159964 w 1182765"/>
                  <a:gd name="connsiteY115" fmla="*/ 9269 h 935940"/>
                  <a:gd name="connsiteX116" fmla="*/ 176556 w 1182765"/>
                  <a:gd name="connsiteY116" fmla="*/ 13587 h 935940"/>
                  <a:gd name="connsiteX117" fmla="*/ 185959 w 1182765"/>
                  <a:gd name="connsiteY117" fmla="*/ 28159 h 935940"/>
                  <a:gd name="connsiteX118" fmla="*/ 209742 w 1182765"/>
                  <a:gd name="connsiteY118" fmla="*/ 37334 h 935940"/>
                  <a:gd name="connsiteX119" fmla="*/ 216932 w 1182765"/>
                  <a:gd name="connsiteY119" fmla="*/ 37334 h 935940"/>
                  <a:gd name="connsiteX120" fmla="*/ 238503 w 1182765"/>
                  <a:gd name="connsiteY120" fmla="*/ 40573 h 935940"/>
                  <a:gd name="connsiteX121" fmla="*/ 262286 w 1182765"/>
                  <a:gd name="connsiteY121" fmla="*/ 46510 h 935940"/>
                  <a:gd name="connsiteX122" fmla="*/ 273348 w 1182765"/>
                  <a:gd name="connsiteY122" fmla="*/ 44891 h 935940"/>
                  <a:gd name="connsiteX123" fmla="*/ 301002 w 1182765"/>
                  <a:gd name="connsiteY123" fmla="*/ 49748 h 935940"/>
                  <a:gd name="connsiteX124" fmla="*/ 309299 w 1182765"/>
                  <a:gd name="connsiteY124" fmla="*/ 42192 h 935940"/>
                  <a:gd name="connsiteX125" fmla="*/ 317042 w 1182765"/>
                  <a:gd name="connsiteY125" fmla="*/ 43271 h 935940"/>
                  <a:gd name="connsiteX126" fmla="*/ 326444 w 1182765"/>
                  <a:gd name="connsiteY126" fmla="*/ 55145 h 935940"/>
                  <a:gd name="connsiteX127" fmla="*/ 345803 w 1182765"/>
                  <a:gd name="connsiteY127" fmla="*/ 58923 h 935940"/>
                  <a:gd name="connsiteX128" fmla="*/ 349121 w 1182765"/>
                  <a:gd name="connsiteY128" fmla="*/ 64860 h 935940"/>
                  <a:gd name="connsiteX129" fmla="*/ 359077 w 1182765"/>
                  <a:gd name="connsiteY129" fmla="*/ 67019 h 935940"/>
                  <a:gd name="connsiteX130" fmla="*/ 365714 w 1182765"/>
                  <a:gd name="connsiteY130" fmla="*/ 71877 h 935940"/>
                  <a:gd name="connsiteX131" fmla="*/ 397240 w 1182765"/>
                  <a:gd name="connsiteY131" fmla="*/ 83211 h 935940"/>
                  <a:gd name="connsiteX132" fmla="*/ 422682 w 1182765"/>
                  <a:gd name="connsiteY132" fmla="*/ 88068 h 935940"/>
                  <a:gd name="connsiteX133" fmla="*/ 461952 w 1182765"/>
                  <a:gd name="connsiteY133" fmla="*/ 92386 h 935940"/>
                  <a:gd name="connsiteX134" fmla="*/ 478545 w 1182765"/>
                  <a:gd name="connsiteY134" fmla="*/ 89148 h 935940"/>
                  <a:gd name="connsiteX135" fmla="*/ 490160 w 1182765"/>
                  <a:gd name="connsiteY135" fmla="*/ 95085 h 935940"/>
                  <a:gd name="connsiteX136" fmla="*/ 501221 w 1182765"/>
                  <a:gd name="connsiteY136" fmla="*/ 89688 h 935940"/>
                  <a:gd name="connsiteX137" fmla="*/ 510071 w 1182765"/>
                  <a:gd name="connsiteY137" fmla="*/ 90767 h 935940"/>
                  <a:gd name="connsiteX138" fmla="*/ 515049 w 1182765"/>
                  <a:gd name="connsiteY138" fmla="*/ 98863 h 935940"/>
                  <a:gd name="connsiteX139" fmla="*/ 542150 w 1182765"/>
                  <a:gd name="connsiteY139" fmla="*/ 109657 h 935940"/>
                  <a:gd name="connsiteX140" fmla="*/ 545469 w 1182765"/>
                  <a:gd name="connsiteY140" fmla="*/ 111816 h 935940"/>
                  <a:gd name="connsiteX141" fmla="*/ 548787 w 1182765"/>
                  <a:gd name="connsiteY141" fmla="*/ 116134 h 935940"/>
                  <a:gd name="connsiteX142" fmla="*/ 552106 w 1182765"/>
                  <a:gd name="connsiteY142" fmla="*/ 116134 h 935940"/>
                  <a:gd name="connsiteX143" fmla="*/ 556531 w 1182765"/>
                  <a:gd name="connsiteY143" fmla="*/ 111277 h 935940"/>
                  <a:gd name="connsiteX144" fmla="*/ 577548 w 1182765"/>
                  <a:gd name="connsiteY144" fmla="*/ 106419 h 935940"/>
                  <a:gd name="connsiteX145" fmla="*/ 580314 w 1182765"/>
                  <a:gd name="connsiteY145" fmla="*/ 111816 h 935940"/>
                  <a:gd name="connsiteX146" fmla="*/ 588610 w 1182765"/>
                  <a:gd name="connsiteY146" fmla="*/ 113975 h 935940"/>
                  <a:gd name="connsiteX147" fmla="*/ 599672 w 1182765"/>
                  <a:gd name="connsiteY147" fmla="*/ 119372 h 935940"/>
                  <a:gd name="connsiteX148" fmla="*/ 635070 w 1182765"/>
                  <a:gd name="connsiteY148" fmla="*/ 129627 h 935940"/>
                  <a:gd name="connsiteX149" fmla="*/ 645025 w 1182765"/>
                  <a:gd name="connsiteY149" fmla="*/ 127468 h 935940"/>
                  <a:gd name="connsiteX150" fmla="*/ 660512 w 1182765"/>
                  <a:gd name="connsiteY150" fmla="*/ 123690 h 935940"/>
                  <a:gd name="connsiteX151" fmla="*/ 667702 w 1182765"/>
                  <a:gd name="connsiteY151" fmla="*/ 131246 h 935940"/>
                  <a:gd name="connsiteX152" fmla="*/ 671574 w 1182765"/>
                  <a:gd name="connsiteY152" fmla="*/ 132865 h 935940"/>
                  <a:gd name="connsiteX153" fmla="*/ 698675 w 1182765"/>
                  <a:gd name="connsiteY153" fmla="*/ 138802 h 935940"/>
                  <a:gd name="connsiteX154" fmla="*/ 689826 w 1182765"/>
                  <a:gd name="connsiteY154" fmla="*/ 164169 h 935940"/>
                  <a:gd name="connsiteX155" fmla="*/ 705866 w 1182765"/>
                  <a:gd name="connsiteY155" fmla="*/ 164709 h 935940"/>
                  <a:gd name="connsiteX156" fmla="*/ 725224 w 1182765"/>
                  <a:gd name="connsiteY156" fmla="*/ 177123 h 935940"/>
                  <a:gd name="connsiteX157" fmla="*/ 749007 w 1182765"/>
                  <a:gd name="connsiteY157" fmla="*/ 180361 h 935940"/>
                  <a:gd name="connsiteX158" fmla="*/ 750113 w 1182765"/>
                  <a:gd name="connsiteY158" fmla="*/ 184139 h 935940"/>
                  <a:gd name="connsiteX159" fmla="*/ 752878 w 1182765"/>
                  <a:gd name="connsiteY159" fmla="*/ 192235 h 935940"/>
                  <a:gd name="connsiteX160" fmla="*/ 764493 w 1182765"/>
                  <a:gd name="connsiteY160" fmla="*/ 202490 h 935940"/>
                  <a:gd name="connsiteX161" fmla="*/ 794360 w 1182765"/>
                  <a:gd name="connsiteY161" fmla="*/ 204649 h 935940"/>
                  <a:gd name="connsiteX162" fmla="*/ 806528 w 1182765"/>
                  <a:gd name="connsiteY162" fmla="*/ 217602 h 935940"/>
                  <a:gd name="connsiteX163" fmla="*/ 833630 w 1182765"/>
                  <a:gd name="connsiteY163" fmla="*/ 220301 h 935940"/>
                  <a:gd name="connsiteX164" fmla="*/ 842479 w 1182765"/>
                  <a:gd name="connsiteY164" fmla="*/ 224618 h 935940"/>
                  <a:gd name="connsiteX165" fmla="*/ 849669 w 1182765"/>
                  <a:gd name="connsiteY165" fmla="*/ 219761 h 935940"/>
                  <a:gd name="connsiteX166" fmla="*/ 869028 w 1182765"/>
                  <a:gd name="connsiteY166" fmla="*/ 222460 h 935940"/>
                  <a:gd name="connsiteX167" fmla="*/ 871793 w 1182765"/>
                  <a:gd name="connsiteY167" fmla="*/ 222999 h 935940"/>
                  <a:gd name="connsiteX168" fmla="*/ 875665 w 1182765"/>
                  <a:gd name="connsiteY168" fmla="*/ 207887 h 935940"/>
                  <a:gd name="connsiteX169" fmla="*/ 882302 w 1182765"/>
                  <a:gd name="connsiteY169" fmla="*/ 208966 h 935940"/>
                  <a:gd name="connsiteX170" fmla="*/ 909403 w 1182765"/>
                  <a:gd name="connsiteY170" fmla="*/ 219221 h 935940"/>
                  <a:gd name="connsiteX171" fmla="*/ 918253 w 1182765"/>
                  <a:gd name="connsiteY171" fmla="*/ 225158 h 935940"/>
                  <a:gd name="connsiteX172" fmla="*/ 933739 w 1182765"/>
                  <a:gd name="connsiteY172" fmla="*/ 227317 h 935940"/>
                  <a:gd name="connsiteX173" fmla="*/ 940377 w 1182765"/>
                  <a:gd name="connsiteY173" fmla="*/ 243509 h 935940"/>
                  <a:gd name="connsiteX174" fmla="*/ 939823 w 1182765"/>
                  <a:gd name="connsiteY174" fmla="*/ 259161 h 935940"/>
                  <a:gd name="connsiteX175" fmla="*/ 944801 w 1182765"/>
                  <a:gd name="connsiteY175" fmla="*/ 260240 h 935940"/>
                  <a:gd name="connsiteX176" fmla="*/ 960841 w 1182765"/>
                  <a:gd name="connsiteY176" fmla="*/ 256462 h 935940"/>
                  <a:gd name="connsiteX177" fmla="*/ 964713 w 1182765"/>
                  <a:gd name="connsiteY177" fmla="*/ 257542 h 935940"/>
                  <a:gd name="connsiteX178" fmla="*/ 982412 w 1182765"/>
                  <a:gd name="connsiteY178" fmla="*/ 263479 h 935940"/>
                  <a:gd name="connsiteX179" fmla="*/ 994026 w 1182765"/>
                  <a:gd name="connsiteY179" fmla="*/ 275352 h 935940"/>
                  <a:gd name="connsiteX180" fmla="*/ 1013938 w 1182765"/>
                  <a:gd name="connsiteY180" fmla="*/ 267796 h 935940"/>
                  <a:gd name="connsiteX181" fmla="*/ 1048229 w 1182765"/>
                  <a:gd name="connsiteY181" fmla="*/ 282369 h 935940"/>
                  <a:gd name="connsiteX182" fmla="*/ 1053760 w 1182765"/>
                  <a:gd name="connsiteY182" fmla="*/ 272114 h 935940"/>
                  <a:gd name="connsiteX183" fmla="*/ 1066482 w 1182765"/>
                  <a:gd name="connsiteY183" fmla="*/ 266177 h 935940"/>
                  <a:gd name="connsiteX184" fmla="*/ 1089711 w 1182765"/>
                  <a:gd name="connsiteY184" fmla="*/ 270495 h 935940"/>
                  <a:gd name="connsiteX185" fmla="*/ 1094689 w 1182765"/>
                  <a:gd name="connsiteY185" fmla="*/ 281289 h 935940"/>
                  <a:gd name="connsiteX186" fmla="*/ 1103539 w 1182765"/>
                  <a:gd name="connsiteY186" fmla="*/ 287226 h 935940"/>
                  <a:gd name="connsiteX187" fmla="*/ 1100773 w 1182765"/>
                  <a:gd name="connsiteY187" fmla="*/ 293703 h 935940"/>
                  <a:gd name="connsiteX188" fmla="*/ 1089158 w 1182765"/>
                  <a:gd name="connsiteY188" fmla="*/ 294782 h 935940"/>
                  <a:gd name="connsiteX189" fmla="*/ 1088605 w 1182765"/>
                  <a:gd name="connsiteY189" fmla="*/ 304497 h 935940"/>
                  <a:gd name="connsiteX190" fmla="*/ 1095795 w 1182765"/>
                  <a:gd name="connsiteY190" fmla="*/ 313673 h 935940"/>
                  <a:gd name="connsiteX191" fmla="*/ 1095795 w 1182765"/>
                  <a:gd name="connsiteY191" fmla="*/ 328785 h 935940"/>
                  <a:gd name="connsiteX192" fmla="*/ 1087499 w 1182765"/>
                  <a:gd name="connsiteY192" fmla="*/ 342818 h 935940"/>
                  <a:gd name="connsiteX193" fmla="*/ 1049889 w 1182765"/>
                  <a:gd name="connsiteY193" fmla="*/ 360629 h 935940"/>
                  <a:gd name="connsiteX194" fmla="*/ 1047676 w 1182765"/>
                  <a:gd name="connsiteY194" fmla="*/ 362788 h 935940"/>
                  <a:gd name="connsiteX195" fmla="*/ 1029977 w 1182765"/>
                  <a:gd name="connsiteY195" fmla="*/ 371423 h 935940"/>
                  <a:gd name="connsiteX196" fmla="*/ 1004535 w 1182765"/>
                  <a:gd name="connsiteY196" fmla="*/ 381138 h 935940"/>
                  <a:gd name="connsiteX197" fmla="*/ 984624 w 1182765"/>
                  <a:gd name="connsiteY197" fmla="*/ 403807 h 935940"/>
                  <a:gd name="connsiteX198" fmla="*/ 912169 w 1182765"/>
                  <a:gd name="connsiteY198" fmla="*/ 413522 h 935940"/>
                  <a:gd name="connsiteX199" fmla="*/ 898342 w 1182765"/>
                  <a:gd name="connsiteY199" fmla="*/ 420538 h 935940"/>
                  <a:gd name="connsiteX200" fmla="*/ 883961 w 1182765"/>
                  <a:gd name="connsiteY200" fmla="*/ 422697 h 935940"/>
                  <a:gd name="connsiteX201" fmla="*/ 858519 w 1182765"/>
                  <a:gd name="connsiteY201" fmla="*/ 441047 h 935940"/>
                  <a:gd name="connsiteX202" fmla="*/ 867368 w 1182765"/>
                  <a:gd name="connsiteY202" fmla="*/ 460478 h 935940"/>
                  <a:gd name="connsiteX203" fmla="*/ 851329 w 1182765"/>
                  <a:gd name="connsiteY203" fmla="*/ 474510 h 935940"/>
                  <a:gd name="connsiteX204" fmla="*/ 849669 w 1182765"/>
                  <a:gd name="connsiteY204" fmla="*/ 468034 h 935940"/>
                  <a:gd name="connsiteX205" fmla="*/ 831970 w 1182765"/>
                  <a:gd name="connsiteY205" fmla="*/ 484765 h 935940"/>
                  <a:gd name="connsiteX206" fmla="*/ 825886 w 1182765"/>
                  <a:gd name="connsiteY206" fmla="*/ 493401 h 935940"/>
                  <a:gd name="connsiteX207" fmla="*/ 797679 w 1182765"/>
                  <a:gd name="connsiteY207" fmla="*/ 523085 h 935940"/>
                  <a:gd name="connsiteX208" fmla="*/ 790489 w 1182765"/>
                  <a:gd name="connsiteY208" fmla="*/ 529022 h 935940"/>
                  <a:gd name="connsiteX209" fmla="*/ 763387 w 1182765"/>
                  <a:gd name="connsiteY209" fmla="*/ 555469 h 935940"/>
                  <a:gd name="connsiteX210" fmla="*/ 741263 w 1182765"/>
                  <a:gd name="connsiteY210" fmla="*/ 611060 h 935940"/>
                  <a:gd name="connsiteX211" fmla="*/ 744582 w 1182765"/>
                  <a:gd name="connsiteY211" fmla="*/ 629951 h 935940"/>
                  <a:gd name="connsiteX212" fmla="*/ 744029 w 1182765"/>
                  <a:gd name="connsiteY212" fmla="*/ 634808 h 935940"/>
                  <a:gd name="connsiteX213" fmla="*/ 765599 w 1182765"/>
                  <a:gd name="connsiteY213" fmla="*/ 668811 h 935940"/>
                  <a:gd name="connsiteX214" fmla="*/ 786617 w 1182765"/>
                  <a:gd name="connsiteY214" fmla="*/ 690939 h 935940"/>
                  <a:gd name="connsiteX215" fmla="*/ 773343 w 1182765"/>
                  <a:gd name="connsiteY215" fmla="*/ 695257 h 935940"/>
                  <a:gd name="connsiteX216" fmla="*/ 768365 w 1182765"/>
                  <a:gd name="connsiteY216" fmla="*/ 701734 h 935940"/>
                  <a:gd name="connsiteX217" fmla="*/ 757856 w 1182765"/>
                  <a:gd name="connsiteY217" fmla="*/ 700654 h 935940"/>
                  <a:gd name="connsiteX218" fmla="*/ 755644 w 1182765"/>
                  <a:gd name="connsiteY218" fmla="*/ 708211 h 935940"/>
                  <a:gd name="connsiteX219" fmla="*/ 754538 w 1182765"/>
                  <a:gd name="connsiteY219" fmla="*/ 709290 h 935940"/>
                  <a:gd name="connsiteX220" fmla="*/ 744582 w 1182765"/>
                  <a:gd name="connsiteY220" fmla="*/ 708211 h 935940"/>
                  <a:gd name="connsiteX221" fmla="*/ 727436 w 1182765"/>
                  <a:gd name="connsiteY221" fmla="*/ 715767 h 935940"/>
                  <a:gd name="connsiteX222" fmla="*/ 720799 w 1182765"/>
                  <a:gd name="connsiteY222" fmla="*/ 727101 h 935940"/>
                  <a:gd name="connsiteX223" fmla="*/ 712503 w 1182765"/>
                  <a:gd name="connsiteY223" fmla="*/ 728720 h 935940"/>
                  <a:gd name="connsiteX224" fmla="*/ 707525 w 1182765"/>
                  <a:gd name="connsiteY224" fmla="*/ 744912 h 935940"/>
                  <a:gd name="connsiteX225" fmla="*/ 697016 w 1182765"/>
                  <a:gd name="connsiteY225" fmla="*/ 751928 h 935940"/>
                  <a:gd name="connsiteX226" fmla="*/ 684295 w 1182765"/>
                  <a:gd name="connsiteY226" fmla="*/ 785391 h 935940"/>
                  <a:gd name="connsiteX227" fmla="*/ 672680 w 1182765"/>
                  <a:gd name="connsiteY227" fmla="*/ 802122 h 935940"/>
                  <a:gd name="connsiteX228" fmla="*/ 685954 w 1182765"/>
                  <a:gd name="connsiteY228" fmla="*/ 793487 h 935940"/>
                  <a:gd name="connsiteX229" fmla="*/ 688720 w 1182765"/>
                  <a:gd name="connsiteY229" fmla="*/ 795106 h 935940"/>
                  <a:gd name="connsiteX230" fmla="*/ 688167 w 1182765"/>
                  <a:gd name="connsiteY230" fmla="*/ 803742 h 935940"/>
                  <a:gd name="connsiteX231" fmla="*/ 684848 w 1182765"/>
                  <a:gd name="connsiteY231" fmla="*/ 809678 h 935940"/>
                  <a:gd name="connsiteX232" fmla="*/ 664937 w 1182765"/>
                  <a:gd name="connsiteY232" fmla="*/ 813457 h 935940"/>
                  <a:gd name="connsiteX233" fmla="*/ 656087 w 1182765"/>
                  <a:gd name="connsiteY233" fmla="*/ 811298 h 935940"/>
                  <a:gd name="connsiteX234" fmla="*/ 647238 w 1182765"/>
                  <a:gd name="connsiteY234" fmla="*/ 816155 h 935940"/>
                  <a:gd name="connsiteX235" fmla="*/ 630092 w 1182765"/>
                  <a:gd name="connsiteY235" fmla="*/ 810218 h 935940"/>
                  <a:gd name="connsiteX236" fmla="*/ 607968 w 1182765"/>
                  <a:gd name="connsiteY236" fmla="*/ 824791 h 935940"/>
                  <a:gd name="connsiteX237" fmla="*/ 599119 w 1182765"/>
                  <a:gd name="connsiteY237" fmla="*/ 824791 h 935940"/>
                  <a:gd name="connsiteX238" fmla="*/ 588610 w 1182765"/>
                  <a:gd name="connsiteY238" fmla="*/ 828569 h 935940"/>
                  <a:gd name="connsiteX239" fmla="*/ 577548 w 1182765"/>
                  <a:gd name="connsiteY239" fmla="*/ 839903 h 935940"/>
                  <a:gd name="connsiteX240" fmla="*/ 563168 w 1182765"/>
                  <a:gd name="connsiteY240" fmla="*/ 874445 h 935940"/>
                  <a:gd name="connsiteX241" fmla="*/ 552106 w 1182765"/>
                  <a:gd name="connsiteY241" fmla="*/ 882541 h 935940"/>
                  <a:gd name="connsiteX242" fmla="*/ 534960 w 1182765"/>
                  <a:gd name="connsiteY242" fmla="*/ 899812 h 935940"/>
                  <a:gd name="connsiteX243" fmla="*/ 523345 w 1182765"/>
                  <a:gd name="connsiteY243" fmla="*/ 891177 h 935940"/>
                  <a:gd name="connsiteX244" fmla="*/ 520580 w 1182765"/>
                  <a:gd name="connsiteY244" fmla="*/ 884160 h 935940"/>
                  <a:gd name="connsiteX245" fmla="*/ 503987 w 1182765"/>
                  <a:gd name="connsiteY245" fmla="*/ 878763 h 935940"/>
                  <a:gd name="connsiteX246" fmla="*/ 491266 w 1182765"/>
                  <a:gd name="connsiteY246" fmla="*/ 884160 h 935940"/>
                  <a:gd name="connsiteX247" fmla="*/ 476885 w 1182765"/>
                  <a:gd name="connsiteY247" fmla="*/ 896574 h 935940"/>
                  <a:gd name="connsiteX248" fmla="*/ 468589 w 1182765"/>
                  <a:gd name="connsiteY248" fmla="*/ 894955 h 935940"/>
                  <a:gd name="connsiteX249" fmla="*/ 462505 w 1182765"/>
                  <a:gd name="connsiteY249" fmla="*/ 885240 h 935940"/>
                  <a:gd name="connsiteX250" fmla="*/ 421023 w 1182765"/>
                  <a:gd name="connsiteY250" fmla="*/ 883621 h 935940"/>
                  <a:gd name="connsiteX251" fmla="*/ 408302 w 1182765"/>
                  <a:gd name="connsiteY251" fmla="*/ 887399 h 935940"/>
                  <a:gd name="connsiteX252" fmla="*/ 393922 w 1182765"/>
                  <a:gd name="connsiteY252" fmla="*/ 879843 h 935940"/>
                  <a:gd name="connsiteX253" fmla="*/ 376223 w 1182765"/>
                  <a:gd name="connsiteY253" fmla="*/ 878763 h 935940"/>
                  <a:gd name="connsiteX254" fmla="*/ 370692 w 1182765"/>
                  <a:gd name="connsiteY254" fmla="*/ 874985 h 935940"/>
                  <a:gd name="connsiteX255" fmla="*/ 348568 w 1182765"/>
                  <a:gd name="connsiteY255" fmla="*/ 872826 h 935940"/>
                  <a:gd name="connsiteX256" fmla="*/ 335294 w 1182765"/>
                  <a:gd name="connsiteY256" fmla="*/ 875525 h 935940"/>
                  <a:gd name="connsiteX257" fmla="*/ 320360 w 1182765"/>
                  <a:gd name="connsiteY257" fmla="*/ 871747 h 935940"/>
                  <a:gd name="connsiteX258" fmla="*/ 308192 w 1182765"/>
                  <a:gd name="connsiteY258" fmla="*/ 883081 h 935940"/>
                  <a:gd name="connsiteX259" fmla="*/ 283303 w 1182765"/>
                  <a:gd name="connsiteY259" fmla="*/ 894955 h 935940"/>
                  <a:gd name="connsiteX260" fmla="*/ 246799 w 1182765"/>
                  <a:gd name="connsiteY260" fmla="*/ 892256 h 935940"/>
                  <a:gd name="connsiteX261" fmla="*/ 224675 w 1182765"/>
                  <a:gd name="connsiteY261" fmla="*/ 908988 h 935940"/>
                  <a:gd name="connsiteX262" fmla="*/ 213061 w 1182765"/>
                  <a:gd name="connsiteY262" fmla="*/ 926798 h 935940"/>
                  <a:gd name="connsiteX263" fmla="*/ 205317 w 1182765"/>
                  <a:gd name="connsiteY263" fmla="*/ 924640 h 935940"/>
                  <a:gd name="connsiteX264" fmla="*/ 202552 w 1182765"/>
                  <a:gd name="connsiteY264" fmla="*/ 932735 h 935940"/>
                  <a:gd name="connsiteX265" fmla="*/ 194808 w 1182765"/>
                  <a:gd name="connsiteY265" fmla="*/ 935434 h 935940"/>
                  <a:gd name="connsiteX266" fmla="*/ 174897 w 1182765"/>
                  <a:gd name="connsiteY266" fmla="*/ 924640 h 935940"/>
                  <a:gd name="connsiteX267" fmla="*/ 168260 w 1182765"/>
                  <a:gd name="connsiteY267" fmla="*/ 923560 h 935940"/>
                  <a:gd name="connsiteX268" fmla="*/ 140605 w 1182765"/>
                  <a:gd name="connsiteY268" fmla="*/ 901971 h 935940"/>
                  <a:gd name="connsiteX269" fmla="*/ 130097 w 1182765"/>
                  <a:gd name="connsiteY269" fmla="*/ 885240 h 935940"/>
                  <a:gd name="connsiteX270" fmla="*/ 126778 w 1182765"/>
                  <a:gd name="connsiteY270" fmla="*/ 871747 h 935940"/>
                  <a:gd name="connsiteX271" fmla="*/ 127331 w 1182765"/>
                  <a:gd name="connsiteY271" fmla="*/ 869588 h 935940"/>
                  <a:gd name="connsiteX272" fmla="*/ 138393 w 1182765"/>
                  <a:gd name="connsiteY272" fmla="*/ 869588 h 935940"/>
                  <a:gd name="connsiteX273" fmla="*/ 128437 w 1182765"/>
                  <a:gd name="connsiteY273" fmla="*/ 851237 h 935940"/>
                  <a:gd name="connsiteX274" fmla="*/ 126225 w 1182765"/>
                  <a:gd name="connsiteY274" fmla="*/ 840443 h 935940"/>
                  <a:gd name="connsiteX275" fmla="*/ 128991 w 1182765"/>
                  <a:gd name="connsiteY275" fmla="*/ 830188 h 935940"/>
                  <a:gd name="connsiteX276" fmla="*/ 109632 w 1182765"/>
                  <a:gd name="connsiteY276" fmla="*/ 801583 h 935940"/>
                  <a:gd name="connsiteX277" fmla="*/ 96358 w 1182765"/>
                  <a:gd name="connsiteY277" fmla="*/ 792947 h 935940"/>
                  <a:gd name="connsiteX278" fmla="*/ 93040 w 1182765"/>
                  <a:gd name="connsiteY278" fmla="*/ 787550 h 935940"/>
                  <a:gd name="connsiteX279" fmla="*/ 86402 w 1182765"/>
                  <a:gd name="connsiteY279" fmla="*/ 783772 h 935940"/>
                  <a:gd name="connsiteX280" fmla="*/ 87509 w 1182765"/>
                  <a:gd name="connsiteY280" fmla="*/ 768120 h 935940"/>
                  <a:gd name="connsiteX281" fmla="*/ 81978 w 1182765"/>
                  <a:gd name="connsiteY281" fmla="*/ 769199 h 935940"/>
                  <a:gd name="connsiteX282" fmla="*/ 79212 w 1182765"/>
                  <a:gd name="connsiteY282" fmla="*/ 776755 h 935940"/>
                  <a:gd name="connsiteX283" fmla="*/ 66491 w 1182765"/>
                  <a:gd name="connsiteY283" fmla="*/ 771358 h 935940"/>
                  <a:gd name="connsiteX284" fmla="*/ 49345 w 1182765"/>
                  <a:gd name="connsiteY284" fmla="*/ 774057 h 935940"/>
                  <a:gd name="connsiteX285" fmla="*/ 37730 w 1182765"/>
                  <a:gd name="connsiteY285" fmla="*/ 771358 h 935940"/>
                  <a:gd name="connsiteX286" fmla="*/ 30540 w 1182765"/>
                  <a:gd name="connsiteY286" fmla="*/ 731958 h 935940"/>
                  <a:gd name="connsiteX287" fmla="*/ 1166038 w 1182765"/>
                  <a:gd name="connsiteY287" fmla="*/ 554929 h 935940"/>
                  <a:gd name="connsiteX288" fmla="*/ 1182078 w 1182765"/>
                  <a:gd name="connsiteY288" fmla="*/ 578677 h 935940"/>
                  <a:gd name="connsiteX289" fmla="*/ 1179865 w 1182765"/>
                  <a:gd name="connsiteY289" fmla="*/ 585154 h 935940"/>
                  <a:gd name="connsiteX290" fmla="*/ 1169910 w 1182765"/>
                  <a:gd name="connsiteY290" fmla="*/ 584074 h 935940"/>
                  <a:gd name="connsiteX291" fmla="*/ 1152764 w 1182765"/>
                  <a:gd name="connsiteY291" fmla="*/ 572200 h 935940"/>
                  <a:gd name="connsiteX292" fmla="*/ 1140596 w 1182765"/>
                  <a:gd name="connsiteY292" fmla="*/ 568962 h 935940"/>
                  <a:gd name="connsiteX293" fmla="*/ 1140043 w 1182765"/>
                  <a:gd name="connsiteY293" fmla="*/ 554929 h 935940"/>
                  <a:gd name="connsiteX294" fmla="*/ 1166038 w 1182765"/>
                  <a:gd name="connsiteY294" fmla="*/ 554929 h 935940"/>
                  <a:gd name="connsiteX295" fmla="*/ 1048783 w 1182765"/>
                  <a:gd name="connsiteY295" fmla="*/ 568962 h 935940"/>
                  <a:gd name="connsiteX296" fmla="*/ 1065928 w 1182765"/>
                  <a:gd name="connsiteY296" fmla="*/ 564104 h 935940"/>
                  <a:gd name="connsiteX297" fmla="*/ 1076990 w 1182765"/>
                  <a:gd name="connsiteY297" fmla="*/ 564104 h 935940"/>
                  <a:gd name="connsiteX298" fmla="*/ 1076990 w 1182765"/>
                  <a:gd name="connsiteY298" fmla="*/ 567882 h 935940"/>
                  <a:gd name="connsiteX299" fmla="*/ 1070906 w 1182765"/>
                  <a:gd name="connsiteY299" fmla="*/ 571661 h 935940"/>
                  <a:gd name="connsiteX300" fmla="*/ 1071459 w 1182765"/>
                  <a:gd name="connsiteY300" fmla="*/ 585154 h 935940"/>
                  <a:gd name="connsiteX301" fmla="*/ 1096349 w 1182765"/>
                  <a:gd name="connsiteY301" fmla="*/ 590551 h 935940"/>
                  <a:gd name="connsiteX302" fmla="*/ 1081968 w 1182765"/>
                  <a:gd name="connsiteY302" fmla="*/ 625093 h 935940"/>
                  <a:gd name="connsiteX303" fmla="*/ 1065928 w 1182765"/>
                  <a:gd name="connsiteY303" fmla="*/ 641825 h 935940"/>
                  <a:gd name="connsiteX304" fmla="*/ 1058738 w 1182765"/>
                  <a:gd name="connsiteY304" fmla="*/ 641285 h 935940"/>
                  <a:gd name="connsiteX305" fmla="*/ 1050995 w 1182765"/>
                  <a:gd name="connsiteY305" fmla="*/ 635888 h 935940"/>
                  <a:gd name="connsiteX306" fmla="*/ 1036615 w 1182765"/>
                  <a:gd name="connsiteY306" fmla="*/ 628331 h 935940"/>
                  <a:gd name="connsiteX307" fmla="*/ 1028318 w 1182765"/>
                  <a:gd name="connsiteY307" fmla="*/ 611060 h 935940"/>
                  <a:gd name="connsiteX308" fmla="*/ 1016703 w 1182765"/>
                  <a:gd name="connsiteY308" fmla="*/ 612679 h 935940"/>
                  <a:gd name="connsiteX309" fmla="*/ 1010619 w 1182765"/>
                  <a:gd name="connsiteY309" fmla="*/ 617537 h 935940"/>
                  <a:gd name="connsiteX310" fmla="*/ 1007301 w 1182765"/>
                  <a:gd name="connsiteY310" fmla="*/ 616997 h 935940"/>
                  <a:gd name="connsiteX311" fmla="*/ 999004 w 1182765"/>
                  <a:gd name="connsiteY311" fmla="*/ 607822 h 935940"/>
                  <a:gd name="connsiteX312" fmla="*/ 998451 w 1182765"/>
                  <a:gd name="connsiteY312" fmla="*/ 604044 h 935940"/>
                  <a:gd name="connsiteX313" fmla="*/ 1017256 w 1182765"/>
                  <a:gd name="connsiteY313" fmla="*/ 586233 h 935940"/>
                  <a:gd name="connsiteX314" fmla="*/ 1020575 w 1182765"/>
                  <a:gd name="connsiteY314" fmla="*/ 584614 h 935940"/>
                  <a:gd name="connsiteX315" fmla="*/ 1048783 w 1182765"/>
                  <a:gd name="connsiteY315" fmla="*/ 568962 h 935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1182765" h="935940">
                    <a:moveTo>
                      <a:pt x="906638" y="676367"/>
                    </a:moveTo>
                    <a:cubicBezTo>
                      <a:pt x="904426" y="677986"/>
                      <a:pt x="898342" y="683923"/>
                      <a:pt x="896682" y="684463"/>
                    </a:cubicBezTo>
                    <a:cubicBezTo>
                      <a:pt x="895576" y="685002"/>
                      <a:pt x="892811" y="684463"/>
                      <a:pt x="891704" y="684463"/>
                    </a:cubicBezTo>
                    <a:cubicBezTo>
                      <a:pt x="890045" y="683383"/>
                      <a:pt x="885067" y="679605"/>
                      <a:pt x="884514" y="677986"/>
                    </a:cubicBezTo>
                    <a:cubicBezTo>
                      <a:pt x="883961" y="676907"/>
                      <a:pt x="884514" y="672589"/>
                      <a:pt x="885067" y="670970"/>
                    </a:cubicBezTo>
                    <a:cubicBezTo>
                      <a:pt x="886174" y="669350"/>
                      <a:pt x="890598" y="667192"/>
                      <a:pt x="892258" y="665572"/>
                    </a:cubicBezTo>
                    <a:cubicBezTo>
                      <a:pt x="893364" y="663953"/>
                      <a:pt x="893917" y="660715"/>
                      <a:pt x="895576" y="659096"/>
                    </a:cubicBezTo>
                    <a:cubicBezTo>
                      <a:pt x="897235" y="657477"/>
                      <a:pt x="906085" y="652079"/>
                      <a:pt x="908297" y="651540"/>
                    </a:cubicBezTo>
                    <a:cubicBezTo>
                      <a:pt x="913828" y="649920"/>
                      <a:pt x="924337" y="653159"/>
                      <a:pt x="921018" y="660715"/>
                    </a:cubicBezTo>
                    <a:cubicBezTo>
                      <a:pt x="920465" y="662334"/>
                      <a:pt x="916594" y="668271"/>
                      <a:pt x="915487" y="669890"/>
                    </a:cubicBezTo>
                    <a:cubicBezTo>
                      <a:pt x="912722" y="672049"/>
                      <a:pt x="909403" y="674208"/>
                      <a:pt x="906638" y="676367"/>
                    </a:cubicBezTo>
                    <a:close/>
                    <a:moveTo>
                      <a:pt x="30540" y="731958"/>
                    </a:moveTo>
                    <a:lnTo>
                      <a:pt x="65938" y="694717"/>
                    </a:lnTo>
                    <a:lnTo>
                      <a:pt x="70363" y="684463"/>
                    </a:lnTo>
                    <a:lnTo>
                      <a:pt x="80872" y="679065"/>
                    </a:lnTo>
                    <a:lnTo>
                      <a:pt x="93593" y="682304"/>
                    </a:lnTo>
                    <a:lnTo>
                      <a:pt x="100783" y="665572"/>
                    </a:lnTo>
                    <a:lnTo>
                      <a:pt x="96911" y="661794"/>
                    </a:lnTo>
                    <a:lnTo>
                      <a:pt x="87509" y="663413"/>
                    </a:lnTo>
                    <a:lnTo>
                      <a:pt x="70916" y="631030"/>
                    </a:lnTo>
                    <a:cubicBezTo>
                      <a:pt x="73128" y="629411"/>
                      <a:pt x="75341" y="627792"/>
                      <a:pt x="75894" y="625093"/>
                    </a:cubicBezTo>
                    <a:cubicBezTo>
                      <a:pt x="77553" y="618616"/>
                      <a:pt x="77553" y="604584"/>
                      <a:pt x="83084" y="600266"/>
                    </a:cubicBezTo>
                    <a:cubicBezTo>
                      <a:pt x="87509" y="597028"/>
                      <a:pt x="93040" y="595408"/>
                      <a:pt x="98017" y="593249"/>
                    </a:cubicBezTo>
                    <a:lnTo>
                      <a:pt x="113504" y="560866"/>
                    </a:lnTo>
                    <a:lnTo>
                      <a:pt x="98570" y="551691"/>
                    </a:lnTo>
                    <a:lnTo>
                      <a:pt x="90827" y="522006"/>
                    </a:lnTo>
                    <a:lnTo>
                      <a:pt x="93593" y="509592"/>
                    </a:lnTo>
                    <a:lnTo>
                      <a:pt x="81978" y="493940"/>
                    </a:lnTo>
                    <a:lnTo>
                      <a:pt x="83637" y="481527"/>
                    </a:lnTo>
                    <a:cubicBezTo>
                      <a:pt x="99124" y="482066"/>
                      <a:pt x="98570" y="497718"/>
                      <a:pt x="116269" y="498258"/>
                    </a:cubicBezTo>
                    <a:cubicBezTo>
                      <a:pt x="119035" y="498258"/>
                      <a:pt x="122353" y="496639"/>
                      <a:pt x="125119" y="496099"/>
                    </a:cubicBezTo>
                    <a:lnTo>
                      <a:pt x="132309" y="476669"/>
                    </a:lnTo>
                    <a:lnTo>
                      <a:pt x="146136" y="455080"/>
                    </a:lnTo>
                    <a:lnTo>
                      <a:pt x="142818" y="443746"/>
                    </a:lnTo>
                    <a:lnTo>
                      <a:pt x="136734" y="439428"/>
                    </a:lnTo>
                    <a:lnTo>
                      <a:pt x="138393" y="430253"/>
                    </a:lnTo>
                    <a:lnTo>
                      <a:pt x="151114" y="422157"/>
                    </a:lnTo>
                    <a:lnTo>
                      <a:pt x="161623" y="416220"/>
                    </a:lnTo>
                    <a:lnTo>
                      <a:pt x="159964" y="404346"/>
                    </a:lnTo>
                    <a:lnTo>
                      <a:pt x="167154" y="397870"/>
                    </a:lnTo>
                    <a:lnTo>
                      <a:pt x="163282" y="389774"/>
                    </a:lnTo>
                    <a:lnTo>
                      <a:pt x="172685" y="360629"/>
                    </a:lnTo>
                    <a:lnTo>
                      <a:pt x="162729" y="343358"/>
                    </a:lnTo>
                    <a:cubicBezTo>
                      <a:pt x="164941" y="343358"/>
                      <a:pt x="168260" y="344437"/>
                      <a:pt x="171026" y="343897"/>
                    </a:cubicBezTo>
                    <a:cubicBezTo>
                      <a:pt x="176003" y="343358"/>
                      <a:pt x="183194" y="328785"/>
                      <a:pt x="190384" y="325547"/>
                    </a:cubicBezTo>
                    <a:cubicBezTo>
                      <a:pt x="198127" y="321769"/>
                      <a:pt x="206976" y="322308"/>
                      <a:pt x="214720" y="319610"/>
                    </a:cubicBezTo>
                    <a:cubicBezTo>
                      <a:pt x="220804" y="316911"/>
                      <a:pt x="228547" y="302878"/>
                      <a:pt x="239609" y="298561"/>
                    </a:cubicBezTo>
                    <a:lnTo>
                      <a:pt x="235737" y="273194"/>
                    </a:lnTo>
                    <a:lnTo>
                      <a:pt x="215273" y="268336"/>
                    </a:lnTo>
                    <a:lnTo>
                      <a:pt x="218591" y="238651"/>
                    </a:lnTo>
                    <a:lnTo>
                      <a:pt x="201999" y="234333"/>
                    </a:lnTo>
                    <a:lnTo>
                      <a:pt x="196468" y="226777"/>
                    </a:lnTo>
                    <a:lnTo>
                      <a:pt x="183194" y="228396"/>
                    </a:lnTo>
                    <a:lnTo>
                      <a:pt x="175450" y="226777"/>
                    </a:lnTo>
                    <a:lnTo>
                      <a:pt x="162729" y="223539"/>
                    </a:lnTo>
                    <a:lnTo>
                      <a:pt x="157751" y="228936"/>
                    </a:lnTo>
                    <a:lnTo>
                      <a:pt x="136181" y="235953"/>
                    </a:lnTo>
                    <a:lnTo>
                      <a:pt x="129544" y="228396"/>
                    </a:lnTo>
                    <a:lnTo>
                      <a:pt x="110738" y="219761"/>
                    </a:lnTo>
                    <a:lnTo>
                      <a:pt x="96911" y="222460"/>
                    </a:lnTo>
                    <a:lnTo>
                      <a:pt x="96358" y="213824"/>
                    </a:lnTo>
                    <a:lnTo>
                      <a:pt x="81978" y="224079"/>
                    </a:lnTo>
                    <a:lnTo>
                      <a:pt x="73681" y="222999"/>
                    </a:lnTo>
                    <a:lnTo>
                      <a:pt x="66491" y="212745"/>
                    </a:lnTo>
                    <a:lnTo>
                      <a:pt x="78106" y="196553"/>
                    </a:lnTo>
                    <a:lnTo>
                      <a:pt x="71469" y="182520"/>
                    </a:lnTo>
                    <a:cubicBezTo>
                      <a:pt x="63173" y="188457"/>
                      <a:pt x="43814" y="176583"/>
                      <a:pt x="22797" y="194934"/>
                    </a:cubicBezTo>
                    <a:cubicBezTo>
                      <a:pt x="17819" y="194934"/>
                      <a:pt x="13947" y="197632"/>
                      <a:pt x="12288" y="198172"/>
                    </a:cubicBezTo>
                    <a:cubicBezTo>
                      <a:pt x="10629" y="198712"/>
                      <a:pt x="9523" y="197632"/>
                      <a:pt x="7863" y="198172"/>
                    </a:cubicBezTo>
                    <a:cubicBezTo>
                      <a:pt x="7310" y="198172"/>
                      <a:pt x="5651" y="198712"/>
                      <a:pt x="5651" y="198172"/>
                    </a:cubicBezTo>
                    <a:cubicBezTo>
                      <a:pt x="5098" y="197632"/>
                      <a:pt x="12841" y="178742"/>
                      <a:pt x="13947" y="177123"/>
                    </a:cubicBezTo>
                    <a:cubicBezTo>
                      <a:pt x="17266" y="174424"/>
                      <a:pt x="22797" y="173884"/>
                      <a:pt x="26115" y="171186"/>
                    </a:cubicBezTo>
                    <a:cubicBezTo>
                      <a:pt x="28881" y="169027"/>
                      <a:pt x="30540" y="165249"/>
                      <a:pt x="33306" y="163090"/>
                    </a:cubicBezTo>
                    <a:cubicBezTo>
                      <a:pt x="34965" y="161471"/>
                      <a:pt x="42155" y="160391"/>
                      <a:pt x="43814" y="158772"/>
                    </a:cubicBezTo>
                    <a:cubicBezTo>
                      <a:pt x="44367" y="158232"/>
                      <a:pt x="44367" y="155534"/>
                      <a:pt x="44367" y="154454"/>
                    </a:cubicBezTo>
                    <a:cubicBezTo>
                      <a:pt x="43814" y="153915"/>
                      <a:pt x="41602" y="152835"/>
                      <a:pt x="40496" y="152835"/>
                    </a:cubicBezTo>
                    <a:cubicBezTo>
                      <a:pt x="39390" y="153375"/>
                      <a:pt x="35518" y="155534"/>
                      <a:pt x="33859" y="156074"/>
                    </a:cubicBezTo>
                    <a:cubicBezTo>
                      <a:pt x="31093" y="156613"/>
                      <a:pt x="27775" y="157153"/>
                      <a:pt x="24456" y="157153"/>
                    </a:cubicBezTo>
                    <a:cubicBezTo>
                      <a:pt x="24456" y="156613"/>
                      <a:pt x="23350" y="156613"/>
                      <a:pt x="23350" y="156074"/>
                    </a:cubicBezTo>
                    <a:cubicBezTo>
                      <a:pt x="22797" y="155534"/>
                      <a:pt x="23903" y="153375"/>
                      <a:pt x="24456" y="152835"/>
                    </a:cubicBezTo>
                    <a:cubicBezTo>
                      <a:pt x="27222" y="149057"/>
                      <a:pt x="39390" y="150137"/>
                      <a:pt x="41049" y="144739"/>
                    </a:cubicBezTo>
                    <a:cubicBezTo>
                      <a:pt x="42708" y="139882"/>
                      <a:pt x="26668" y="141501"/>
                      <a:pt x="25562" y="138263"/>
                    </a:cubicBezTo>
                    <a:cubicBezTo>
                      <a:pt x="23903" y="134485"/>
                      <a:pt x="31093" y="130167"/>
                      <a:pt x="32199" y="127468"/>
                    </a:cubicBezTo>
                    <a:cubicBezTo>
                      <a:pt x="33306" y="125309"/>
                      <a:pt x="32752" y="119372"/>
                      <a:pt x="33859" y="117753"/>
                    </a:cubicBezTo>
                    <a:cubicBezTo>
                      <a:pt x="34965" y="116134"/>
                      <a:pt x="39390" y="114515"/>
                      <a:pt x="39943" y="113435"/>
                    </a:cubicBezTo>
                    <a:cubicBezTo>
                      <a:pt x="39943" y="112896"/>
                      <a:pt x="39943" y="111816"/>
                      <a:pt x="39390" y="111277"/>
                    </a:cubicBezTo>
                    <a:cubicBezTo>
                      <a:pt x="38283" y="108578"/>
                      <a:pt x="33859" y="108578"/>
                      <a:pt x="31646" y="108578"/>
                    </a:cubicBezTo>
                    <a:cubicBezTo>
                      <a:pt x="28328" y="109118"/>
                      <a:pt x="27222" y="112896"/>
                      <a:pt x="24456" y="114515"/>
                    </a:cubicBezTo>
                    <a:cubicBezTo>
                      <a:pt x="22797" y="115594"/>
                      <a:pt x="11735" y="120992"/>
                      <a:pt x="10076" y="118293"/>
                    </a:cubicBezTo>
                    <a:cubicBezTo>
                      <a:pt x="9523" y="117753"/>
                      <a:pt x="10076" y="115594"/>
                      <a:pt x="10629" y="114515"/>
                    </a:cubicBezTo>
                    <a:cubicBezTo>
                      <a:pt x="13394" y="104800"/>
                      <a:pt x="21138" y="101562"/>
                      <a:pt x="29434" y="96164"/>
                    </a:cubicBezTo>
                    <a:cubicBezTo>
                      <a:pt x="30540" y="95085"/>
                      <a:pt x="37177" y="92386"/>
                      <a:pt x="35518" y="90767"/>
                    </a:cubicBezTo>
                    <a:cubicBezTo>
                      <a:pt x="33306" y="88068"/>
                      <a:pt x="20031" y="94005"/>
                      <a:pt x="16713" y="94545"/>
                    </a:cubicBezTo>
                    <a:cubicBezTo>
                      <a:pt x="15607" y="94545"/>
                      <a:pt x="11735" y="94005"/>
                      <a:pt x="11182" y="92386"/>
                    </a:cubicBezTo>
                    <a:cubicBezTo>
                      <a:pt x="10076" y="88608"/>
                      <a:pt x="13394" y="77814"/>
                      <a:pt x="12841" y="73496"/>
                    </a:cubicBezTo>
                    <a:cubicBezTo>
                      <a:pt x="12841" y="72416"/>
                      <a:pt x="10629" y="70797"/>
                      <a:pt x="9523" y="70797"/>
                    </a:cubicBezTo>
                    <a:cubicBezTo>
                      <a:pt x="7863" y="70797"/>
                      <a:pt x="673" y="74575"/>
                      <a:pt x="-433" y="71877"/>
                    </a:cubicBezTo>
                    <a:cubicBezTo>
                      <a:pt x="-986" y="71337"/>
                      <a:pt x="673" y="67559"/>
                      <a:pt x="1226" y="67019"/>
                    </a:cubicBezTo>
                    <a:cubicBezTo>
                      <a:pt x="2332" y="64321"/>
                      <a:pt x="4545" y="58384"/>
                      <a:pt x="6204" y="56764"/>
                    </a:cubicBezTo>
                    <a:cubicBezTo>
                      <a:pt x="8970" y="55145"/>
                      <a:pt x="19478" y="54606"/>
                      <a:pt x="20584" y="53526"/>
                    </a:cubicBezTo>
                    <a:cubicBezTo>
                      <a:pt x="23350" y="51907"/>
                      <a:pt x="18372" y="48129"/>
                      <a:pt x="18925" y="45430"/>
                    </a:cubicBezTo>
                    <a:cubicBezTo>
                      <a:pt x="19478" y="43271"/>
                      <a:pt x="35518" y="44351"/>
                      <a:pt x="38837" y="42732"/>
                    </a:cubicBezTo>
                    <a:cubicBezTo>
                      <a:pt x="39943" y="42192"/>
                      <a:pt x="39943" y="37334"/>
                      <a:pt x="41049" y="36255"/>
                    </a:cubicBezTo>
                    <a:cubicBezTo>
                      <a:pt x="41602" y="35176"/>
                      <a:pt x="47686" y="33556"/>
                      <a:pt x="48792" y="33556"/>
                    </a:cubicBezTo>
                    <a:cubicBezTo>
                      <a:pt x="52111" y="33556"/>
                      <a:pt x="53770" y="37334"/>
                      <a:pt x="56535" y="37874"/>
                    </a:cubicBezTo>
                    <a:cubicBezTo>
                      <a:pt x="59854" y="38954"/>
                      <a:pt x="71469" y="39493"/>
                      <a:pt x="74787" y="39493"/>
                    </a:cubicBezTo>
                    <a:cubicBezTo>
                      <a:pt x="78659" y="38954"/>
                      <a:pt x="82531" y="36255"/>
                      <a:pt x="86402" y="36255"/>
                    </a:cubicBezTo>
                    <a:cubicBezTo>
                      <a:pt x="89721" y="36255"/>
                      <a:pt x="99677" y="41112"/>
                      <a:pt x="102442" y="40033"/>
                    </a:cubicBezTo>
                    <a:cubicBezTo>
                      <a:pt x="103548" y="39493"/>
                      <a:pt x="105208" y="36255"/>
                      <a:pt x="105761" y="35715"/>
                    </a:cubicBezTo>
                    <a:cubicBezTo>
                      <a:pt x="107973" y="30858"/>
                      <a:pt x="98570" y="29239"/>
                      <a:pt x="98017" y="25461"/>
                    </a:cubicBezTo>
                    <a:cubicBezTo>
                      <a:pt x="97464" y="23841"/>
                      <a:pt x="99677" y="18444"/>
                      <a:pt x="100230" y="17365"/>
                    </a:cubicBezTo>
                    <a:cubicBezTo>
                      <a:pt x="102995" y="13587"/>
                      <a:pt x="117929" y="13047"/>
                      <a:pt x="122353" y="11428"/>
                    </a:cubicBezTo>
                    <a:cubicBezTo>
                      <a:pt x="128991" y="9269"/>
                      <a:pt x="125119" y="1173"/>
                      <a:pt x="135075" y="-446"/>
                    </a:cubicBezTo>
                    <a:cubicBezTo>
                      <a:pt x="139499" y="-986"/>
                      <a:pt x="138946" y="4951"/>
                      <a:pt x="143924" y="4951"/>
                    </a:cubicBezTo>
                    <a:cubicBezTo>
                      <a:pt x="146136" y="4411"/>
                      <a:pt x="154433" y="1713"/>
                      <a:pt x="156092" y="2792"/>
                    </a:cubicBezTo>
                    <a:cubicBezTo>
                      <a:pt x="156645" y="3332"/>
                      <a:pt x="158304" y="8729"/>
                      <a:pt x="159964" y="9269"/>
                    </a:cubicBezTo>
                    <a:cubicBezTo>
                      <a:pt x="163835" y="11428"/>
                      <a:pt x="172685" y="10888"/>
                      <a:pt x="176556" y="13587"/>
                    </a:cubicBezTo>
                    <a:cubicBezTo>
                      <a:pt x="179875" y="15745"/>
                      <a:pt x="183194" y="24921"/>
                      <a:pt x="185959" y="28159"/>
                    </a:cubicBezTo>
                    <a:cubicBezTo>
                      <a:pt x="192596" y="36795"/>
                      <a:pt x="199786" y="36255"/>
                      <a:pt x="209742" y="37334"/>
                    </a:cubicBezTo>
                    <a:cubicBezTo>
                      <a:pt x="211954" y="37334"/>
                      <a:pt x="215826" y="38414"/>
                      <a:pt x="216932" y="37334"/>
                    </a:cubicBezTo>
                    <a:cubicBezTo>
                      <a:pt x="217485" y="36795"/>
                      <a:pt x="231313" y="38954"/>
                      <a:pt x="238503" y="40573"/>
                    </a:cubicBezTo>
                    <a:cubicBezTo>
                      <a:pt x="246246" y="42192"/>
                      <a:pt x="253989" y="45430"/>
                      <a:pt x="262286" y="46510"/>
                    </a:cubicBezTo>
                    <a:cubicBezTo>
                      <a:pt x="266157" y="47049"/>
                      <a:pt x="270029" y="44891"/>
                      <a:pt x="273348" y="44891"/>
                    </a:cubicBezTo>
                    <a:cubicBezTo>
                      <a:pt x="282750" y="45430"/>
                      <a:pt x="291600" y="49748"/>
                      <a:pt x="301002" y="49748"/>
                    </a:cubicBezTo>
                    <a:cubicBezTo>
                      <a:pt x="307639" y="49748"/>
                      <a:pt x="306533" y="43811"/>
                      <a:pt x="309299" y="42192"/>
                    </a:cubicBezTo>
                    <a:cubicBezTo>
                      <a:pt x="310405" y="41652"/>
                      <a:pt x="315936" y="42732"/>
                      <a:pt x="317042" y="43271"/>
                    </a:cubicBezTo>
                    <a:cubicBezTo>
                      <a:pt x="320913" y="45430"/>
                      <a:pt x="320360" y="52986"/>
                      <a:pt x="326444" y="55145"/>
                    </a:cubicBezTo>
                    <a:cubicBezTo>
                      <a:pt x="330869" y="56764"/>
                      <a:pt x="342484" y="56764"/>
                      <a:pt x="345803" y="58923"/>
                    </a:cubicBezTo>
                    <a:cubicBezTo>
                      <a:pt x="346909" y="60003"/>
                      <a:pt x="347462" y="63781"/>
                      <a:pt x="349121" y="64860"/>
                    </a:cubicBezTo>
                    <a:cubicBezTo>
                      <a:pt x="350780" y="65940"/>
                      <a:pt x="356864" y="65940"/>
                      <a:pt x="359077" y="67019"/>
                    </a:cubicBezTo>
                    <a:cubicBezTo>
                      <a:pt x="361842" y="68099"/>
                      <a:pt x="363502" y="70797"/>
                      <a:pt x="365714" y="71877"/>
                    </a:cubicBezTo>
                    <a:cubicBezTo>
                      <a:pt x="375670" y="76734"/>
                      <a:pt x="386731" y="79973"/>
                      <a:pt x="397240" y="83211"/>
                    </a:cubicBezTo>
                    <a:cubicBezTo>
                      <a:pt x="405537" y="86449"/>
                      <a:pt x="413833" y="87529"/>
                      <a:pt x="422682" y="88068"/>
                    </a:cubicBezTo>
                    <a:cubicBezTo>
                      <a:pt x="435957" y="90227"/>
                      <a:pt x="449231" y="92386"/>
                      <a:pt x="461952" y="92386"/>
                    </a:cubicBezTo>
                    <a:cubicBezTo>
                      <a:pt x="467483" y="92386"/>
                      <a:pt x="473014" y="89688"/>
                      <a:pt x="478545" y="89148"/>
                    </a:cubicBezTo>
                    <a:cubicBezTo>
                      <a:pt x="489053" y="88608"/>
                      <a:pt x="481310" y="96164"/>
                      <a:pt x="490160" y="95085"/>
                    </a:cubicBezTo>
                    <a:cubicBezTo>
                      <a:pt x="493478" y="94545"/>
                      <a:pt x="497350" y="90767"/>
                      <a:pt x="501221" y="89688"/>
                    </a:cubicBezTo>
                    <a:cubicBezTo>
                      <a:pt x="502328" y="89688"/>
                      <a:pt x="508965" y="90227"/>
                      <a:pt x="510071" y="90767"/>
                    </a:cubicBezTo>
                    <a:cubicBezTo>
                      <a:pt x="513389" y="91846"/>
                      <a:pt x="512836" y="96704"/>
                      <a:pt x="515049" y="98863"/>
                    </a:cubicBezTo>
                    <a:cubicBezTo>
                      <a:pt x="517261" y="101022"/>
                      <a:pt x="537726" y="108038"/>
                      <a:pt x="542150" y="109657"/>
                    </a:cubicBezTo>
                    <a:cubicBezTo>
                      <a:pt x="543256" y="110197"/>
                      <a:pt x="544916" y="110737"/>
                      <a:pt x="545469" y="111816"/>
                    </a:cubicBezTo>
                    <a:cubicBezTo>
                      <a:pt x="546575" y="112896"/>
                      <a:pt x="547681" y="115594"/>
                      <a:pt x="548787" y="116134"/>
                    </a:cubicBezTo>
                    <a:cubicBezTo>
                      <a:pt x="549340" y="116134"/>
                      <a:pt x="551000" y="116674"/>
                      <a:pt x="552106" y="116134"/>
                    </a:cubicBezTo>
                    <a:cubicBezTo>
                      <a:pt x="552659" y="116134"/>
                      <a:pt x="554871" y="112356"/>
                      <a:pt x="556531" y="111277"/>
                    </a:cubicBezTo>
                    <a:cubicBezTo>
                      <a:pt x="559296" y="109118"/>
                      <a:pt x="574230" y="103720"/>
                      <a:pt x="577548" y="106419"/>
                    </a:cubicBezTo>
                    <a:cubicBezTo>
                      <a:pt x="579207" y="106959"/>
                      <a:pt x="578654" y="110197"/>
                      <a:pt x="580314" y="111816"/>
                    </a:cubicBezTo>
                    <a:cubicBezTo>
                      <a:pt x="581420" y="112896"/>
                      <a:pt x="586951" y="113435"/>
                      <a:pt x="588610" y="113975"/>
                    </a:cubicBezTo>
                    <a:cubicBezTo>
                      <a:pt x="592482" y="115594"/>
                      <a:pt x="595800" y="117753"/>
                      <a:pt x="599672" y="119372"/>
                    </a:cubicBezTo>
                    <a:cubicBezTo>
                      <a:pt x="609628" y="123690"/>
                      <a:pt x="624008" y="130167"/>
                      <a:pt x="635070" y="129627"/>
                    </a:cubicBezTo>
                    <a:cubicBezTo>
                      <a:pt x="638388" y="129627"/>
                      <a:pt x="641707" y="127468"/>
                      <a:pt x="645025" y="127468"/>
                    </a:cubicBezTo>
                    <a:cubicBezTo>
                      <a:pt x="652769" y="126389"/>
                      <a:pt x="652216" y="130707"/>
                      <a:pt x="660512" y="123690"/>
                    </a:cubicBezTo>
                    <a:lnTo>
                      <a:pt x="667702" y="131246"/>
                    </a:lnTo>
                    <a:lnTo>
                      <a:pt x="671574" y="132865"/>
                    </a:lnTo>
                    <a:lnTo>
                      <a:pt x="698675" y="138802"/>
                    </a:lnTo>
                    <a:lnTo>
                      <a:pt x="689826" y="164169"/>
                    </a:lnTo>
                    <a:lnTo>
                      <a:pt x="705866" y="164709"/>
                    </a:lnTo>
                    <a:lnTo>
                      <a:pt x="725224" y="177123"/>
                    </a:lnTo>
                    <a:lnTo>
                      <a:pt x="749007" y="180361"/>
                    </a:lnTo>
                    <a:lnTo>
                      <a:pt x="750113" y="184139"/>
                    </a:lnTo>
                    <a:lnTo>
                      <a:pt x="752878" y="192235"/>
                    </a:lnTo>
                    <a:lnTo>
                      <a:pt x="764493" y="202490"/>
                    </a:lnTo>
                    <a:lnTo>
                      <a:pt x="794360" y="204649"/>
                    </a:lnTo>
                    <a:lnTo>
                      <a:pt x="806528" y="217602"/>
                    </a:lnTo>
                    <a:lnTo>
                      <a:pt x="833630" y="220301"/>
                    </a:lnTo>
                    <a:lnTo>
                      <a:pt x="842479" y="224618"/>
                    </a:lnTo>
                    <a:lnTo>
                      <a:pt x="849669" y="219761"/>
                    </a:lnTo>
                    <a:lnTo>
                      <a:pt x="869028" y="222460"/>
                    </a:lnTo>
                    <a:lnTo>
                      <a:pt x="871793" y="222999"/>
                    </a:lnTo>
                    <a:lnTo>
                      <a:pt x="875665" y="207887"/>
                    </a:lnTo>
                    <a:lnTo>
                      <a:pt x="882302" y="208966"/>
                    </a:lnTo>
                    <a:lnTo>
                      <a:pt x="909403" y="219221"/>
                    </a:lnTo>
                    <a:lnTo>
                      <a:pt x="918253" y="225158"/>
                    </a:lnTo>
                    <a:lnTo>
                      <a:pt x="933739" y="227317"/>
                    </a:lnTo>
                    <a:lnTo>
                      <a:pt x="940377" y="243509"/>
                    </a:lnTo>
                    <a:lnTo>
                      <a:pt x="939823" y="259161"/>
                    </a:lnTo>
                    <a:lnTo>
                      <a:pt x="944801" y="260240"/>
                    </a:lnTo>
                    <a:lnTo>
                      <a:pt x="960841" y="256462"/>
                    </a:lnTo>
                    <a:lnTo>
                      <a:pt x="964713" y="257542"/>
                    </a:lnTo>
                    <a:lnTo>
                      <a:pt x="982412" y="263479"/>
                    </a:lnTo>
                    <a:lnTo>
                      <a:pt x="994026" y="275352"/>
                    </a:lnTo>
                    <a:lnTo>
                      <a:pt x="1013938" y="267796"/>
                    </a:lnTo>
                    <a:lnTo>
                      <a:pt x="1048229" y="282369"/>
                    </a:lnTo>
                    <a:lnTo>
                      <a:pt x="1053760" y="272114"/>
                    </a:lnTo>
                    <a:lnTo>
                      <a:pt x="1066482" y="266177"/>
                    </a:lnTo>
                    <a:lnTo>
                      <a:pt x="1089711" y="270495"/>
                    </a:lnTo>
                    <a:cubicBezTo>
                      <a:pt x="1090818" y="272114"/>
                      <a:pt x="1093583" y="280210"/>
                      <a:pt x="1094689" y="281289"/>
                    </a:cubicBezTo>
                    <a:cubicBezTo>
                      <a:pt x="1096349" y="282909"/>
                      <a:pt x="1102433" y="283988"/>
                      <a:pt x="1103539" y="287226"/>
                    </a:cubicBezTo>
                    <a:cubicBezTo>
                      <a:pt x="1104092" y="288306"/>
                      <a:pt x="1101879" y="293703"/>
                      <a:pt x="1100773" y="293703"/>
                    </a:cubicBezTo>
                    <a:cubicBezTo>
                      <a:pt x="1099667" y="294243"/>
                      <a:pt x="1091924" y="288306"/>
                      <a:pt x="1089158" y="294782"/>
                    </a:cubicBezTo>
                    <a:cubicBezTo>
                      <a:pt x="1089158" y="295862"/>
                      <a:pt x="1088605" y="303958"/>
                      <a:pt x="1088605" y="304497"/>
                    </a:cubicBezTo>
                    <a:cubicBezTo>
                      <a:pt x="1089711" y="308276"/>
                      <a:pt x="1094689" y="309895"/>
                      <a:pt x="1095795" y="313673"/>
                    </a:cubicBezTo>
                    <a:cubicBezTo>
                      <a:pt x="1096902" y="316371"/>
                      <a:pt x="1096902" y="326086"/>
                      <a:pt x="1095795" y="328785"/>
                    </a:cubicBezTo>
                    <a:cubicBezTo>
                      <a:pt x="1095242" y="332023"/>
                      <a:pt x="1089711" y="340119"/>
                      <a:pt x="1087499" y="342818"/>
                    </a:cubicBezTo>
                    <a:cubicBezTo>
                      <a:pt x="1081415" y="349295"/>
                      <a:pt x="1058185" y="355231"/>
                      <a:pt x="1049889" y="360629"/>
                    </a:cubicBezTo>
                    <a:cubicBezTo>
                      <a:pt x="1048783" y="361168"/>
                      <a:pt x="1048783" y="361708"/>
                      <a:pt x="1047676" y="362788"/>
                    </a:cubicBezTo>
                    <a:cubicBezTo>
                      <a:pt x="1043252" y="366026"/>
                      <a:pt x="1035508" y="369264"/>
                      <a:pt x="1029977" y="371423"/>
                    </a:cubicBezTo>
                    <a:cubicBezTo>
                      <a:pt x="1021681" y="375201"/>
                      <a:pt x="1012278" y="376820"/>
                      <a:pt x="1004535" y="381138"/>
                    </a:cubicBezTo>
                    <a:cubicBezTo>
                      <a:pt x="994580" y="386535"/>
                      <a:pt x="995686" y="399489"/>
                      <a:pt x="984624" y="403807"/>
                    </a:cubicBezTo>
                    <a:cubicBezTo>
                      <a:pt x="961394" y="412442"/>
                      <a:pt x="935952" y="406505"/>
                      <a:pt x="912169" y="413522"/>
                    </a:cubicBezTo>
                    <a:cubicBezTo>
                      <a:pt x="907191" y="415141"/>
                      <a:pt x="903319" y="418919"/>
                      <a:pt x="898342" y="420538"/>
                    </a:cubicBezTo>
                    <a:cubicBezTo>
                      <a:pt x="893917" y="422157"/>
                      <a:pt x="888939" y="421617"/>
                      <a:pt x="883961" y="422697"/>
                    </a:cubicBezTo>
                    <a:cubicBezTo>
                      <a:pt x="877877" y="424316"/>
                      <a:pt x="862391" y="436190"/>
                      <a:pt x="858519" y="441047"/>
                    </a:cubicBezTo>
                    <a:cubicBezTo>
                      <a:pt x="849116" y="452382"/>
                      <a:pt x="864050" y="450223"/>
                      <a:pt x="867368" y="460478"/>
                    </a:cubicBezTo>
                    <a:cubicBezTo>
                      <a:pt x="869028" y="465875"/>
                      <a:pt x="854647" y="477749"/>
                      <a:pt x="851329" y="474510"/>
                    </a:cubicBezTo>
                    <a:cubicBezTo>
                      <a:pt x="850776" y="473431"/>
                      <a:pt x="850776" y="469653"/>
                      <a:pt x="849669" y="468034"/>
                    </a:cubicBezTo>
                    <a:cubicBezTo>
                      <a:pt x="840820" y="465875"/>
                      <a:pt x="835289" y="478288"/>
                      <a:pt x="831970" y="484765"/>
                    </a:cubicBezTo>
                    <a:cubicBezTo>
                      <a:pt x="830311" y="487464"/>
                      <a:pt x="828652" y="491242"/>
                      <a:pt x="825886" y="493401"/>
                    </a:cubicBezTo>
                    <a:cubicBezTo>
                      <a:pt x="817590" y="503655"/>
                      <a:pt x="807634" y="513910"/>
                      <a:pt x="797679" y="523085"/>
                    </a:cubicBezTo>
                    <a:cubicBezTo>
                      <a:pt x="795466" y="525244"/>
                      <a:pt x="792701" y="526863"/>
                      <a:pt x="790489" y="529022"/>
                    </a:cubicBezTo>
                    <a:cubicBezTo>
                      <a:pt x="781639" y="537118"/>
                      <a:pt x="771683" y="546294"/>
                      <a:pt x="763387" y="555469"/>
                    </a:cubicBezTo>
                    <a:cubicBezTo>
                      <a:pt x="751772" y="568422"/>
                      <a:pt x="741816" y="593789"/>
                      <a:pt x="741263" y="611060"/>
                    </a:cubicBezTo>
                    <a:cubicBezTo>
                      <a:pt x="741263" y="616997"/>
                      <a:pt x="743476" y="623474"/>
                      <a:pt x="744582" y="629951"/>
                    </a:cubicBezTo>
                    <a:cubicBezTo>
                      <a:pt x="744582" y="631570"/>
                      <a:pt x="744029" y="633189"/>
                      <a:pt x="744029" y="634808"/>
                    </a:cubicBezTo>
                    <a:cubicBezTo>
                      <a:pt x="745135" y="642904"/>
                      <a:pt x="758409" y="663413"/>
                      <a:pt x="765599" y="668811"/>
                    </a:cubicBezTo>
                    <a:cubicBezTo>
                      <a:pt x="770577" y="672589"/>
                      <a:pt x="791042" y="682304"/>
                      <a:pt x="786617" y="690939"/>
                    </a:cubicBezTo>
                    <a:cubicBezTo>
                      <a:pt x="784405" y="696337"/>
                      <a:pt x="777214" y="693098"/>
                      <a:pt x="773343" y="695257"/>
                    </a:cubicBezTo>
                    <a:cubicBezTo>
                      <a:pt x="771130" y="696337"/>
                      <a:pt x="771683" y="700115"/>
                      <a:pt x="768365" y="701734"/>
                    </a:cubicBezTo>
                    <a:cubicBezTo>
                      <a:pt x="765046" y="701734"/>
                      <a:pt x="761175" y="699035"/>
                      <a:pt x="757856" y="700654"/>
                    </a:cubicBezTo>
                    <a:cubicBezTo>
                      <a:pt x="756750" y="702813"/>
                      <a:pt x="756750" y="706052"/>
                      <a:pt x="755644" y="708211"/>
                    </a:cubicBezTo>
                    <a:lnTo>
                      <a:pt x="754538" y="709290"/>
                    </a:lnTo>
                    <a:cubicBezTo>
                      <a:pt x="751219" y="709290"/>
                      <a:pt x="747901" y="707671"/>
                      <a:pt x="744582" y="708211"/>
                    </a:cubicBezTo>
                    <a:cubicBezTo>
                      <a:pt x="740710" y="708750"/>
                      <a:pt x="729648" y="713068"/>
                      <a:pt x="727436" y="715767"/>
                    </a:cubicBezTo>
                    <a:cubicBezTo>
                      <a:pt x="725224" y="717926"/>
                      <a:pt x="722458" y="725482"/>
                      <a:pt x="720799" y="727101"/>
                    </a:cubicBezTo>
                    <a:cubicBezTo>
                      <a:pt x="719140" y="728180"/>
                      <a:pt x="714162" y="727641"/>
                      <a:pt x="712503" y="728720"/>
                    </a:cubicBezTo>
                    <a:cubicBezTo>
                      <a:pt x="710843" y="730879"/>
                      <a:pt x="709184" y="742213"/>
                      <a:pt x="707525" y="744912"/>
                    </a:cubicBezTo>
                    <a:cubicBezTo>
                      <a:pt x="705312" y="748150"/>
                      <a:pt x="699228" y="746531"/>
                      <a:pt x="697016" y="751928"/>
                    </a:cubicBezTo>
                    <a:cubicBezTo>
                      <a:pt x="693144" y="762723"/>
                      <a:pt x="692038" y="777295"/>
                      <a:pt x="684295" y="785391"/>
                    </a:cubicBezTo>
                    <a:cubicBezTo>
                      <a:pt x="680423" y="788090"/>
                      <a:pt x="668255" y="796725"/>
                      <a:pt x="672680" y="802122"/>
                    </a:cubicBezTo>
                    <a:cubicBezTo>
                      <a:pt x="684848" y="804821"/>
                      <a:pt x="680976" y="793487"/>
                      <a:pt x="685954" y="793487"/>
                    </a:cubicBezTo>
                    <a:cubicBezTo>
                      <a:pt x="686507" y="793487"/>
                      <a:pt x="688720" y="794027"/>
                      <a:pt x="688720" y="795106"/>
                    </a:cubicBezTo>
                    <a:cubicBezTo>
                      <a:pt x="689826" y="796185"/>
                      <a:pt x="688720" y="802122"/>
                      <a:pt x="688167" y="803742"/>
                    </a:cubicBezTo>
                    <a:cubicBezTo>
                      <a:pt x="687613" y="804821"/>
                      <a:pt x="685401" y="809139"/>
                      <a:pt x="684848" y="809678"/>
                    </a:cubicBezTo>
                    <a:cubicBezTo>
                      <a:pt x="682636" y="812377"/>
                      <a:pt x="668255" y="813457"/>
                      <a:pt x="664937" y="813457"/>
                    </a:cubicBezTo>
                    <a:cubicBezTo>
                      <a:pt x="662171" y="812917"/>
                      <a:pt x="658853" y="811298"/>
                      <a:pt x="656087" y="811298"/>
                    </a:cubicBezTo>
                    <a:cubicBezTo>
                      <a:pt x="651662" y="811298"/>
                      <a:pt x="650003" y="815076"/>
                      <a:pt x="647238" y="816155"/>
                    </a:cubicBezTo>
                    <a:cubicBezTo>
                      <a:pt x="642813" y="817235"/>
                      <a:pt x="641707" y="808599"/>
                      <a:pt x="630092" y="810218"/>
                    </a:cubicBezTo>
                    <a:cubicBezTo>
                      <a:pt x="608521" y="812917"/>
                      <a:pt x="611287" y="822632"/>
                      <a:pt x="607968" y="824791"/>
                    </a:cubicBezTo>
                    <a:cubicBezTo>
                      <a:pt x="606309" y="825870"/>
                      <a:pt x="601331" y="824251"/>
                      <a:pt x="599119" y="824791"/>
                    </a:cubicBezTo>
                    <a:cubicBezTo>
                      <a:pt x="595800" y="825330"/>
                      <a:pt x="591929" y="826950"/>
                      <a:pt x="588610" y="828569"/>
                    </a:cubicBezTo>
                    <a:cubicBezTo>
                      <a:pt x="585845" y="830728"/>
                      <a:pt x="579207" y="836665"/>
                      <a:pt x="577548" y="839903"/>
                    </a:cubicBezTo>
                    <a:cubicBezTo>
                      <a:pt x="571464" y="850697"/>
                      <a:pt x="569805" y="864191"/>
                      <a:pt x="563168" y="874445"/>
                    </a:cubicBezTo>
                    <a:cubicBezTo>
                      <a:pt x="561508" y="877144"/>
                      <a:pt x="554871" y="879843"/>
                      <a:pt x="552106" y="882541"/>
                    </a:cubicBezTo>
                    <a:cubicBezTo>
                      <a:pt x="545469" y="889018"/>
                      <a:pt x="544363" y="894955"/>
                      <a:pt x="534960" y="899812"/>
                    </a:cubicBezTo>
                    <a:cubicBezTo>
                      <a:pt x="531642" y="899273"/>
                      <a:pt x="525004" y="893875"/>
                      <a:pt x="523345" y="891177"/>
                    </a:cubicBezTo>
                    <a:cubicBezTo>
                      <a:pt x="521686" y="889018"/>
                      <a:pt x="521686" y="886319"/>
                      <a:pt x="520580" y="884160"/>
                    </a:cubicBezTo>
                    <a:cubicBezTo>
                      <a:pt x="518367" y="880382"/>
                      <a:pt x="507859" y="878223"/>
                      <a:pt x="503987" y="878763"/>
                    </a:cubicBezTo>
                    <a:cubicBezTo>
                      <a:pt x="501221" y="879303"/>
                      <a:pt x="493478" y="882541"/>
                      <a:pt x="491266" y="884160"/>
                    </a:cubicBezTo>
                    <a:cubicBezTo>
                      <a:pt x="485735" y="888478"/>
                      <a:pt x="485735" y="895494"/>
                      <a:pt x="476885" y="896574"/>
                    </a:cubicBezTo>
                    <a:cubicBezTo>
                      <a:pt x="475779" y="896574"/>
                      <a:pt x="469695" y="895494"/>
                      <a:pt x="468589" y="894955"/>
                    </a:cubicBezTo>
                    <a:cubicBezTo>
                      <a:pt x="466930" y="893336"/>
                      <a:pt x="464717" y="886319"/>
                      <a:pt x="462505" y="885240"/>
                    </a:cubicBezTo>
                    <a:cubicBezTo>
                      <a:pt x="455868" y="883081"/>
                      <a:pt x="428766" y="881462"/>
                      <a:pt x="421023" y="883621"/>
                    </a:cubicBezTo>
                    <a:cubicBezTo>
                      <a:pt x="418811" y="884160"/>
                      <a:pt x="409961" y="887399"/>
                      <a:pt x="408302" y="887399"/>
                    </a:cubicBezTo>
                    <a:cubicBezTo>
                      <a:pt x="407749" y="887399"/>
                      <a:pt x="398346" y="880382"/>
                      <a:pt x="393922" y="879843"/>
                    </a:cubicBezTo>
                    <a:cubicBezTo>
                      <a:pt x="388391" y="878763"/>
                      <a:pt x="381754" y="880382"/>
                      <a:pt x="376223" y="878763"/>
                    </a:cubicBezTo>
                    <a:cubicBezTo>
                      <a:pt x="374010" y="878223"/>
                      <a:pt x="372904" y="875525"/>
                      <a:pt x="370692" y="874985"/>
                    </a:cubicBezTo>
                    <a:cubicBezTo>
                      <a:pt x="367373" y="874445"/>
                      <a:pt x="351887" y="872826"/>
                      <a:pt x="348568" y="872826"/>
                    </a:cubicBezTo>
                    <a:cubicBezTo>
                      <a:pt x="344143" y="872826"/>
                      <a:pt x="339719" y="875525"/>
                      <a:pt x="335294" y="875525"/>
                    </a:cubicBezTo>
                    <a:cubicBezTo>
                      <a:pt x="331422" y="875525"/>
                      <a:pt x="323679" y="871207"/>
                      <a:pt x="320360" y="871747"/>
                    </a:cubicBezTo>
                    <a:cubicBezTo>
                      <a:pt x="317042" y="872826"/>
                      <a:pt x="311511" y="880922"/>
                      <a:pt x="308192" y="883081"/>
                    </a:cubicBezTo>
                    <a:cubicBezTo>
                      <a:pt x="303215" y="886319"/>
                      <a:pt x="288281" y="894415"/>
                      <a:pt x="283303" y="894955"/>
                    </a:cubicBezTo>
                    <a:cubicBezTo>
                      <a:pt x="274454" y="896574"/>
                      <a:pt x="257861" y="886859"/>
                      <a:pt x="246799" y="892256"/>
                    </a:cubicBezTo>
                    <a:cubicBezTo>
                      <a:pt x="241821" y="894415"/>
                      <a:pt x="228547" y="905210"/>
                      <a:pt x="224675" y="908988"/>
                    </a:cubicBezTo>
                    <a:cubicBezTo>
                      <a:pt x="221357" y="912226"/>
                      <a:pt x="215826" y="925179"/>
                      <a:pt x="213061" y="926798"/>
                    </a:cubicBezTo>
                    <a:cubicBezTo>
                      <a:pt x="211954" y="927338"/>
                      <a:pt x="207530" y="923560"/>
                      <a:pt x="205317" y="924640"/>
                    </a:cubicBezTo>
                    <a:cubicBezTo>
                      <a:pt x="203658" y="925179"/>
                      <a:pt x="203658" y="931116"/>
                      <a:pt x="202552" y="932735"/>
                    </a:cubicBezTo>
                    <a:cubicBezTo>
                      <a:pt x="201446" y="933815"/>
                      <a:pt x="196468" y="934894"/>
                      <a:pt x="194808" y="935434"/>
                    </a:cubicBezTo>
                    <a:cubicBezTo>
                      <a:pt x="184300" y="935974"/>
                      <a:pt x="182640" y="927878"/>
                      <a:pt x="174897" y="924640"/>
                    </a:cubicBezTo>
                    <a:cubicBezTo>
                      <a:pt x="173238" y="923560"/>
                      <a:pt x="169919" y="924640"/>
                      <a:pt x="168260" y="923560"/>
                    </a:cubicBezTo>
                    <a:cubicBezTo>
                      <a:pt x="162729" y="920861"/>
                      <a:pt x="145030" y="906289"/>
                      <a:pt x="140605" y="901971"/>
                    </a:cubicBezTo>
                    <a:cubicBezTo>
                      <a:pt x="137840" y="899273"/>
                      <a:pt x="131756" y="889018"/>
                      <a:pt x="130097" y="885240"/>
                    </a:cubicBezTo>
                    <a:cubicBezTo>
                      <a:pt x="129544" y="883621"/>
                      <a:pt x="126778" y="872826"/>
                      <a:pt x="126778" y="871747"/>
                    </a:cubicBezTo>
                    <a:cubicBezTo>
                      <a:pt x="126778" y="871207"/>
                      <a:pt x="126778" y="870127"/>
                      <a:pt x="127331" y="869588"/>
                    </a:cubicBezTo>
                    <a:cubicBezTo>
                      <a:pt x="129544" y="867969"/>
                      <a:pt x="135075" y="870127"/>
                      <a:pt x="138393" y="869588"/>
                    </a:cubicBezTo>
                    <a:cubicBezTo>
                      <a:pt x="146689" y="862032"/>
                      <a:pt x="132309" y="856095"/>
                      <a:pt x="128437" y="851237"/>
                    </a:cubicBezTo>
                    <a:cubicBezTo>
                      <a:pt x="126778" y="849078"/>
                      <a:pt x="125119" y="843141"/>
                      <a:pt x="126225" y="840443"/>
                    </a:cubicBezTo>
                    <a:cubicBezTo>
                      <a:pt x="127331" y="836665"/>
                      <a:pt x="132309" y="837204"/>
                      <a:pt x="128991" y="830188"/>
                    </a:cubicBezTo>
                    <a:cubicBezTo>
                      <a:pt x="125672" y="822092"/>
                      <a:pt x="116269" y="806440"/>
                      <a:pt x="109632" y="801583"/>
                    </a:cubicBezTo>
                    <a:cubicBezTo>
                      <a:pt x="105208" y="798884"/>
                      <a:pt x="99677" y="796725"/>
                      <a:pt x="96358" y="792947"/>
                    </a:cubicBezTo>
                    <a:cubicBezTo>
                      <a:pt x="94699" y="791868"/>
                      <a:pt x="94146" y="789169"/>
                      <a:pt x="93040" y="787550"/>
                    </a:cubicBezTo>
                    <a:cubicBezTo>
                      <a:pt x="91380" y="786470"/>
                      <a:pt x="87509" y="784851"/>
                      <a:pt x="86402" y="783772"/>
                    </a:cubicBezTo>
                    <a:cubicBezTo>
                      <a:pt x="82531" y="779454"/>
                      <a:pt x="93593" y="771358"/>
                      <a:pt x="87509" y="768120"/>
                    </a:cubicBezTo>
                    <a:cubicBezTo>
                      <a:pt x="85849" y="767580"/>
                      <a:pt x="83084" y="768120"/>
                      <a:pt x="81978" y="769199"/>
                    </a:cubicBezTo>
                    <a:cubicBezTo>
                      <a:pt x="81425" y="770818"/>
                      <a:pt x="80318" y="775676"/>
                      <a:pt x="79212" y="776755"/>
                    </a:cubicBezTo>
                    <a:cubicBezTo>
                      <a:pt x="74787" y="779994"/>
                      <a:pt x="71469" y="771898"/>
                      <a:pt x="66491" y="771358"/>
                    </a:cubicBezTo>
                    <a:cubicBezTo>
                      <a:pt x="65385" y="770818"/>
                      <a:pt x="52664" y="774057"/>
                      <a:pt x="49345" y="774057"/>
                    </a:cubicBezTo>
                    <a:cubicBezTo>
                      <a:pt x="46580" y="774057"/>
                      <a:pt x="40496" y="772438"/>
                      <a:pt x="37730" y="771358"/>
                    </a:cubicBezTo>
                    <a:cubicBezTo>
                      <a:pt x="36624" y="757865"/>
                      <a:pt x="35518" y="744912"/>
                      <a:pt x="30540" y="731958"/>
                    </a:cubicBezTo>
                    <a:close/>
                    <a:moveTo>
                      <a:pt x="1166038" y="554929"/>
                    </a:moveTo>
                    <a:cubicBezTo>
                      <a:pt x="1171016" y="557088"/>
                      <a:pt x="1180972" y="573280"/>
                      <a:pt x="1182078" y="578677"/>
                    </a:cubicBezTo>
                    <a:cubicBezTo>
                      <a:pt x="1182631" y="579756"/>
                      <a:pt x="1181525" y="584614"/>
                      <a:pt x="1179865" y="585154"/>
                    </a:cubicBezTo>
                    <a:cubicBezTo>
                      <a:pt x="1178206" y="586233"/>
                      <a:pt x="1172122" y="584614"/>
                      <a:pt x="1169910" y="584074"/>
                    </a:cubicBezTo>
                    <a:cubicBezTo>
                      <a:pt x="1163826" y="580836"/>
                      <a:pt x="1159401" y="574899"/>
                      <a:pt x="1152764" y="572200"/>
                    </a:cubicBezTo>
                    <a:cubicBezTo>
                      <a:pt x="1149445" y="570041"/>
                      <a:pt x="1144468" y="570581"/>
                      <a:pt x="1140596" y="568962"/>
                    </a:cubicBezTo>
                    <a:cubicBezTo>
                      <a:pt x="1135065" y="566263"/>
                      <a:pt x="1134512" y="557628"/>
                      <a:pt x="1140043" y="554929"/>
                    </a:cubicBezTo>
                    <a:cubicBezTo>
                      <a:pt x="1146680" y="551691"/>
                      <a:pt x="1158848" y="552230"/>
                      <a:pt x="1166038" y="554929"/>
                    </a:cubicBezTo>
                    <a:close/>
                    <a:moveTo>
                      <a:pt x="1048783" y="568962"/>
                    </a:moveTo>
                    <a:cubicBezTo>
                      <a:pt x="1052101" y="567343"/>
                      <a:pt x="1062057" y="564644"/>
                      <a:pt x="1065928" y="564104"/>
                    </a:cubicBezTo>
                    <a:cubicBezTo>
                      <a:pt x="1067588" y="563565"/>
                      <a:pt x="1075884" y="563565"/>
                      <a:pt x="1076990" y="564104"/>
                    </a:cubicBezTo>
                    <a:cubicBezTo>
                      <a:pt x="1077543" y="564644"/>
                      <a:pt x="1077543" y="567343"/>
                      <a:pt x="1076990" y="567882"/>
                    </a:cubicBezTo>
                    <a:cubicBezTo>
                      <a:pt x="1076437" y="568962"/>
                      <a:pt x="1071459" y="570581"/>
                      <a:pt x="1070906" y="571661"/>
                    </a:cubicBezTo>
                    <a:cubicBezTo>
                      <a:pt x="1069800" y="573819"/>
                      <a:pt x="1070353" y="583534"/>
                      <a:pt x="1071459" y="585154"/>
                    </a:cubicBezTo>
                    <a:cubicBezTo>
                      <a:pt x="1076437" y="591091"/>
                      <a:pt x="1094689" y="584614"/>
                      <a:pt x="1096349" y="590551"/>
                    </a:cubicBezTo>
                    <a:cubicBezTo>
                      <a:pt x="1097455" y="594869"/>
                      <a:pt x="1084180" y="620775"/>
                      <a:pt x="1081968" y="625093"/>
                    </a:cubicBezTo>
                    <a:cubicBezTo>
                      <a:pt x="1079756" y="628871"/>
                      <a:pt x="1069800" y="641285"/>
                      <a:pt x="1065928" y="641825"/>
                    </a:cubicBezTo>
                    <a:cubicBezTo>
                      <a:pt x="1064269" y="642364"/>
                      <a:pt x="1060398" y="641825"/>
                      <a:pt x="1058738" y="641285"/>
                    </a:cubicBezTo>
                    <a:cubicBezTo>
                      <a:pt x="1055973" y="640205"/>
                      <a:pt x="1053760" y="636967"/>
                      <a:pt x="1050995" y="635888"/>
                    </a:cubicBezTo>
                    <a:cubicBezTo>
                      <a:pt x="1047676" y="633729"/>
                      <a:pt x="1038827" y="631030"/>
                      <a:pt x="1036615" y="628331"/>
                    </a:cubicBezTo>
                    <a:cubicBezTo>
                      <a:pt x="1033296" y="625093"/>
                      <a:pt x="1031637" y="612679"/>
                      <a:pt x="1028318" y="611060"/>
                    </a:cubicBezTo>
                    <a:cubicBezTo>
                      <a:pt x="1025553" y="609441"/>
                      <a:pt x="1019469" y="611600"/>
                      <a:pt x="1016703" y="612679"/>
                    </a:cubicBezTo>
                    <a:cubicBezTo>
                      <a:pt x="1015044" y="613759"/>
                      <a:pt x="1011725" y="617537"/>
                      <a:pt x="1010619" y="617537"/>
                    </a:cubicBezTo>
                    <a:cubicBezTo>
                      <a:pt x="1010066" y="618077"/>
                      <a:pt x="1007854" y="617537"/>
                      <a:pt x="1007301" y="616997"/>
                    </a:cubicBezTo>
                    <a:cubicBezTo>
                      <a:pt x="1006194" y="616458"/>
                      <a:pt x="999557" y="609441"/>
                      <a:pt x="999004" y="607822"/>
                    </a:cubicBezTo>
                    <a:cubicBezTo>
                      <a:pt x="998451" y="607282"/>
                      <a:pt x="998451" y="605123"/>
                      <a:pt x="998451" y="604044"/>
                    </a:cubicBezTo>
                    <a:cubicBezTo>
                      <a:pt x="999557" y="600266"/>
                      <a:pt x="1013385" y="588392"/>
                      <a:pt x="1017256" y="586233"/>
                    </a:cubicBezTo>
                    <a:lnTo>
                      <a:pt x="1020575" y="584614"/>
                    </a:lnTo>
                    <a:cubicBezTo>
                      <a:pt x="1030531" y="580296"/>
                      <a:pt x="1038827" y="573280"/>
                      <a:pt x="1048783" y="568962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5" name="Freeform 1087">
                <a:extLst>
                  <a:ext uri="{FF2B5EF4-FFF2-40B4-BE49-F238E27FC236}">
                    <a16:creationId xmlns:a16="http://schemas.microsoft.com/office/drawing/2014/main" id="{21F14798-B079-44A7-8B5B-F3C112F83D47}"/>
                  </a:ext>
                </a:extLst>
              </p:cNvPr>
              <p:cNvSpPr/>
              <p:nvPr/>
            </p:nvSpPr>
            <p:spPr>
              <a:xfrm>
                <a:off x="7076085" y="2619400"/>
                <a:ext cx="388823" cy="271615"/>
              </a:xfrm>
              <a:custGeom>
                <a:avLst/>
                <a:gdLst>
                  <a:gd name="connsiteX0" fmla="*/ 81066 w 388823"/>
                  <a:gd name="connsiteY0" fmla="*/ 196206 h 271615"/>
                  <a:gd name="connsiteX1" fmla="*/ 74428 w 388823"/>
                  <a:gd name="connsiteY1" fmla="*/ 202683 h 271615"/>
                  <a:gd name="connsiteX2" fmla="*/ 68898 w 388823"/>
                  <a:gd name="connsiteY2" fmla="*/ 215096 h 271615"/>
                  <a:gd name="connsiteX3" fmla="*/ 57283 w 388823"/>
                  <a:gd name="connsiteY3" fmla="*/ 227510 h 271615"/>
                  <a:gd name="connsiteX4" fmla="*/ 43455 w 388823"/>
                  <a:gd name="connsiteY4" fmla="*/ 233987 h 271615"/>
                  <a:gd name="connsiteX5" fmla="*/ 26863 w 388823"/>
                  <a:gd name="connsiteY5" fmla="*/ 271228 h 271615"/>
                  <a:gd name="connsiteX6" fmla="*/ 21332 w 388823"/>
                  <a:gd name="connsiteY6" fmla="*/ 269069 h 271615"/>
                  <a:gd name="connsiteX7" fmla="*/ 22991 w 388823"/>
                  <a:gd name="connsiteY7" fmla="*/ 243702 h 271615"/>
                  <a:gd name="connsiteX8" fmla="*/ 10823 w 388823"/>
                  <a:gd name="connsiteY8" fmla="*/ 239384 h 271615"/>
                  <a:gd name="connsiteX9" fmla="*/ 5845 w 388823"/>
                  <a:gd name="connsiteY9" fmla="*/ 233987 h 271615"/>
                  <a:gd name="connsiteX10" fmla="*/ 5292 w 388823"/>
                  <a:gd name="connsiteY10" fmla="*/ 226970 h 271615"/>
                  <a:gd name="connsiteX11" fmla="*/ 1420 w 388823"/>
                  <a:gd name="connsiteY11" fmla="*/ 218874 h 271615"/>
                  <a:gd name="connsiteX12" fmla="*/ 3080 w 388823"/>
                  <a:gd name="connsiteY12" fmla="*/ 211858 h 271615"/>
                  <a:gd name="connsiteX13" fmla="*/ 14141 w 388823"/>
                  <a:gd name="connsiteY13" fmla="*/ 212937 h 271615"/>
                  <a:gd name="connsiteX14" fmla="*/ 18566 w 388823"/>
                  <a:gd name="connsiteY14" fmla="*/ 203222 h 271615"/>
                  <a:gd name="connsiteX15" fmla="*/ 27416 w 388823"/>
                  <a:gd name="connsiteY15" fmla="*/ 199444 h 271615"/>
                  <a:gd name="connsiteX16" fmla="*/ 30734 w 388823"/>
                  <a:gd name="connsiteY16" fmla="*/ 191348 h 271615"/>
                  <a:gd name="connsiteX17" fmla="*/ 37371 w 388823"/>
                  <a:gd name="connsiteY17" fmla="*/ 188650 h 271615"/>
                  <a:gd name="connsiteX18" fmla="*/ 43455 w 388823"/>
                  <a:gd name="connsiteY18" fmla="*/ 189729 h 271615"/>
                  <a:gd name="connsiteX19" fmla="*/ 57283 w 388823"/>
                  <a:gd name="connsiteY19" fmla="*/ 187570 h 271615"/>
                  <a:gd name="connsiteX20" fmla="*/ 79959 w 388823"/>
                  <a:gd name="connsiteY20" fmla="*/ 195127 h 271615"/>
                  <a:gd name="connsiteX21" fmla="*/ 81066 w 388823"/>
                  <a:gd name="connsiteY21" fmla="*/ 196206 h 271615"/>
                  <a:gd name="connsiteX22" fmla="*/ 55623 w 388823"/>
                  <a:gd name="connsiteY22" fmla="*/ 157346 h 271615"/>
                  <a:gd name="connsiteX23" fmla="*/ 49539 w 388823"/>
                  <a:gd name="connsiteY23" fmla="*/ 160045 h 271615"/>
                  <a:gd name="connsiteX24" fmla="*/ 40690 w 388823"/>
                  <a:gd name="connsiteY24" fmla="*/ 176776 h 271615"/>
                  <a:gd name="connsiteX25" fmla="*/ 36818 w 388823"/>
                  <a:gd name="connsiteY25" fmla="*/ 177855 h 271615"/>
                  <a:gd name="connsiteX26" fmla="*/ 23544 w 388823"/>
                  <a:gd name="connsiteY26" fmla="*/ 163283 h 271615"/>
                  <a:gd name="connsiteX27" fmla="*/ 6951 w 388823"/>
                  <a:gd name="connsiteY27" fmla="*/ 160045 h 271615"/>
                  <a:gd name="connsiteX28" fmla="*/ 867 w 388823"/>
                  <a:gd name="connsiteY28" fmla="*/ 156806 h 271615"/>
                  <a:gd name="connsiteX29" fmla="*/ -792 w 388823"/>
                  <a:gd name="connsiteY29" fmla="*/ 155727 h 271615"/>
                  <a:gd name="connsiteX30" fmla="*/ 867 w 388823"/>
                  <a:gd name="connsiteY30" fmla="*/ 154108 h 271615"/>
                  <a:gd name="connsiteX31" fmla="*/ 21332 w 388823"/>
                  <a:gd name="connsiteY31" fmla="*/ 149790 h 271615"/>
                  <a:gd name="connsiteX32" fmla="*/ 32393 w 388823"/>
                  <a:gd name="connsiteY32" fmla="*/ 136297 h 271615"/>
                  <a:gd name="connsiteX33" fmla="*/ 36818 w 388823"/>
                  <a:gd name="connsiteY33" fmla="*/ 138456 h 271615"/>
                  <a:gd name="connsiteX34" fmla="*/ 48433 w 388823"/>
                  <a:gd name="connsiteY34" fmla="*/ 141694 h 271615"/>
                  <a:gd name="connsiteX35" fmla="*/ 55623 w 388823"/>
                  <a:gd name="connsiteY35" fmla="*/ 155727 h 271615"/>
                  <a:gd name="connsiteX36" fmla="*/ 55623 w 388823"/>
                  <a:gd name="connsiteY36" fmla="*/ 157346 h 271615"/>
                  <a:gd name="connsiteX37" fmla="*/ 355399 w 388823"/>
                  <a:gd name="connsiteY37" fmla="*/ 14859 h 271615"/>
                  <a:gd name="connsiteX38" fmla="*/ 347103 w 388823"/>
                  <a:gd name="connsiteY38" fmla="*/ 25653 h 271615"/>
                  <a:gd name="connsiteX39" fmla="*/ 331616 w 388823"/>
                  <a:gd name="connsiteY39" fmla="*/ 38607 h 271615"/>
                  <a:gd name="connsiteX40" fmla="*/ 332722 w 388823"/>
                  <a:gd name="connsiteY40" fmla="*/ 62894 h 271615"/>
                  <a:gd name="connsiteX41" fmla="*/ 328851 w 388823"/>
                  <a:gd name="connsiteY41" fmla="*/ 94198 h 271615"/>
                  <a:gd name="connsiteX42" fmla="*/ 352081 w 388823"/>
                  <a:gd name="connsiteY42" fmla="*/ 159505 h 271615"/>
                  <a:gd name="connsiteX43" fmla="*/ 365355 w 388823"/>
                  <a:gd name="connsiteY43" fmla="*/ 177316 h 271615"/>
                  <a:gd name="connsiteX44" fmla="*/ 380288 w 388823"/>
                  <a:gd name="connsiteY44" fmla="*/ 181094 h 271615"/>
                  <a:gd name="connsiteX45" fmla="*/ 388032 w 388823"/>
                  <a:gd name="connsiteY45" fmla="*/ 189190 h 271615"/>
                  <a:gd name="connsiteX46" fmla="*/ 375311 w 388823"/>
                  <a:gd name="connsiteY46" fmla="*/ 202143 h 271615"/>
                  <a:gd name="connsiteX47" fmla="*/ 364249 w 388823"/>
                  <a:gd name="connsiteY47" fmla="*/ 239384 h 271615"/>
                  <a:gd name="connsiteX48" fmla="*/ 336041 w 388823"/>
                  <a:gd name="connsiteY48" fmla="*/ 238304 h 271615"/>
                  <a:gd name="connsiteX49" fmla="*/ 322767 w 388823"/>
                  <a:gd name="connsiteY49" fmla="*/ 253956 h 271615"/>
                  <a:gd name="connsiteX50" fmla="*/ 286263 w 388823"/>
                  <a:gd name="connsiteY50" fmla="*/ 242622 h 271615"/>
                  <a:gd name="connsiteX51" fmla="*/ 277966 w 388823"/>
                  <a:gd name="connsiteY51" fmla="*/ 223192 h 271615"/>
                  <a:gd name="connsiteX52" fmla="*/ 203299 w 388823"/>
                  <a:gd name="connsiteY52" fmla="*/ 215636 h 271615"/>
                  <a:gd name="connsiteX53" fmla="*/ 196662 w 388823"/>
                  <a:gd name="connsiteY53" fmla="*/ 228589 h 271615"/>
                  <a:gd name="connsiteX54" fmla="*/ 181728 w 388823"/>
                  <a:gd name="connsiteY54" fmla="*/ 233447 h 271615"/>
                  <a:gd name="connsiteX55" fmla="*/ 164582 w 388823"/>
                  <a:gd name="connsiteY55" fmla="*/ 259354 h 271615"/>
                  <a:gd name="connsiteX56" fmla="*/ 164582 w 388823"/>
                  <a:gd name="connsiteY56" fmla="*/ 238844 h 271615"/>
                  <a:gd name="connsiteX57" fmla="*/ 169560 w 388823"/>
                  <a:gd name="connsiteY57" fmla="*/ 194047 h 271615"/>
                  <a:gd name="connsiteX58" fmla="*/ 166795 w 388823"/>
                  <a:gd name="connsiteY58" fmla="*/ 192428 h 271615"/>
                  <a:gd name="connsiteX59" fmla="*/ 153521 w 388823"/>
                  <a:gd name="connsiteY59" fmla="*/ 194047 h 271615"/>
                  <a:gd name="connsiteX60" fmla="*/ 149649 w 388823"/>
                  <a:gd name="connsiteY60" fmla="*/ 199444 h 271615"/>
                  <a:gd name="connsiteX61" fmla="*/ 139140 w 388823"/>
                  <a:gd name="connsiteY61" fmla="*/ 205921 h 271615"/>
                  <a:gd name="connsiteX62" fmla="*/ 115910 w 388823"/>
                  <a:gd name="connsiteY62" fmla="*/ 192428 h 271615"/>
                  <a:gd name="connsiteX63" fmla="*/ 99318 w 388823"/>
                  <a:gd name="connsiteY63" fmla="*/ 169220 h 271615"/>
                  <a:gd name="connsiteX64" fmla="*/ 105402 w 388823"/>
                  <a:gd name="connsiteY64" fmla="*/ 156806 h 271615"/>
                  <a:gd name="connsiteX65" fmla="*/ 103742 w 388823"/>
                  <a:gd name="connsiteY65" fmla="*/ 154647 h 271615"/>
                  <a:gd name="connsiteX66" fmla="*/ 93234 w 388823"/>
                  <a:gd name="connsiteY66" fmla="*/ 155187 h 271615"/>
                  <a:gd name="connsiteX67" fmla="*/ 90468 w 388823"/>
                  <a:gd name="connsiteY67" fmla="*/ 154108 h 271615"/>
                  <a:gd name="connsiteX68" fmla="*/ 88256 w 388823"/>
                  <a:gd name="connsiteY68" fmla="*/ 136297 h 271615"/>
                  <a:gd name="connsiteX69" fmla="*/ 89915 w 388823"/>
                  <a:gd name="connsiteY69" fmla="*/ 129280 h 271615"/>
                  <a:gd name="connsiteX70" fmla="*/ 82725 w 388823"/>
                  <a:gd name="connsiteY70" fmla="*/ 124963 h 271615"/>
                  <a:gd name="connsiteX71" fmla="*/ 82725 w 388823"/>
                  <a:gd name="connsiteY71" fmla="*/ 103913 h 271615"/>
                  <a:gd name="connsiteX72" fmla="*/ 93787 w 388823"/>
                  <a:gd name="connsiteY72" fmla="*/ 96357 h 271615"/>
                  <a:gd name="connsiteX73" fmla="*/ 107061 w 388823"/>
                  <a:gd name="connsiteY73" fmla="*/ 91500 h 271615"/>
                  <a:gd name="connsiteX74" fmla="*/ 113145 w 388823"/>
                  <a:gd name="connsiteY74" fmla="*/ 78007 h 271615"/>
                  <a:gd name="connsiteX75" fmla="*/ 120888 w 388823"/>
                  <a:gd name="connsiteY75" fmla="*/ 73689 h 271615"/>
                  <a:gd name="connsiteX76" fmla="*/ 127525 w 388823"/>
                  <a:gd name="connsiteY76" fmla="*/ 65053 h 271615"/>
                  <a:gd name="connsiteX77" fmla="*/ 146884 w 388823"/>
                  <a:gd name="connsiteY77" fmla="*/ 58577 h 271615"/>
                  <a:gd name="connsiteX78" fmla="*/ 147990 w 388823"/>
                  <a:gd name="connsiteY78" fmla="*/ 48322 h 271615"/>
                  <a:gd name="connsiteX79" fmla="*/ 167348 w 388823"/>
                  <a:gd name="connsiteY79" fmla="*/ 47242 h 271615"/>
                  <a:gd name="connsiteX80" fmla="*/ 171220 w 388823"/>
                  <a:gd name="connsiteY80" fmla="*/ 45083 h 271615"/>
                  <a:gd name="connsiteX81" fmla="*/ 187812 w 388823"/>
                  <a:gd name="connsiteY81" fmla="*/ 39686 h 271615"/>
                  <a:gd name="connsiteX82" fmla="*/ 188365 w 388823"/>
                  <a:gd name="connsiteY82" fmla="*/ 28352 h 271615"/>
                  <a:gd name="connsiteX83" fmla="*/ 200533 w 388823"/>
                  <a:gd name="connsiteY83" fmla="*/ 28892 h 271615"/>
                  <a:gd name="connsiteX84" fmla="*/ 212701 w 388823"/>
                  <a:gd name="connsiteY84" fmla="*/ 22955 h 271615"/>
                  <a:gd name="connsiteX85" fmla="*/ 229294 w 388823"/>
                  <a:gd name="connsiteY85" fmla="*/ 21336 h 271615"/>
                  <a:gd name="connsiteX86" fmla="*/ 249206 w 388823"/>
                  <a:gd name="connsiteY86" fmla="*/ 22955 h 271615"/>
                  <a:gd name="connsiteX87" fmla="*/ 259714 w 388823"/>
                  <a:gd name="connsiteY87" fmla="*/ 19716 h 271615"/>
                  <a:gd name="connsiteX88" fmla="*/ 290134 w 388823"/>
                  <a:gd name="connsiteY88" fmla="*/ 24574 h 271615"/>
                  <a:gd name="connsiteX89" fmla="*/ 329957 w 388823"/>
                  <a:gd name="connsiteY89" fmla="*/ 11081 h 271615"/>
                  <a:gd name="connsiteX90" fmla="*/ 332169 w 388823"/>
                  <a:gd name="connsiteY90" fmla="*/ 286 h 271615"/>
                  <a:gd name="connsiteX91" fmla="*/ 340466 w 388823"/>
                  <a:gd name="connsiteY91" fmla="*/ 286 h 271615"/>
                  <a:gd name="connsiteX92" fmla="*/ 355399 w 388823"/>
                  <a:gd name="connsiteY92" fmla="*/ 14859 h 271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388823" h="271615">
                    <a:moveTo>
                      <a:pt x="81066" y="196206"/>
                    </a:moveTo>
                    <a:cubicBezTo>
                      <a:pt x="81066" y="198365"/>
                      <a:pt x="76088" y="199984"/>
                      <a:pt x="74428" y="202683"/>
                    </a:cubicBezTo>
                    <a:cubicBezTo>
                      <a:pt x="72216" y="206461"/>
                      <a:pt x="71110" y="211318"/>
                      <a:pt x="68898" y="215096"/>
                    </a:cubicBezTo>
                    <a:cubicBezTo>
                      <a:pt x="66685" y="217795"/>
                      <a:pt x="60048" y="225891"/>
                      <a:pt x="57283" y="227510"/>
                    </a:cubicBezTo>
                    <a:cubicBezTo>
                      <a:pt x="53411" y="230748"/>
                      <a:pt x="47327" y="230748"/>
                      <a:pt x="43455" y="233987"/>
                    </a:cubicBezTo>
                    <a:cubicBezTo>
                      <a:pt x="32947" y="241003"/>
                      <a:pt x="31840" y="268529"/>
                      <a:pt x="26863" y="271228"/>
                    </a:cubicBezTo>
                    <a:cubicBezTo>
                      <a:pt x="26309" y="271767"/>
                      <a:pt x="22438" y="271228"/>
                      <a:pt x="21332" y="269069"/>
                    </a:cubicBezTo>
                    <a:cubicBezTo>
                      <a:pt x="15801" y="258814"/>
                      <a:pt x="30181" y="248559"/>
                      <a:pt x="22991" y="243702"/>
                    </a:cubicBezTo>
                    <a:cubicBezTo>
                      <a:pt x="19672" y="241543"/>
                      <a:pt x="14695" y="241543"/>
                      <a:pt x="10823" y="239384"/>
                    </a:cubicBezTo>
                    <a:cubicBezTo>
                      <a:pt x="9717" y="238844"/>
                      <a:pt x="6398" y="235066"/>
                      <a:pt x="5845" y="233987"/>
                    </a:cubicBezTo>
                    <a:cubicBezTo>
                      <a:pt x="5292" y="231828"/>
                      <a:pt x="5845" y="229129"/>
                      <a:pt x="5292" y="226970"/>
                    </a:cubicBezTo>
                    <a:cubicBezTo>
                      <a:pt x="4186" y="224272"/>
                      <a:pt x="1973" y="221573"/>
                      <a:pt x="1420" y="218874"/>
                    </a:cubicBezTo>
                    <a:cubicBezTo>
                      <a:pt x="1420" y="217795"/>
                      <a:pt x="2526" y="212937"/>
                      <a:pt x="3080" y="211858"/>
                    </a:cubicBezTo>
                    <a:cubicBezTo>
                      <a:pt x="4739" y="209699"/>
                      <a:pt x="11376" y="213477"/>
                      <a:pt x="14141" y="212937"/>
                    </a:cubicBezTo>
                    <a:cubicBezTo>
                      <a:pt x="16354" y="212398"/>
                      <a:pt x="16907" y="204842"/>
                      <a:pt x="18566" y="203222"/>
                    </a:cubicBezTo>
                    <a:cubicBezTo>
                      <a:pt x="19672" y="202143"/>
                      <a:pt x="25756" y="201064"/>
                      <a:pt x="27416" y="199444"/>
                    </a:cubicBezTo>
                    <a:cubicBezTo>
                      <a:pt x="28522" y="197825"/>
                      <a:pt x="29628" y="192428"/>
                      <a:pt x="30734" y="191348"/>
                    </a:cubicBezTo>
                    <a:cubicBezTo>
                      <a:pt x="31840" y="190269"/>
                      <a:pt x="36265" y="188650"/>
                      <a:pt x="37371" y="188650"/>
                    </a:cubicBezTo>
                    <a:cubicBezTo>
                      <a:pt x="39584" y="188650"/>
                      <a:pt x="41796" y="189729"/>
                      <a:pt x="43455" y="189729"/>
                    </a:cubicBezTo>
                    <a:cubicBezTo>
                      <a:pt x="48986" y="189190"/>
                      <a:pt x="50092" y="185951"/>
                      <a:pt x="57283" y="187570"/>
                    </a:cubicBezTo>
                    <a:cubicBezTo>
                      <a:pt x="59495" y="188110"/>
                      <a:pt x="79406" y="194587"/>
                      <a:pt x="79959" y="195127"/>
                    </a:cubicBezTo>
                    <a:cubicBezTo>
                      <a:pt x="80512" y="195127"/>
                      <a:pt x="81066" y="195666"/>
                      <a:pt x="81066" y="196206"/>
                    </a:cubicBezTo>
                    <a:close/>
                    <a:moveTo>
                      <a:pt x="55623" y="157346"/>
                    </a:moveTo>
                    <a:cubicBezTo>
                      <a:pt x="53964" y="157886"/>
                      <a:pt x="50645" y="158965"/>
                      <a:pt x="49539" y="160045"/>
                    </a:cubicBezTo>
                    <a:cubicBezTo>
                      <a:pt x="46221" y="164362"/>
                      <a:pt x="44561" y="172998"/>
                      <a:pt x="40690" y="176776"/>
                    </a:cubicBezTo>
                    <a:cubicBezTo>
                      <a:pt x="40137" y="177855"/>
                      <a:pt x="37371" y="177855"/>
                      <a:pt x="36818" y="177855"/>
                    </a:cubicBezTo>
                    <a:cubicBezTo>
                      <a:pt x="31287" y="176776"/>
                      <a:pt x="28522" y="165981"/>
                      <a:pt x="23544" y="163283"/>
                    </a:cubicBezTo>
                    <a:cubicBezTo>
                      <a:pt x="19672" y="161124"/>
                      <a:pt x="11376" y="161664"/>
                      <a:pt x="6951" y="160045"/>
                    </a:cubicBezTo>
                    <a:cubicBezTo>
                      <a:pt x="5845" y="160045"/>
                      <a:pt x="1973" y="157346"/>
                      <a:pt x="867" y="156806"/>
                    </a:cubicBezTo>
                    <a:cubicBezTo>
                      <a:pt x="867" y="156806"/>
                      <a:pt x="-239" y="155727"/>
                      <a:pt x="-792" y="155727"/>
                    </a:cubicBezTo>
                    <a:cubicBezTo>
                      <a:pt x="-792" y="155187"/>
                      <a:pt x="314" y="154108"/>
                      <a:pt x="867" y="154108"/>
                    </a:cubicBezTo>
                    <a:cubicBezTo>
                      <a:pt x="5292" y="151949"/>
                      <a:pt x="14695" y="156806"/>
                      <a:pt x="21332" y="149790"/>
                    </a:cubicBezTo>
                    <a:cubicBezTo>
                      <a:pt x="24097" y="146551"/>
                      <a:pt x="28522" y="137376"/>
                      <a:pt x="32393" y="136297"/>
                    </a:cubicBezTo>
                    <a:cubicBezTo>
                      <a:pt x="35712" y="135217"/>
                      <a:pt x="36265" y="137916"/>
                      <a:pt x="36818" y="138456"/>
                    </a:cubicBezTo>
                    <a:cubicBezTo>
                      <a:pt x="37924" y="138995"/>
                      <a:pt x="46221" y="140614"/>
                      <a:pt x="48433" y="141694"/>
                    </a:cubicBezTo>
                    <a:cubicBezTo>
                      <a:pt x="51199" y="142773"/>
                      <a:pt x="54517" y="152488"/>
                      <a:pt x="55623" y="155727"/>
                    </a:cubicBezTo>
                    <a:lnTo>
                      <a:pt x="55623" y="157346"/>
                    </a:lnTo>
                    <a:close/>
                    <a:moveTo>
                      <a:pt x="355399" y="14859"/>
                    </a:moveTo>
                    <a:lnTo>
                      <a:pt x="347103" y="25653"/>
                    </a:lnTo>
                    <a:lnTo>
                      <a:pt x="331616" y="38607"/>
                    </a:lnTo>
                    <a:lnTo>
                      <a:pt x="332722" y="62894"/>
                    </a:lnTo>
                    <a:lnTo>
                      <a:pt x="328851" y="94198"/>
                    </a:lnTo>
                    <a:lnTo>
                      <a:pt x="352081" y="159505"/>
                    </a:lnTo>
                    <a:lnTo>
                      <a:pt x="365355" y="177316"/>
                    </a:lnTo>
                    <a:lnTo>
                      <a:pt x="380288" y="181094"/>
                    </a:lnTo>
                    <a:lnTo>
                      <a:pt x="388032" y="189190"/>
                    </a:lnTo>
                    <a:lnTo>
                      <a:pt x="375311" y="202143"/>
                    </a:lnTo>
                    <a:lnTo>
                      <a:pt x="364249" y="239384"/>
                    </a:lnTo>
                    <a:lnTo>
                      <a:pt x="336041" y="238304"/>
                    </a:lnTo>
                    <a:lnTo>
                      <a:pt x="322767" y="253956"/>
                    </a:lnTo>
                    <a:lnTo>
                      <a:pt x="286263" y="242622"/>
                    </a:lnTo>
                    <a:lnTo>
                      <a:pt x="277966" y="223192"/>
                    </a:lnTo>
                    <a:lnTo>
                      <a:pt x="203299" y="215636"/>
                    </a:lnTo>
                    <a:lnTo>
                      <a:pt x="196662" y="228589"/>
                    </a:lnTo>
                    <a:lnTo>
                      <a:pt x="181728" y="233447"/>
                    </a:lnTo>
                    <a:lnTo>
                      <a:pt x="164582" y="259354"/>
                    </a:lnTo>
                    <a:cubicBezTo>
                      <a:pt x="164029" y="252877"/>
                      <a:pt x="164029" y="245321"/>
                      <a:pt x="164582" y="238844"/>
                    </a:cubicBezTo>
                    <a:cubicBezTo>
                      <a:pt x="165136" y="231828"/>
                      <a:pt x="170113" y="196206"/>
                      <a:pt x="169560" y="194047"/>
                    </a:cubicBezTo>
                    <a:cubicBezTo>
                      <a:pt x="169007" y="192968"/>
                      <a:pt x="167348" y="192428"/>
                      <a:pt x="166795" y="192428"/>
                    </a:cubicBezTo>
                    <a:cubicBezTo>
                      <a:pt x="162370" y="190809"/>
                      <a:pt x="156839" y="191348"/>
                      <a:pt x="153521" y="194047"/>
                    </a:cubicBezTo>
                    <a:cubicBezTo>
                      <a:pt x="151861" y="195666"/>
                      <a:pt x="151308" y="197825"/>
                      <a:pt x="149649" y="199444"/>
                    </a:cubicBezTo>
                    <a:cubicBezTo>
                      <a:pt x="147990" y="201064"/>
                      <a:pt x="141353" y="205381"/>
                      <a:pt x="139140" y="205921"/>
                    </a:cubicBezTo>
                    <a:cubicBezTo>
                      <a:pt x="133609" y="206461"/>
                      <a:pt x="119229" y="196206"/>
                      <a:pt x="115910" y="192428"/>
                    </a:cubicBezTo>
                    <a:cubicBezTo>
                      <a:pt x="112592" y="189190"/>
                      <a:pt x="100977" y="172458"/>
                      <a:pt x="99318" y="169220"/>
                    </a:cubicBezTo>
                    <a:cubicBezTo>
                      <a:pt x="97658" y="163283"/>
                      <a:pt x="104849" y="161124"/>
                      <a:pt x="105402" y="156806"/>
                    </a:cubicBezTo>
                    <a:lnTo>
                      <a:pt x="103742" y="154647"/>
                    </a:lnTo>
                    <a:cubicBezTo>
                      <a:pt x="100424" y="154647"/>
                      <a:pt x="95999" y="156266"/>
                      <a:pt x="93234" y="155187"/>
                    </a:cubicBezTo>
                    <a:cubicBezTo>
                      <a:pt x="92127" y="155187"/>
                      <a:pt x="91021" y="154647"/>
                      <a:pt x="90468" y="154108"/>
                    </a:cubicBezTo>
                    <a:cubicBezTo>
                      <a:pt x="89915" y="153028"/>
                      <a:pt x="88256" y="137916"/>
                      <a:pt x="88256" y="136297"/>
                    </a:cubicBezTo>
                    <a:cubicBezTo>
                      <a:pt x="88256" y="134678"/>
                      <a:pt x="90468" y="130360"/>
                      <a:pt x="89915" y="129280"/>
                    </a:cubicBezTo>
                    <a:cubicBezTo>
                      <a:pt x="89362" y="127121"/>
                      <a:pt x="84937" y="128201"/>
                      <a:pt x="82725" y="124963"/>
                    </a:cubicBezTo>
                    <a:cubicBezTo>
                      <a:pt x="82725" y="120105"/>
                      <a:pt x="81066" y="107152"/>
                      <a:pt x="82725" y="103913"/>
                    </a:cubicBezTo>
                    <a:cubicBezTo>
                      <a:pt x="83831" y="101215"/>
                      <a:pt x="91021" y="97437"/>
                      <a:pt x="93787" y="96357"/>
                    </a:cubicBezTo>
                    <a:cubicBezTo>
                      <a:pt x="98211" y="94198"/>
                      <a:pt x="103189" y="94198"/>
                      <a:pt x="107061" y="91500"/>
                    </a:cubicBezTo>
                    <a:cubicBezTo>
                      <a:pt x="107614" y="90960"/>
                      <a:pt x="111486" y="80165"/>
                      <a:pt x="113145" y="78007"/>
                    </a:cubicBezTo>
                    <a:cubicBezTo>
                      <a:pt x="114804" y="76387"/>
                      <a:pt x="119229" y="75308"/>
                      <a:pt x="120888" y="73689"/>
                    </a:cubicBezTo>
                    <a:cubicBezTo>
                      <a:pt x="123654" y="70990"/>
                      <a:pt x="124760" y="67212"/>
                      <a:pt x="127525" y="65053"/>
                    </a:cubicBezTo>
                    <a:cubicBezTo>
                      <a:pt x="131950" y="61275"/>
                      <a:pt x="145224" y="60196"/>
                      <a:pt x="146884" y="58577"/>
                    </a:cubicBezTo>
                    <a:cubicBezTo>
                      <a:pt x="147990" y="56957"/>
                      <a:pt x="147437" y="49941"/>
                      <a:pt x="147990" y="48322"/>
                    </a:cubicBezTo>
                    <a:cubicBezTo>
                      <a:pt x="149649" y="46163"/>
                      <a:pt x="164029" y="48322"/>
                      <a:pt x="167348" y="47242"/>
                    </a:cubicBezTo>
                    <a:cubicBezTo>
                      <a:pt x="169007" y="47242"/>
                      <a:pt x="170113" y="45623"/>
                      <a:pt x="171220" y="45083"/>
                    </a:cubicBezTo>
                    <a:cubicBezTo>
                      <a:pt x="176197" y="43464"/>
                      <a:pt x="185047" y="47782"/>
                      <a:pt x="187812" y="39686"/>
                    </a:cubicBezTo>
                    <a:cubicBezTo>
                      <a:pt x="188919" y="37527"/>
                      <a:pt x="188365" y="31051"/>
                      <a:pt x="188365" y="28352"/>
                    </a:cubicBezTo>
                    <a:cubicBezTo>
                      <a:pt x="192237" y="27812"/>
                      <a:pt x="197768" y="28892"/>
                      <a:pt x="200533" y="28892"/>
                    </a:cubicBezTo>
                    <a:cubicBezTo>
                      <a:pt x="204958" y="27812"/>
                      <a:pt x="208277" y="24034"/>
                      <a:pt x="212701" y="22955"/>
                    </a:cubicBezTo>
                    <a:cubicBezTo>
                      <a:pt x="217679" y="21875"/>
                      <a:pt x="223763" y="21336"/>
                      <a:pt x="229294" y="21336"/>
                    </a:cubicBezTo>
                    <a:cubicBezTo>
                      <a:pt x="235931" y="21336"/>
                      <a:pt x="242568" y="23495"/>
                      <a:pt x="249206" y="22955"/>
                    </a:cubicBezTo>
                    <a:cubicBezTo>
                      <a:pt x="252524" y="22415"/>
                      <a:pt x="256396" y="19716"/>
                      <a:pt x="259714" y="19716"/>
                    </a:cubicBezTo>
                    <a:cubicBezTo>
                      <a:pt x="269670" y="19716"/>
                      <a:pt x="279626" y="24034"/>
                      <a:pt x="290134" y="24574"/>
                    </a:cubicBezTo>
                    <a:cubicBezTo>
                      <a:pt x="300643" y="24574"/>
                      <a:pt x="322767" y="19716"/>
                      <a:pt x="329957" y="11081"/>
                    </a:cubicBezTo>
                    <a:cubicBezTo>
                      <a:pt x="331616" y="9462"/>
                      <a:pt x="332169" y="2985"/>
                      <a:pt x="332169" y="286"/>
                    </a:cubicBezTo>
                    <a:cubicBezTo>
                      <a:pt x="336041" y="286"/>
                      <a:pt x="338253" y="-793"/>
                      <a:pt x="340466" y="286"/>
                    </a:cubicBezTo>
                    <a:cubicBezTo>
                      <a:pt x="345997" y="2445"/>
                      <a:pt x="355399" y="8922"/>
                      <a:pt x="355399" y="14859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6" name="Freeform 1088">
                <a:extLst>
                  <a:ext uri="{FF2B5EF4-FFF2-40B4-BE49-F238E27FC236}">
                    <a16:creationId xmlns:a16="http://schemas.microsoft.com/office/drawing/2014/main" id="{DD30DC54-04A8-44B1-8E04-9AB096F0CF87}"/>
                  </a:ext>
                </a:extLst>
              </p:cNvPr>
              <p:cNvSpPr/>
              <p:nvPr/>
            </p:nvSpPr>
            <p:spPr>
              <a:xfrm>
                <a:off x="5343247" y="2398728"/>
                <a:ext cx="1360132" cy="975010"/>
              </a:xfrm>
              <a:custGeom>
                <a:avLst/>
                <a:gdLst>
                  <a:gd name="connsiteX0" fmla="*/ 918050 w 1360132"/>
                  <a:gd name="connsiteY0" fmla="*/ 708851 h 975010"/>
                  <a:gd name="connsiteX1" fmla="*/ 917497 w 1360132"/>
                  <a:gd name="connsiteY1" fmla="*/ 711550 h 975010"/>
                  <a:gd name="connsiteX2" fmla="*/ 911413 w 1360132"/>
                  <a:gd name="connsiteY2" fmla="*/ 730440 h 975010"/>
                  <a:gd name="connsiteX3" fmla="*/ 905328 w 1360132"/>
                  <a:gd name="connsiteY3" fmla="*/ 736377 h 975010"/>
                  <a:gd name="connsiteX4" fmla="*/ 902010 w 1360132"/>
                  <a:gd name="connsiteY4" fmla="*/ 734218 h 975010"/>
                  <a:gd name="connsiteX5" fmla="*/ 901457 w 1360132"/>
                  <a:gd name="connsiteY5" fmla="*/ 723964 h 975010"/>
                  <a:gd name="connsiteX6" fmla="*/ 904222 w 1360132"/>
                  <a:gd name="connsiteY6" fmla="*/ 721265 h 975010"/>
                  <a:gd name="connsiteX7" fmla="*/ 915284 w 1360132"/>
                  <a:gd name="connsiteY7" fmla="*/ 709391 h 975010"/>
                  <a:gd name="connsiteX8" fmla="*/ 918050 w 1360132"/>
                  <a:gd name="connsiteY8" fmla="*/ 708851 h 975010"/>
                  <a:gd name="connsiteX9" fmla="*/ -636 w 1360132"/>
                  <a:gd name="connsiteY9" fmla="*/ 8830 h 975010"/>
                  <a:gd name="connsiteX10" fmla="*/ 1023 w 1360132"/>
                  <a:gd name="connsiteY10" fmla="*/ 195 h 975010"/>
                  <a:gd name="connsiteX11" fmla="*/ 3235 w 1360132"/>
                  <a:gd name="connsiteY11" fmla="*/ 195 h 975010"/>
                  <a:gd name="connsiteX12" fmla="*/ 8213 w 1360132"/>
                  <a:gd name="connsiteY12" fmla="*/ 8291 h 975010"/>
                  <a:gd name="connsiteX13" fmla="*/ 10979 w 1360132"/>
                  <a:gd name="connsiteY13" fmla="*/ 18006 h 975010"/>
                  <a:gd name="connsiteX14" fmla="*/ 15956 w 1360132"/>
                  <a:gd name="connsiteY14" fmla="*/ 26101 h 975010"/>
                  <a:gd name="connsiteX15" fmla="*/ 19275 w 1360132"/>
                  <a:gd name="connsiteY15" fmla="*/ 29879 h 975010"/>
                  <a:gd name="connsiteX16" fmla="*/ 20381 w 1360132"/>
                  <a:gd name="connsiteY16" fmla="*/ 34197 h 975010"/>
                  <a:gd name="connsiteX17" fmla="*/ 17616 w 1360132"/>
                  <a:gd name="connsiteY17" fmla="*/ 41214 h 975010"/>
                  <a:gd name="connsiteX18" fmla="*/ 12085 w 1360132"/>
                  <a:gd name="connsiteY18" fmla="*/ 39594 h 975010"/>
                  <a:gd name="connsiteX19" fmla="*/ 10979 w 1360132"/>
                  <a:gd name="connsiteY19" fmla="*/ 37975 h 975010"/>
                  <a:gd name="connsiteX20" fmla="*/ 7660 w 1360132"/>
                  <a:gd name="connsiteY20" fmla="*/ 21244 h 975010"/>
                  <a:gd name="connsiteX21" fmla="*/ -636 w 1360132"/>
                  <a:gd name="connsiteY21" fmla="*/ 8830 h 975010"/>
                  <a:gd name="connsiteX22" fmla="*/ 910859 w 1360132"/>
                  <a:gd name="connsiteY22" fmla="*/ 944171 h 975010"/>
                  <a:gd name="connsiteX23" fmla="*/ 906988 w 1360132"/>
                  <a:gd name="connsiteY23" fmla="*/ 889659 h 975010"/>
                  <a:gd name="connsiteX24" fmla="*/ 895373 w 1360132"/>
                  <a:gd name="connsiteY24" fmla="*/ 883182 h 975010"/>
                  <a:gd name="connsiteX25" fmla="*/ 886523 w 1360132"/>
                  <a:gd name="connsiteY25" fmla="*/ 869149 h 975010"/>
                  <a:gd name="connsiteX26" fmla="*/ 874355 w 1360132"/>
                  <a:gd name="connsiteY26" fmla="*/ 876705 h 975010"/>
                  <a:gd name="connsiteX27" fmla="*/ 874355 w 1360132"/>
                  <a:gd name="connsiteY27" fmla="*/ 840544 h 975010"/>
                  <a:gd name="connsiteX28" fmla="*/ 872143 w 1360132"/>
                  <a:gd name="connsiteY28" fmla="*/ 836766 h 975010"/>
                  <a:gd name="connsiteX29" fmla="*/ 871037 w 1360132"/>
                  <a:gd name="connsiteY29" fmla="*/ 825971 h 975010"/>
                  <a:gd name="connsiteX30" fmla="*/ 876568 w 1360132"/>
                  <a:gd name="connsiteY30" fmla="*/ 837845 h 975010"/>
                  <a:gd name="connsiteX31" fmla="*/ 887630 w 1360132"/>
                  <a:gd name="connsiteY31" fmla="*/ 824352 h 975010"/>
                  <a:gd name="connsiteX32" fmla="*/ 880439 w 1360132"/>
                  <a:gd name="connsiteY32" fmla="*/ 812478 h 975010"/>
                  <a:gd name="connsiteX33" fmla="*/ 874355 w 1360132"/>
                  <a:gd name="connsiteY33" fmla="*/ 818415 h 975010"/>
                  <a:gd name="connsiteX34" fmla="*/ 870484 w 1360132"/>
                  <a:gd name="connsiteY34" fmla="*/ 817876 h 975010"/>
                  <a:gd name="connsiteX35" fmla="*/ 868824 w 1360132"/>
                  <a:gd name="connsiteY35" fmla="*/ 814097 h 975010"/>
                  <a:gd name="connsiteX36" fmla="*/ 869378 w 1360132"/>
                  <a:gd name="connsiteY36" fmla="*/ 802224 h 975010"/>
                  <a:gd name="connsiteX37" fmla="*/ 870484 w 1360132"/>
                  <a:gd name="connsiteY37" fmla="*/ 785492 h 975010"/>
                  <a:gd name="connsiteX38" fmla="*/ 881546 w 1360132"/>
                  <a:gd name="connsiteY38" fmla="*/ 785492 h 975010"/>
                  <a:gd name="connsiteX39" fmla="*/ 883205 w 1360132"/>
                  <a:gd name="connsiteY39" fmla="*/ 779015 h 975010"/>
                  <a:gd name="connsiteX40" fmla="*/ 870484 w 1360132"/>
                  <a:gd name="connsiteY40" fmla="*/ 763903 h 975010"/>
                  <a:gd name="connsiteX41" fmla="*/ 869931 w 1360132"/>
                  <a:gd name="connsiteY41" fmla="*/ 752569 h 975010"/>
                  <a:gd name="connsiteX42" fmla="*/ 871590 w 1360132"/>
                  <a:gd name="connsiteY42" fmla="*/ 741775 h 975010"/>
                  <a:gd name="connsiteX43" fmla="*/ 878780 w 1360132"/>
                  <a:gd name="connsiteY43" fmla="*/ 737996 h 975010"/>
                  <a:gd name="connsiteX44" fmla="*/ 875462 w 1360132"/>
                  <a:gd name="connsiteY44" fmla="*/ 743933 h 975010"/>
                  <a:gd name="connsiteX45" fmla="*/ 879886 w 1360132"/>
                  <a:gd name="connsiteY45" fmla="*/ 748791 h 975010"/>
                  <a:gd name="connsiteX46" fmla="*/ 881546 w 1360132"/>
                  <a:gd name="connsiteY46" fmla="*/ 752029 h 975010"/>
                  <a:gd name="connsiteX47" fmla="*/ 899244 w 1360132"/>
                  <a:gd name="connsiteY47" fmla="*/ 752569 h 975010"/>
                  <a:gd name="connsiteX48" fmla="*/ 908647 w 1360132"/>
                  <a:gd name="connsiteY48" fmla="*/ 760665 h 975010"/>
                  <a:gd name="connsiteX49" fmla="*/ 913072 w 1360132"/>
                  <a:gd name="connsiteY49" fmla="*/ 750950 h 975010"/>
                  <a:gd name="connsiteX50" fmla="*/ 914178 w 1360132"/>
                  <a:gd name="connsiteY50" fmla="*/ 743394 h 975010"/>
                  <a:gd name="connsiteX51" fmla="*/ 921921 w 1360132"/>
                  <a:gd name="connsiteY51" fmla="*/ 737996 h 975010"/>
                  <a:gd name="connsiteX52" fmla="*/ 928005 w 1360132"/>
                  <a:gd name="connsiteY52" fmla="*/ 728281 h 975010"/>
                  <a:gd name="connsiteX53" fmla="*/ 932983 w 1360132"/>
                  <a:gd name="connsiteY53" fmla="*/ 742854 h 975010"/>
                  <a:gd name="connsiteX54" fmla="*/ 930218 w 1360132"/>
                  <a:gd name="connsiteY54" fmla="*/ 748251 h 975010"/>
                  <a:gd name="connsiteX55" fmla="*/ 930771 w 1360132"/>
                  <a:gd name="connsiteY55" fmla="*/ 750950 h 975010"/>
                  <a:gd name="connsiteX56" fmla="*/ 938514 w 1360132"/>
                  <a:gd name="connsiteY56" fmla="*/ 748251 h 975010"/>
                  <a:gd name="connsiteX57" fmla="*/ 938514 w 1360132"/>
                  <a:gd name="connsiteY57" fmla="*/ 743933 h 975010"/>
                  <a:gd name="connsiteX58" fmla="*/ 940173 w 1360132"/>
                  <a:gd name="connsiteY58" fmla="*/ 742854 h 975010"/>
                  <a:gd name="connsiteX59" fmla="*/ 944598 w 1360132"/>
                  <a:gd name="connsiteY59" fmla="*/ 753648 h 975010"/>
                  <a:gd name="connsiteX60" fmla="*/ 952341 w 1360132"/>
                  <a:gd name="connsiteY60" fmla="*/ 752569 h 975010"/>
                  <a:gd name="connsiteX61" fmla="*/ 946257 w 1360132"/>
                  <a:gd name="connsiteY61" fmla="*/ 735838 h 975010"/>
                  <a:gd name="connsiteX62" fmla="*/ 942386 w 1360132"/>
                  <a:gd name="connsiteY62" fmla="*/ 716947 h 975010"/>
                  <a:gd name="connsiteX63" fmla="*/ 952341 w 1360132"/>
                  <a:gd name="connsiteY63" fmla="*/ 701295 h 975010"/>
                  <a:gd name="connsiteX64" fmla="*/ 967828 w 1360132"/>
                  <a:gd name="connsiteY64" fmla="*/ 705613 h 975010"/>
                  <a:gd name="connsiteX65" fmla="*/ 976124 w 1360132"/>
                  <a:gd name="connsiteY65" fmla="*/ 696977 h 975010"/>
                  <a:gd name="connsiteX66" fmla="*/ 984974 w 1360132"/>
                  <a:gd name="connsiteY66" fmla="*/ 692660 h 975010"/>
                  <a:gd name="connsiteX67" fmla="*/ 983314 w 1360132"/>
                  <a:gd name="connsiteY67" fmla="*/ 687262 h 975010"/>
                  <a:gd name="connsiteX68" fmla="*/ 975018 w 1360132"/>
                  <a:gd name="connsiteY68" fmla="*/ 687262 h 975010"/>
                  <a:gd name="connsiteX69" fmla="*/ 964509 w 1360132"/>
                  <a:gd name="connsiteY69" fmla="*/ 692120 h 975010"/>
                  <a:gd name="connsiteX70" fmla="*/ 955660 w 1360132"/>
                  <a:gd name="connsiteY70" fmla="*/ 692660 h 975010"/>
                  <a:gd name="connsiteX71" fmla="*/ 946257 w 1360132"/>
                  <a:gd name="connsiteY71" fmla="*/ 696438 h 975010"/>
                  <a:gd name="connsiteX72" fmla="*/ 920815 w 1360132"/>
                  <a:gd name="connsiteY72" fmla="*/ 699136 h 975010"/>
                  <a:gd name="connsiteX73" fmla="*/ 907541 w 1360132"/>
                  <a:gd name="connsiteY73" fmla="*/ 706153 h 975010"/>
                  <a:gd name="connsiteX74" fmla="*/ 897032 w 1360132"/>
                  <a:gd name="connsiteY74" fmla="*/ 719646 h 975010"/>
                  <a:gd name="connsiteX75" fmla="*/ 894267 w 1360132"/>
                  <a:gd name="connsiteY75" fmla="*/ 722344 h 975010"/>
                  <a:gd name="connsiteX76" fmla="*/ 892054 w 1360132"/>
                  <a:gd name="connsiteY76" fmla="*/ 727202 h 975010"/>
                  <a:gd name="connsiteX77" fmla="*/ 899244 w 1360132"/>
                  <a:gd name="connsiteY77" fmla="*/ 745013 h 975010"/>
                  <a:gd name="connsiteX78" fmla="*/ 893714 w 1360132"/>
                  <a:gd name="connsiteY78" fmla="*/ 737996 h 975010"/>
                  <a:gd name="connsiteX79" fmla="*/ 878227 w 1360132"/>
                  <a:gd name="connsiteY79" fmla="*/ 727202 h 975010"/>
                  <a:gd name="connsiteX80" fmla="*/ 883758 w 1360132"/>
                  <a:gd name="connsiteY80" fmla="*/ 709391 h 975010"/>
                  <a:gd name="connsiteX81" fmla="*/ 902563 w 1360132"/>
                  <a:gd name="connsiteY81" fmla="*/ 687262 h 975010"/>
                  <a:gd name="connsiteX82" fmla="*/ 913625 w 1360132"/>
                  <a:gd name="connsiteY82" fmla="*/ 689961 h 975010"/>
                  <a:gd name="connsiteX83" fmla="*/ 926899 w 1360132"/>
                  <a:gd name="connsiteY83" fmla="*/ 681865 h 975010"/>
                  <a:gd name="connsiteX84" fmla="*/ 941279 w 1360132"/>
                  <a:gd name="connsiteY84" fmla="*/ 680246 h 975010"/>
                  <a:gd name="connsiteX85" fmla="*/ 961744 w 1360132"/>
                  <a:gd name="connsiteY85" fmla="*/ 669452 h 975010"/>
                  <a:gd name="connsiteX86" fmla="*/ 987186 w 1360132"/>
                  <a:gd name="connsiteY86" fmla="*/ 631131 h 975010"/>
                  <a:gd name="connsiteX87" fmla="*/ 1008757 w 1360132"/>
                  <a:gd name="connsiteY87" fmla="*/ 625734 h 975010"/>
                  <a:gd name="connsiteX88" fmla="*/ 1018159 w 1360132"/>
                  <a:gd name="connsiteY88" fmla="*/ 613860 h 975010"/>
                  <a:gd name="connsiteX89" fmla="*/ 1027562 w 1360132"/>
                  <a:gd name="connsiteY89" fmla="*/ 613320 h 975010"/>
                  <a:gd name="connsiteX90" fmla="*/ 1019265 w 1360132"/>
                  <a:gd name="connsiteY90" fmla="*/ 634909 h 975010"/>
                  <a:gd name="connsiteX91" fmla="*/ 1027009 w 1360132"/>
                  <a:gd name="connsiteY91" fmla="*/ 651101 h 975010"/>
                  <a:gd name="connsiteX92" fmla="*/ 1016500 w 1360132"/>
                  <a:gd name="connsiteY92" fmla="*/ 692120 h 975010"/>
                  <a:gd name="connsiteX93" fmla="*/ 993270 w 1360132"/>
                  <a:gd name="connsiteY93" fmla="*/ 693739 h 975010"/>
                  <a:gd name="connsiteX94" fmla="*/ 1012075 w 1360132"/>
                  <a:gd name="connsiteY94" fmla="*/ 707772 h 975010"/>
                  <a:gd name="connsiteX95" fmla="*/ 1012075 w 1360132"/>
                  <a:gd name="connsiteY95" fmla="*/ 728281 h 975010"/>
                  <a:gd name="connsiteX96" fmla="*/ 1007097 w 1360132"/>
                  <a:gd name="connsiteY96" fmla="*/ 729361 h 975010"/>
                  <a:gd name="connsiteX97" fmla="*/ 1014841 w 1360132"/>
                  <a:gd name="connsiteY97" fmla="*/ 739076 h 975010"/>
                  <a:gd name="connsiteX98" fmla="*/ 1007651 w 1360132"/>
                  <a:gd name="connsiteY98" fmla="*/ 754728 h 975010"/>
                  <a:gd name="connsiteX99" fmla="*/ 1017053 w 1360132"/>
                  <a:gd name="connsiteY99" fmla="*/ 746092 h 975010"/>
                  <a:gd name="connsiteX100" fmla="*/ 1029774 w 1360132"/>
                  <a:gd name="connsiteY100" fmla="*/ 758506 h 975010"/>
                  <a:gd name="connsiteX101" fmla="*/ 1043601 w 1360132"/>
                  <a:gd name="connsiteY101" fmla="*/ 752029 h 975010"/>
                  <a:gd name="connsiteX102" fmla="*/ 1056876 w 1360132"/>
                  <a:gd name="connsiteY102" fmla="*/ 757966 h 975010"/>
                  <a:gd name="connsiteX103" fmla="*/ 1050239 w 1360132"/>
                  <a:gd name="connsiteY103" fmla="*/ 777936 h 975010"/>
                  <a:gd name="connsiteX104" fmla="*/ 1046920 w 1360132"/>
                  <a:gd name="connsiteY104" fmla="*/ 788191 h 975010"/>
                  <a:gd name="connsiteX105" fmla="*/ 1045261 w 1360132"/>
                  <a:gd name="connsiteY105" fmla="*/ 790889 h 975010"/>
                  <a:gd name="connsiteX106" fmla="*/ 1044708 w 1360132"/>
                  <a:gd name="connsiteY106" fmla="*/ 793588 h 975010"/>
                  <a:gd name="connsiteX107" fmla="*/ 1042495 w 1360132"/>
                  <a:gd name="connsiteY107" fmla="*/ 794128 h 975010"/>
                  <a:gd name="connsiteX108" fmla="*/ 1035858 w 1360132"/>
                  <a:gd name="connsiteY108" fmla="*/ 786572 h 975010"/>
                  <a:gd name="connsiteX109" fmla="*/ 1031433 w 1360132"/>
                  <a:gd name="connsiteY109" fmla="*/ 793048 h 975010"/>
                  <a:gd name="connsiteX110" fmla="*/ 1026456 w 1360132"/>
                  <a:gd name="connsiteY110" fmla="*/ 792509 h 975010"/>
                  <a:gd name="connsiteX111" fmla="*/ 1024796 w 1360132"/>
                  <a:gd name="connsiteY111" fmla="*/ 788191 h 975010"/>
                  <a:gd name="connsiteX112" fmla="*/ 1028668 w 1360132"/>
                  <a:gd name="connsiteY112" fmla="*/ 780095 h 975010"/>
                  <a:gd name="connsiteX113" fmla="*/ 1023137 w 1360132"/>
                  <a:gd name="connsiteY113" fmla="*/ 779555 h 975010"/>
                  <a:gd name="connsiteX114" fmla="*/ 1010969 w 1360132"/>
                  <a:gd name="connsiteY114" fmla="*/ 808160 h 975010"/>
                  <a:gd name="connsiteX115" fmla="*/ 1012628 w 1360132"/>
                  <a:gd name="connsiteY115" fmla="*/ 827591 h 975010"/>
                  <a:gd name="connsiteX116" fmla="*/ 1001567 w 1360132"/>
                  <a:gd name="connsiteY116" fmla="*/ 828130 h 975010"/>
                  <a:gd name="connsiteX117" fmla="*/ 994929 w 1360132"/>
                  <a:gd name="connsiteY117" fmla="*/ 831908 h 975010"/>
                  <a:gd name="connsiteX118" fmla="*/ 994929 w 1360132"/>
                  <a:gd name="connsiteY118" fmla="*/ 833527 h 975010"/>
                  <a:gd name="connsiteX119" fmla="*/ 998801 w 1360132"/>
                  <a:gd name="connsiteY119" fmla="*/ 835147 h 975010"/>
                  <a:gd name="connsiteX120" fmla="*/ 998248 w 1360132"/>
                  <a:gd name="connsiteY120" fmla="*/ 848640 h 975010"/>
                  <a:gd name="connsiteX121" fmla="*/ 984421 w 1360132"/>
                  <a:gd name="connsiteY121" fmla="*/ 851338 h 975010"/>
                  <a:gd name="connsiteX122" fmla="*/ 973359 w 1360132"/>
                  <a:gd name="connsiteY122" fmla="*/ 849179 h 975010"/>
                  <a:gd name="connsiteX123" fmla="*/ 971146 w 1360132"/>
                  <a:gd name="connsiteY123" fmla="*/ 850259 h 975010"/>
                  <a:gd name="connsiteX124" fmla="*/ 983868 w 1360132"/>
                  <a:gd name="connsiteY124" fmla="*/ 861593 h 975010"/>
                  <a:gd name="connsiteX125" fmla="*/ 981655 w 1360132"/>
                  <a:gd name="connsiteY125" fmla="*/ 866451 h 975010"/>
                  <a:gd name="connsiteX126" fmla="*/ 975018 w 1360132"/>
                  <a:gd name="connsiteY126" fmla="*/ 866990 h 975010"/>
                  <a:gd name="connsiteX127" fmla="*/ 966169 w 1360132"/>
                  <a:gd name="connsiteY127" fmla="*/ 874546 h 975010"/>
                  <a:gd name="connsiteX128" fmla="*/ 977230 w 1360132"/>
                  <a:gd name="connsiteY128" fmla="*/ 878325 h 975010"/>
                  <a:gd name="connsiteX129" fmla="*/ 972806 w 1360132"/>
                  <a:gd name="connsiteY129" fmla="*/ 885341 h 975010"/>
                  <a:gd name="connsiteX130" fmla="*/ 978890 w 1360132"/>
                  <a:gd name="connsiteY130" fmla="*/ 908009 h 975010"/>
                  <a:gd name="connsiteX131" fmla="*/ 963956 w 1360132"/>
                  <a:gd name="connsiteY131" fmla="*/ 921502 h 975010"/>
                  <a:gd name="connsiteX132" fmla="*/ 981102 w 1360132"/>
                  <a:gd name="connsiteY132" fmla="*/ 937154 h 975010"/>
                  <a:gd name="connsiteX133" fmla="*/ 986080 w 1360132"/>
                  <a:gd name="connsiteY133" fmla="*/ 946869 h 975010"/>
                  <a:gd name="connsiteX134" fmla="*/ 973359 w 1360132"/>
                  <a:gd name="connsiteY134" fmla="*/ 945250 h 975010"/>
                  <a:gd name="connsiteX135" fmla="*/ 968934 w 1360132"/>
                  <a:gd name="connsiteY135" fmla="*/ 954426 h 975010"/>
                  <a:gd name="connsiteX136" fmla="*/ 955660 w 1360132"/>
                  <a:gd name="connsiteY136" fmla="*/ 957124 h 975010"/>
                  <a:gd name="connsiteX137" fmla="*/ 937961 w 1360132"/>
                  <a:gd name="connsiteY137" fmla="*/ 948489 h 975010"/>
                  <a:gd name="connsiteX138" fmla="*/ 910859 w 1360132"/>
                  <a:gd name="connsiteY138" fmla="*/ 944171 h 975010"/>
                  <a:gd name="connsiteX139" fmla="*/ 1140393 w 1360132"/>
                  <a:gd name="connsiteY139" fmla="*/ 957664 h 975010"/>
                  <a:gd name="connsiteX140" fmla="*/ 1139286 w 1360132"/>
                  <a:gd name="connsiteY140" fmla="*/ 960362 h 975010"/>
                  <a:gd name="connsiteX141" fmla="*/ 1140393 w 1360132"/>
                  <a:gd name="connsiteY141" fmla="*/ 974395 h 975010"/>
                  <a:gd name="connsiteX142" fmla="*/ 1137074 w 1360132"/>
                  <a:gd name="connsiteY142" fmla="*/ 974395 h 975010"/>
                  <a:gd name="connsiteX143" fmla="*/ 1133756 w 1360132"/>
                  <a:gd name="connsiteY143" fmla="*/ 970077 h 975010"/>
                  <a:gd name="connsiteX144" fmla="*/ 1132649 w 1360132"/>
                  <a:gd name="connsiteY144" fmla="*/ 956584 h 975010"/>
                  <a:gd name="connsiteX145" fmla="*/ 1122141 w 1360132"/>
                  <a:gd name="connsiteY145" fmla="*/ 941472 h 975010"/>
                  <a:gd name="connsiteX146" fmla="*/ 1122694 w 1360132"/>
                  <a:gd name="connsiteY146" fmla="*/ 935535 h 975010"/>
                  <a:gd name="connsiteX147" fmla="*/ 1149242 w 1360132"/>
                  <a:gd name="connsiteY147" fmla="*/ 943631 h 975010"/>
                  <a:gd name="connsiteX148" fmla="*/ 1140393 w 1360132"/>
                  <a:gd name="connsiteY148" fmla="*/ 957664 h 975010"/>
                  <a:gd name="connsiteX149" fmla="*/ 1112738 w 1360132"/>
                  <a:gd name="connsiteY149" fmla="*/ 949568 h 975010"/>
                  <a:gd name="connsiteX150" fmla="*/ 1114397 w 1360132"/>
                  <a:gd name="connsiteY150" fmla="*/ 949568 h 975010"/>
                  <a:gd name="connsiteX151" fmla="*/ 1116057 w 1360132"/>
                  <a:gd name="connsiteY151" fmla="*/ 947409 h 975010"/>
                  <a:gd name="connsiteX152" fmla="*/ 1117716 w 1360132"/>
                  <a:gd name="connsiteY152" fmla="*/ 947409 h 975010"/>
                  <a:gd name="connsiteX153" fmla="*/ 1122694 w 1360132"/>
                  <a:gd name="connsiteY153" fmla="*/ 953886 h 975010"/>
                  <a:gd name="connsiteX154" fmla="*/ 1124353 w 1360132"/>
                  <a:gd name="connsiteY154" fmla="*/ 954965 h 975010"/>
                  <a:gd name="connsiteX155" fmla="*/ 1127672 w 1360132"/>
                  <a:gd name="connsiteY155" fmla="*/ 962521 h 975010"/>
                  <a:gd name="connsiteX156" fmla="*/ 1124906 w 1360132"/>
                  <a:gd name="connsiteY156" fmla="*/ 965220 h 975010"/>
                  <a:gd name="connsiteX157" fmla="*/ 1116057 w 1360132"/>
                  <a:gd name="connsiteY157" fmla="*/ 964141 h 975010"/>
                  <a:gd name="connsiteX158" fmla="*/ 1106654 w 1360132"/>
                  <a:gd name="connsiteY158" fmla="*/ 968458 h 975010"/>
                  <a:gd name="connsiteX159" fmla="*/ 1091167 w 1360132"/>
                  <a:gd name="connsiteY159" fmla="*/ 965760 h 975010"/>
                  <a:gd name="connsiteX160" fmla="*/ 1085637 w 1360132"/>
                  <a:gd name="connsiteY160" fmla="*/ 961982 h 975010"/>
                  <a:gd name="connsiteX161" fmla="*/ 1075128 w 1360132"/>
                  <a:gd name="connsiteY161" fmla="*/ 956584 h 975010"/>
                  <a:gd name="connsiteX162" fmla="*/ 1082318 w 1360132"/>
                  <a:gd name="connsiteY162" fmla="*/ 950647 h 975010"/>
                  <a:gd name="connsiteX163" fmla="*/ 1076787 w 1360132"/>
                  <a:gd name="connsiteY163" fmla="*/ 940393 h 975010"/>
                  <a:gd name="connsiteX164" fmla="*/ 1089508 w 1360132"/>
                  <a:gd name="connsiteY164" fmla="*/ 933916 h 975010"/>
                  <a:gd name="connsiteX165" fmla="*/ 1103335 w 1360132"/>
                  <a:gd name="connsiteY165" fmla="*/ 949028 h 975010"/>
                  <a:gd name="connsiteX166" fmla="*/ 1110526 w 1360132"/>
                  <a:gd name="connsiteY166" fmla="*/ 951727 h 975010"/>
                  <a:gd name="connsiteX167" fmla="*/ 1112738 w 1360132"/>
                  <a:gd name="connsiteY167" fmla="*/ 949568 h 975010"/>
                  <a:gd name="connsiteX168" fmla="*/ 984974 w 1360132"/>
                  <a:gd name="connsiteY168" fmla="*/ 875626 h 975010"/>
                  <a:gd name="connsiteX169" fmla="*/ 987739 w 1360132"/>
                  <a:gd name="connsiteY169" fmla="*/ 871848 h 975010"/>
                  <a:gd name="connsiteX170" fmla="*/ 994929 w 1360132"/>
                  <a:gd name="connsiteY170" fmla="*/ 871848 h 975010"/>
                  <a:gd name="connsiteX171" fmla="*/ 1015394 w 1360132"/>
                  <a:gd name="connsiteY171" fmla="*/ 862133 h 975010"/>
                  <a:gd name="connsiteX172" fmla="*/ 1025903 w 1360132"/>
                  <a:gd name="connsiteY172" fmla="*/ 863212 h 975010"/>
                  <a:gd name="connsiteX173" fmla="*/ 1031433 w 1360132"/>
                  <a:gd name="connsiteY173" fmla="*/ 877245 h 975010"/>
                  <a:gd name="connsiteX174" fmla="*/ 1038624 w 1360132"/>
                  <a:gd name="connsiteY174" fmla="*/ 872927 h 975010"/>
                  <a:gd name="connsiteX175" fmla="*/ 1041389 w 1360132"/>
                  <a:gd name="connsiteY175" fmla="*/ 864292 h 975010"/>
                  <a:gd name="connsiteX176" fmla="*/ 1043601 w 1360132"/>
                  <a:gd name="connsiteY176" fmla="*/ 863752 h 975010"/>
                  <a:gd name="connsiteX177" fmla="*/ 1048579 w 1360132"/>
                  <a:gd name="connsiteY177" fmla="*/ 879404 h 975010"/>
                  <a:gd name="connsiteX178" fmla="*/ 1056323 w 1360132"/>
                  <a:gd name="connsiteY178" fmla="*/ 892357 h 975010"/>
                  <a:gd name="connsiteX179" fmla="*/ 1051898 w 1360132"/>
                  <a:gd name="connsiteY179" fmla="*/ 902072 h 975010"/>
                  <a:gd name="connsiteX180" fmla="*/ 1050239 w 1360132"/>
                  <a:gd name="connsiteY180" fmla="*/ 918264 h 975010"/>
                  <a:gd name="connsiteX181" fmla="*/ 1039730 w 1360132"/>
                  <a:gd name="connsiteY181" fmla="*/ 924741 h 975010"/>
                  <a:gd name="connsiteX182" fmla="*/ 1019265 w 1360132"/>
                  <a:gd name="connsiteY182" fmla="*/ 922042 h 975010"/>
                  <a:gd name="connsiteX183" fmla="*/ 1007651 w 1360132"/>
                  <a:gd name="connsiteY183" fmla="*/ 911787 h 975010"/>
                  <a:gd name="connsiteX184" fmla="*/ 996589 w 1360132"/>
                  <a:gd name="connsiteY184" fmla="*/ 906930 h 975010"/>
                  <a:gd name="connsiteX185" fmla="*/ 992164 w 1360132"/>
                  <a:gd name="connsiteY185" fmla="*/ 890738 h 975010"/>
                  <a:gd name="connsiteX186" fmla="*/ 988292 w 1360132"/>
                  <a:gd name="connsiteY186" fmla="*/ 884801 h 975010"/>
                  <a:gd name="connsiteX187" fmla="*/ 986633 w 1360132"/>
                  <a:gd name="connsiteY187" fmla="*/ 877785 h 975010"/>
                  <a:gd name="connsiteX188" fmla="*/ 984974 w 1360132"/>
                  <a:gd name="connsiteY188" fmla="*/ 875626 h 975010"/>
                  <a:gd name="connsiteX189" fmla="*/ 1062407 w 1360132"/>
                  <a:gd name="connsiteY189" fmla="*/ 847021 h 975010"/>
                  <a:gd name="connsiteX190" fmla="*/ 1080106 w 1360132"/>
                  <a:gd name="connsiteY190" fmla="*/ 844862 h 975010"/>
                  <a:gd name="connsiteX191" fmla="*/ 1087296 w 1360132"/>
                  <a:gd name="connsiteY191" fmla="*/ 835686 h 975010"/>
                  <a:gd name="connsiteX192" fmla="*/ 1097805 w 1360132"/>
                  <a:gd name="connsiteY192" fmla="*/ 828670 h 975010"/>
                  <a:gd name="connsiteX193" fmla="*/ 1096145 w 1360132"/>
                  <a:gd name="connsiteY193" fmla="*/ 819495 h 975010"/>
                  <a:gd name="connsiteX194" fmla="*/ 1113291 w 1360132"/>
                  <a:gd name="connsiteY194" fmla="*/ 819495 h 975010"/>
                  <a:gd name="connsiteX195" fmla="*/ 1111079 w 1360132"/>
                  <a:gd name="connsiteY195" fmla="*/ 834067 h 975010"/>
                  <a:gd name="connsiteX196" fmla="*/ 1114950 w 1360132"/>
                  <a:gd name="connsiteY196" fmla="*/ 837845 h 975010"/>
                  <a:gd name="connsiteX197" fmla="*/ 1121588 w 1360132"/>
                  <a:gd name="connsiteY197" fmla="*/ 848640 h 975010"/>
                  <a:gd name="connsiteX198" fmla="*/ 1129884 w 1360132"/>
                  <a:gd name="connsiteY198" fmla="*/ 824892 h 975010"/>
                  <a:gd name="connsiteX199" fmla="*/ 1134862 w 1360132"/>
                  <a:gd name="connsiteY199" fmla="*/ 836766 h 975010"/>
                  <a:gd name="connsiteX200" fmla="*/ 1137074 w 1360132"/>
                  <a:gd name="connsiteY200" fmla="*/ 851338 h 975010"/>
                  <a:gd name="connsiteX201" fmla="*/ 1140946 w 1360132"/>
                  <a:gd name="connsiteY201" fmla="*/ 849179 h 975010"/>
                  <a:gd name="connsiteX202" fmla="*/ 1139840 w 1360132"/>
                  <a:gd name="connsiteY202" fmla="*/ 817336 h 975010"/>
                  <a:gd name="connsiteX203" fmla="*/ 1129331 w 1360132"/>
                  <a:gd name="connsiteY203" fmla="*/ 810319 h 975010"/>
                  <a:gd name="connsiteX204" fmla="*/ 1156432 w 1360132"/>
                  <a:gd name="connsiteY204" fmla="*/ 796826 h 975010"/>
                  <a:gd name="connsiteX205" fmla="*/ 1166388 w 1360132"/>
                  <a:gd name="connsiteY205" fmla="*/ 806002 h 975010"/>
                  <a:gd name="connsiteX206" fmla="*/ 1166941 w 1360132"/>
                  <a:gd name="connsiteY206" fmla="*/ 822733 h 975010"/>
                  <a:gd name="connsiteX207" fmla="*/ 1169707 w 1360132"/>
                  <a:gd name="connsiteY207" fmla="*/ 847021 h 975010"/>
                  <a:gd name="connsiteX208" fmla="*/ 1156432 w 1360132"/>
                  <a:gd name="connsiteY208" fmla="*/ 855656 h 975010"/>
                  <a:gd name="connsiteX209" fmla="*/ 1152008 w 1360132"/>
                  <a:gd name="connsiteY209" fmla="*/ 866990 h 975010"/>
                  <a:gd name="connsiteX210" fmla="*/ 1155326 w 1360132"/>
                  <a:gd name="connsiteY210" fmla="*/ 875086 h 975010"/>
                  <a:gd name="connsiteX211" fmla="*/ 1169153 w 1360132"/>
                  <a:gd name="connsiteY211" fmla="*/ 887500 h 975010"/>
                  <a:gd name="connsiteX212" fmla="*/ 1168047 w 1360132"/>
                  <a:gd name="connsiteY212" fmla="*/ 889659 h 975010"/>
                  <a:gd name="connsiteX213" fmla="*/ 1163069 w 1360132"/>
                  <a:gd name="connsiteY213" fmla="*/ 891278 h 975010"/>
                  <a:gd name="connsiteX214" fmla="*/ 1147583 w 1360132"/>
                  <a:gd name="connsiteY214" fmla="*/ 902612 h 975010"/>
                  <a:gd name="connsiteX215" fmla="*/ 1147583 w 1360132"/>
                  <a:gd name="connsiteY215" fmla="*/ 920423 h 975010"/>
                  <a:gd name="connsiteX216" fmla="*/ 1138733 w 1360132"/>
                  <a:gd name="connsiteY216" fmla="*/ 926360 h 975010"/>
                  <a:gd name="connsiteX217" fmla="*/ 1130437 w 1360132"/>
                  <a:gd name="connsiteY217" fmla="*/ 924201 h 975010"/>
                  <a:gd name="connsiteX218" fmla="*/ 1118822 w 1360132"/>
                  <a:gd name="connsiteY218" fmla="*/ 904771 h 975010"/>
                  <a:gd name="connsiteX219" fmla="*/ 1104995 w 1360132"/>
                  <a:gd name="connsiteY219" fmla="*/ 900993 h 975010"/>
                  <a:gd name="connsiteX220" fmla="*/ 1085083 w 1360132"/>
                  <a:gd name="connsiteY220" fmla="*/ 898294 h 975010"/>
                  <a:gd name="connsiteX221" fmla="*/ 1082871 w 1360132"/>
                  <a:gd name="connsiteY221" fmla="*/ 896135 h 975010"/>
                  <a:gd name="connsiteX222" fmla="*/ 1081765 w 1360132"/>
                  <a:gd name="connsiteY222" fmla="*/ 876166 h 975010"/>
                  <a:gd name="connsiteX223" fmla="*/ 1070703 w 1360132"/>
                  <a:gd name="connsiteY223" fmla="*/ 850259 h 975010"/>
                  <a:gd name="connsiteX224" fmla="*/ 1063513 w 1360132"/>
                  <a:gd name="connsiteY224" fmla="*/ 849179 h 975010"/>
                  <a:gd name="connsiteX225" fmla="*/ 1062407 w 1360132"/>
                  <a:gd name="connsiteY225" fmla="*/ 847021 h 975010"/>
                  <a:gd name="connsiteX226" fmla="*/ 1332316 w 1360132"/>
                  <a:gd name="connsiteY226" fmla="*/ 876166 h 975010"/>
                  <a:gd name="connsiteX227" fmla="*/ 1347802 w 1360132"/>
                  <a:gd name="connsiteY227" fmla="*/ 888040 h 975010"/>
                  <a:gd name="connsiteX228" fmla="*/ 1358864 w 1360132"/>
                  <a:gd name="connsiteY228" fmla="*/ 891278 h 975010"/>
                  <a:gd name="connsiteX229" fmla="*/ 1349461 w 1360132"/>
                  <a:gd name="connsiteY229" fmla="*/ 908549 h 975010"/>
                  <a:gd name="connsiteX230" fmla="*/ 1325678 w 1360132"/>
                  <a:gd name="connsiteY230" fmla="*/ 898294 h 975010"/>
                  <a:gd name="connsiteX231" fmla="*/ 1327338 w 1360132"/>
                  <a:gd name="connsiteY231" fmla="*/ 878325 h 975010"/>
                  <a:gd name="connsiteX232" fmla="*/ 1332316 w 1360132"/>
                  <a:gd name="connsiteY232" fmla="*/ 876166 h 97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</a:cxnLst>
                <a:rect l="l" t="t" r="r" b="b"/>
                <a:pathLst>
                  <a:path w="1360132" h="975010">
                    <a:moveTo>
                      <a:pt x="918050" y="708851"/>
                    </a:moveTo>
                    <a:lnTo>
                      <a:pt x="917497" y="711550"/>
                    </a:lnTo>
                    <a:cubicBezTo>
                      <a:pt x="916390" y="717487"/>
                      <a:pt x="914178" y="725043"/>
                      <a:pt x="911413" y="730440"/>
                    </a:cubicBezTo>
                    <a:cubicBezTo>
                      <a:pt x="910306" y="731520"/>
                      <a:pt x="906435" y="735838"/>
                      <a:pt x="905328" y="736377"/>
                    </a:cubicBezTo>
                    <a:cubicBezTo>
                      <a:pt x="904222" y="736377"/>
                      <a:pt x="902563" y="734758"/>
                      <a:pt x="902010" y="734218"/>
                    </a:cubicBezTo>
                    <a:cubicBezTo>
                      <a:pt x="899798" y="732060"/>
                      <a:pt x="899798" y="726662"/>
                      <a:pt x="901457" y="723964"/>
                    </a:cubicBezTo>
                    <a:cubicBezTo>
                      <a:pt x="902010" y="722884"/>
                      <a:pt x="903669" y="722344"/>
                      <a:pt x="904222" y="721265"/>
                    </a:cubicBezTo>
                    <a:cubicBezTo>
                      <a:pt x="909200" y="714249"/>
                      <a:pt x="905882" y="712629"/>
                      <a:pt x="915284" y="709391"/>
                    </a:cubicBezTo>
                    <a:cubicBezTo>
                      <a:pt x="915837" y="708851"/>
                      <a:pt x="917497" y="708312"/>
                      <a:pt x="918050" y="708851"/>
                    </a:cubicBezTo>
                    <a:close/>
                    <a:moveTo>
                      <a:pt x="-636" y="8830"/>
                    </a:moveTo>
                    <a:cubicBezTo>
                      <a:pt x="-636" y="7211"/>
                      <a:pt x="-636" y="1814"/>
                      <a:pt x="1023" y="195"/>
                    </a:cubicBezTo>
                    <a:cubicBezTo>
                      <a:pt x="1576" y="-345"/>
                      <a:pt x="2682" y="-345"/>
                      <a:pt x="3235" y="195"/>
                    </a:cubicBezTo>
                    <a:cubicBezTo>
                      <a:pt x="3788" y="734"/>
                      <a:pt x="7107" y="7211"/>
                      <a:pt x="8213" y="8291"/>
                    </a:cubicBezTo>
                    <a:cubicBezTo>
                      <a:pt x="9319" y="11529"/>
                      <a:pt x="9319" y="14767"/>
                      <a:pt x="10979" y="18006"/>
                    </a:cubicBezTo>
                    <a:lnTo>
                      <a:pt x="15956" y="26101"/>
                    </a:lnTo>
                    <a:cubicBezTo>
                      <a:pt x="17063" y="27181"/>
                      <a:pt x="18169" y="28260"/>
                      <a:pt x="19275" y="29879"/>
                    </a:cubicBezTo>
                    <a:cubicBezTo>
                      <a:pt x="19828" y="30419"/>
                      <a:pt x="20381" y="33118"/>
                      <a:pt x="20381" y="34197"/>
                    </a:cubicBezTo>
                    <a:cubicBezTo>
                      <a:pt x="20381" y="35816"/>
                      <a:pt x="19275" y="40674"/>
                      <a:pt x="17616" y="41214"/>
                    </a:cubicBezTo>
                    <a:cubicBezTo>
                      <a:pt x="16510" y="41214"/>
                      <a:pt x="12638" y="40134"/>
                      <a:pt x="12085" y="39594"/>
                    </a:cubicBezTo>
                    <a:cubicBezTo>
                      <a:pt x="11532" y="39594"/>
                      <a:pt x="10979" y="38515"/>
                      <a:pt x="10979" y="37975"/>
                    </a:cubicBezTo>
                    <a:cubicBezTo>
                      <a:pt x="9319" y="32578"/>
                      <a:pt x="8766" y="26641"/>
                      <a:pt x="7660" y="21244"/>
                    </a:cubicBezTo>
                    <a:cubicBezTo>
                      <a:pt x="6001" y="16386"/>
                      <a:pt x="470" y="14228"/>
                      <a:pt x="-636" y="8830"/>
                    </a:cubicBezTo>
                    <a:close/>
                    <a:moveTo>
                      <a:pt x="910859" y="944171"/>
                    </a:moveTo>
                    <a:cubicBezTo>
                      <a:pt x="911413" y="932837"/>
                      <a:pt x="914731" y="897755"/>
                      <a:pt x="906988" y="889659"/>
                    </a:cubicBezTo>
                    <a:cubicBezTo>
                      <a:pt x="904775" y="886420"/>
                      <a:pt x="897585" y="886960"/>
                      <a:pt x="895373" y="883182"/>
                    </a:cubicBezTo>
                    <a:cubicBezTo>
                      <a:pt x="892054" y="877785"/>
                      <a:pt x="894820" y="871308"/>
                      <a:pt x="886523" y="869149"/>
                    </a:cubicBezTo>
                    <a:cubicBezTo>
                      <a:pt x="873802" y="866451"/>
                      <a:pt x="883758" y="883182"/>
                      <a:pt x="874355" y="876705"/>
                    </a:cubicBezTo>
                    <a:cubicBezTo>
                      <a:pt x="866059" y="870229"/>
                      <a:pt x="876015" y="849719"/>
                      <a:pt x="874355" y="840544"/>
                    </a:cubicBezTo>
                    <a:cubicBezTo>
                      <a:pt x="874355" y="838925"/>
                      <a:pt x="872696" y="837845"/>
                      <a:pt x="872143" y="836766"/>
                    </a:cubicBezTo>
                    <a:cubicBezTo>
                      <a:pt x="870484" y="833527"/>
                      <a:pt x="871037" y="829210"/>
                      <a:pt x="871037" y="825971"/>
                    </a:cubicBezTo>
                    <a:cubicBezTo>
                      <a:pt x="873802" y="829749"/>
                      <a:pt x="871037" y="836226"/>
                      <a:pt x="876568" y="837845"/>
                    </a:cubicBezTo>
                    <a:cubicBezTo>
                      <a:pt x="881546" y="839464"/>
                      <a:pt x="888183" y="828130"/>
                      <a:pt x="887630" y="824352"/>
                    </a:cubicBezTo>
                    <a:cubicBezTo>
                      <a:pt x="887630" y="822733"/>
                      <a:pt x="882099" y="813558"/>
                      <a:pt x="880439" y="812478"/>
                    </a:cubicBezTo>
                    <a:cubicBezTo>
                      <a:pt x="874908" y="807621"/>
                      <a:pt x="876015" y="817336"/>
                      <a:pt x="874355" y="818415"/>
                    </a:cubicBezTo>
                    <a:cubicBezTo>
                      <a:pt x="872696" y="820034"/>
                      <a:pt x="871590" y="819495"/>
                      <a:pt x="870484" y="817876"/>
                    </a:cubicBezTo>
                    <a:cubicBezTo>
                      <a:pt x="869931" y="816796"/>
                      <a:pt x="868824" y="815177"/>
                      <a:pt x="868824" y="814097"/>
                    </a:cubicBezTo>
                    <a:cubicBezTo>
                      <a:pt x="867718" y="810319"/>
                      <a:pt x="869378" y="806541"/>
                      <a:pt x="869378" y="802224"/>
                    </a:cubicBezTo>
                    <a:cubicBezTo>
                      <a:pt x="869378" y="799525"/>
                      <a:pt x="868271" y="787111"/>
                      <a:pt x="870484" y="785492"/>
                    </a:cubicBezTo>
                    <a:cubicBezTo>
                      <a:pt x="873249" y="782794"/>
                      <a:pt x="878227" y="789270"/>
                      <a:pt x="881546" y="785492"/>
                    </a:cubicBezTo>
                    <a:cubicBezTo>
                      <a:pt x="882099" y="783873"/>
                      <a:pt x="883758" y="780095"/>
                      <a:pt x="883205" y="779015"/>
                    </a:cubicBezTo>
                    <a:cubicBezTo>
                      <a:pt x="882099" y="774698"/>
                      <a:pt x="872696" y="768761"/>
                      <a:pt x="870484" y="763903"/>
                    </a:cubicBezTo>
                    <a:cubicBezTo>
                      <a:pt x="869378" y="761744"/>
                      <a:pt x="869931" y="755268"/>
                      <a:pt x="869931" y="752569"/>
                    </a:cubicBezTo>
                    <a:cubicBezTo>
                      <a:pt x="869931" y="750410"/>
                      <a:pt x="870484" y="743933"/>
                      <a:pt x="871590" y="741775"/>
                    </a:cubicBezTo>
                    <a:cubicBezTo>
                      <a:pt x="872143" y="740695"/>
                      <a:pt x="877121" y="736917"/>
                      <a:pt x="878780" y="737996"/>
                    </a:cubicBezTo>
                    <a:cubicBezTo>
                      <a:pt x="879886" y="739076"/>
                      <a:pt x="875462" y="742854"/>
                      <a:pt x="875462" y="743933"/>
                    </a:cubicBezTo>
                    <a:cubicBezTo>
                      <a:pt x="875462" y="745553"/>
                      <a:pt x="878780" y="747711"/>
                      <a:pt x="879886" y="748791"/>
                    </a:cubicBezTo>
                    <a:cubicBezTo>
                      <a:pt x="880439" y="749870"/>
                      <a:pt x="880439" y="750950"/>
                      <a:pt x="881546" y="752029"/>
                    </a:cubicBezTo>
                    <a:cubicBezTo>
                      <a:pt x="887076" y="757966"/>
                      <a:pt x="894820" y="750410"/>
                      <a:pt x="899244" y="752569"/>
                    </a:cubicBezTo>
                    <a:cubicBezTo>
                      <a:pt x="901457" y="754188"/>
                      <a:pt x="906435" y="761744"/>
                      <a:pt x="908647" y="760665"/>
                    </a:cubicBezTo>
                    <a:cubicBezTo>
                      <a:pt x="911966" y="760125"/>
                      <a:pt x="913072" y="753648"/>
                      <a:pt x="913072" y="750950"/>
                    </a:cubicBezTo>
                    <a:cubicBezTo>
                      <a:pt x="913072" y="747711"/>
                      <a:pt x="911966" y="746632"/>
                      <a:pt x="914178" y="743394"/>
                    </a:cubicBezTo>
                    <a:cubicBezTo>
                      <a:pt x="916390" y="740695"/>
                      <a:pt x="919709" y="740155"/>
                      <a:pt x="921921" y="737996"/>
                    </a:cubicBezTo>
                    <a:cubicBezTo>
                      <a:pt x="924134" y="734758"/>
                      <a:pt x="923027" y="729361"/>
                      <a:pt x="928005" y="728281"/>
                    </a:cubicBezTo>
                    <a:cubicBezTo>
                      <a:pt x="934642" y="727742"/>
                      <a:pt x="934089" y="738536"/>
                      <a:pt x="932983" y="742854"/>
                    </a:cubicBezTo>
                    <a:cubicBezTo>
                      <a:pt x="931877" y="745013"/>
                      <a:pt x="930771" y="745013"/>
                      <a:pt x="930218" y="748251"/>
                    </a:cubicBezTo>
                    <a:cubicBezTo>
                      <a:pt x="930218" y="748791"/>
                      <a:pt x="930218" y="750410"/>
                      <a:pt x="930771" y="750950"/>
                    </a:cubicBezTo>
                    <a:cubicBezTo>
                      <a:pt x="932430" y="753648"/>
                      <a:pt x="937961" y="750410"/>
                      <a:pt x="938514" y="748251"/>
                    </a:cubicBezTo>
                    <a:cubicBezTo>
                      <a:pt x="939067" y="747172"/>
                      <a:pt x="938514" y="745013"/>
                      <a:pt x="938514" y="743933"/>
                    </a:cubicBezTo>
                    <a:cubicBezTo>
                      <a:pt x="939067" y="743394"/>
                      <a:pt x="939620" y="742854"/>
                      <a:pt x="940173" y="742854"/>
                    </a:cubicBezTo>
                    <a:cubicBezTo>
                      <a:pt x="943492" y="741775"/>
                      <a:pt x="942939" y="752569"/>
                      <a:pt x="944598" y="753648"/>
                    </a:cubicBezTo>
                    <a:cubicBezTo>
                      <a:pt x="946257" y="755268"/>
                      <a:pt x="951235" y="754728"/>
                      <a:pt x="952341" y="752569"/>
                    </a:cubicBezTo>
                    <a:cubicBezTo>
                      <a:pt x="956213" y="746632"/>
                      <a:pt x="947917" y="740155"/>
                      <a:pt x="946257" y="735838"/>
                    </a:cubicBezTo>
                    <a:cubicBezTo>
                      <a:pt x="944598" y="732599"/>
                      <a:pt x="942386" y="720725"/>
                      <a:pt x="942386" y="716947"/>
                    </a:cubicBezTo>
                    <a:cubicBezTo>
                      <a:pt x="941833" y="710471"/>
                      <a:pt x="946257" y="703994"/>
                      <a:pt x="952341" y="701295"/>
                    </a:cubicBezTo>
                    <a:cubicBezTo>
                      <a:pt x="962297" y="696438"/>
                      <a:pt x="965616" y="705613"/>
                      <a:pt x="967828" y="705613"/>
                    </a:cubicBezTo>
                    <a:cubicBezTo>
                      <a:pt x="970040" y="705073"/>
                      <a:pt x="973912" y="699136"/>
                      <a:pt x="976124" y="696977"/>
                    </a:cubicBezTo>
                    <a:cubicBezTo>
                      <a:pt x="977784" y="696438"/>
                      <a:pt x="984421" y="693199"/>
                      <a:pt x="984974" y="692660"/>
                    </a:cubicBezTo>
                    <a:cubicBezTo>
                      <a:pt x="985527" y="691580"/>
                      <a:pt x="984421" y="687802"/>
                      <a:pt x="983314" y="687262"/>
                    </a:cubicBezTo>
                    <a:cubicBezTo>
                      <a:pt x="982208" y="686723"/>
                      <a:pt x="976124" y="686723"/>
                      <a:pt x="975018" y="687262"/>
                    </a:cubicBezTo>
                    <a:cubicBezTo>
                      <a:pt x="971146" y="688342"/>
                      <a:pt x="968381" y="691041"/>
                      <a:pt x="964509" y="692120"/>
                    </a:cubicBezTo>
                    <a:cubicBezTo>
                      <a:pt x="961744" y="693199"/>
                      <a:pt x="958425" y="692120"/>
                      <a:pt x="955660" y="692660"/>
                    </a:cubicBezTo>
                    <a:cubicBezTo>
                      <a:pt x="952341" y="693739"/>
                      <a:pt x="949576" y="695898"/>
                      <a:pt x="946257" y="696438"/>
                    </a:cubicBezTo>
                    <a:cubicBezTo>
                      <a:pt x="937961" y="698597"/>
                      <a:pt x="929111" y="696977"/>
                      <a:pt x="920815" y="699136"/>
                    </a:cubicBezTo>
                    <a:cubicBezTo>
                      <a:pt x="918050" y="699676"/>
                      <a:pt x="909753" y="704534"/>
                      <a:pt x="907541" y="706153"/>
                    </a:cubicBezTo>
                    <a:cubicBezTo>
                      <a:pt x="902563" y="709931"/>
                      <a:pt x="900904" y="715868"/>
                      <a:pt x="897032" y="719646"/>
                    </a:cubicBezTo>
                    <a:cubicBezTo>
                      <a:pt x="895926" y="720725"/>
                      <a:pt x="894820" y="721265"/>
                      <a:pt x="894267" y="722344"/>
                    </a:cubicBezTo>
                    <a:cubicBezTo>
                      <a:pt x="893160" y="723424"/>
                      <a:pt x="892054" y="725583"/>
                      <a:pt x="892054" y="727202"/>
                    </a:cubicBezTo>
                    <a:cubicBezTo>
                      <a:pt x="892054" y="728281"/>
                      <a:pt x="909753" y="747172"/>
                      <a:pt x="899244" y="745013"/>
                    </a:cubicBezTo>
                    <a:cubicBezTo>
                      <a:pt x="894820" y="744473"/>
                      <a:pt x="895926" y="740695"/>
                      <a:pt x="893714" y="737996"/>
                    </a:cubicBezTo>
                    <a:cubicBezTo>
                      <a:pt x="890395" y="734758"/>
                      <a:pt x="878780" y="730980"/>
                      <a:pt x="878227" y="727202"/>
                    </a:cubicBezTo>
                    <a:cubicBezTo>
                      <a:pt x="878227" y="725583"/>
                      <a:pt x="882652" y="711010"/>
                      <a:pt x="883758" y="709391"/>
                    </a:cubicBezTo>
                    <a:cubicBezTo>
                      <a:pt x="885970" y="704534"/>
                      <a:pt x="898138" y="688882"/>
                      <a:pt x="902563" y="687262"/>
                    </a:cubicBezTo>
                    <a:cubicBezTo>
                      <a:pt x="905882" y="685643"/>
                      <a:pt x="909753" y="690501"/>
                      <a:pt x="913625" y="689961"/>
                    </a:cubicBezTo>
                    <a:cubicBezTo>
                      <a:pt x="914731" y="689961"/>
                      <a:pt x="923027" y="682945"/>
                      <a:pt x="926899" y="681865"/>
                    </a:cubicBezTo>
                    <a:cubicBezTo>
                      <a:pt x="931324" y="680786"/>
                      <a:pt x="936855" y="681865"/>
                      <a:pt x="941279" y="680246"/>
                    </a:cubicBezTo>
                    <a:cubicBezTo>
                      <a:pt x="947363" y="678627"/>
                      <a:pt x="957872" y="674309"/>
                      <a:pt x="961744" y="669452"/>
                    </a:cubicBezTo>
                    <a:cubicBezTo>
                      <a:pt x="965616" y="663515"/>
                      <a:pt x="984421" y="632750"/>
                      <a:pt x="987186" y="631131"/>
                    </a:cubicBezTo>
                    <a:cubicBezTo>
                      <a:pt x="993270" y="627893"/>
                      <a:pt x="1003779" y="630592"/>
                      <a:pt x="1008757" y="625734"/>
                    </a:cubicBezTo>
                    <a:cubicBezTo>
                      <a:pt x="1012075" y="621956"/>
                      <a:pt x="1013735" y="616559"/>
                      <a:pt x="1018159" y="613860"/>
                    </a:cubicBezTo>
                    <a:cubicBezTo>
                      <a:pt x="1019265" y="612781"/>
                      <a:pt x="1027009" y="611161"/>
                      <a:pt x="1027562" y="613320"/>
                    </a:cubicBezTo>
                    <a:cubicBezTo>
                      <a:pt x="1024796" y="620337"/>
                      <a:pt x="1019265" y="626813"/>
                      <a:pt x="1019265" y="634909"/>
                    </a:cubicBezTo>
                    <a:cubicBezTo>
                      <a:pt x="1019265" y="642465"/>
                      <a:pt x="1024796" y="645164"/>
                      <a:pt x="1027009" y="651101"/>
                    </a:cubicBezTo>
                    <a:cubicBezTo>
                      <a:pt x="1029221" y="659197"/>
                      <a:pt x="1023137" y="686183"/>
                      <a:pt x="1016500" y="692120"/>
                    </a:cubicBezTo>
                    <a:cubicBezTo>
                      <a:pt x="1012628" y="695898"/>
                      <a:pt x="991058" y="685643"/>
                      <a:pt x="993270" y="693739"/>
                    </a:cubicBezTo>
                    <a:cubicBezTo>
                      <a:pt x="994376" y="697517"/>
                      <a:pt x="1010969" y="701835"/>
                      <a:pt x="1012075" y="707772"/>
                    </a:cubicBezTo>
                    <a:cubicBezTo>
                      <a:pt x="1012628" y="709931"/>
                      <a:pt x="1012628" y="727742"/>
                      <a:pt x="1012075" y="728281"/>
                    </a:cubicBezTo>
                    <a:cubicBezTo>
                      <a:pt x="1010969" y="729901"/>
                      <a:pt x="1008204" y="728821"/>
                      <a:pt x="1007097" y="729361"/>
                    </a:cubicBezTo>
                    <a:cubicBezTo>
                      <a:pt x="1004332" y="732599"/>
                      <a:pt x="1015394" y="735298"/>
                      <a:pt x="1014841" y="739076"/>
                    </a:cubicBezTo>
                    <a:cubicBezTo>
                      <a:pt x="1014288" y="742854"/>
                      <a:pt x="1007097" y="745013"/>
                      <a:pt x="1007651" y="754728"/>
                    </a:cubicBezTo>
                    <a:cubicBezTo>
                      <a:pt x="1010416" y="758506"/>
                      <a:pt x="1012075" y="746092"/>
                      <a:pt x="1017053" y="746092"/>
                    </a:cubicBezTo>
                    <a:cubicBezTo>
                      <a:pt x="1023137" y="745553"/>
                      <a:pt x="1019265" y="759585"/>
                      <a:pt x="1029774" y="758506"/>
                    </a:cubicBezTo>
                    <a:cubicBezTo>
                      <a:pt x="1034752" y="757966"/>
                      <a:pt x="1038624" y="753109"/>
                      <a:pt x="1043601" y="752029"/>
                    </a:cubicBezTo>
                    <a:cubicBezTo>
                      <a:pt x="1045814" y="751490"/>
                      <a:pt x="1055216" y="756347"/>
                      <a:pt x="1056876" y="757966"/>
                    </a:cubicBezTo>
                    <a:cubicBezTo>
                      <a:pt x="1064619" y="764983"/>
                      <a:pt x="1053557" y="771999"/>
                      <a:pt x="1050239" y="777936"/>
                    </a:cubicBezTo>
                    <a:cubicBezTo>
                      <a:pt x="1048579" y="781174"/>
                      <a:pt x="1048579" y="784952"/>
                      <a:pt x="1046920" y="788191"/>
                    </a:cubicBezTo>
                    <a:cubicBezTo>
                      <a:pt x="1046367" y="789270"/>
                      <a:pt x="1045814" y="789810"/>
                      <a:pt x="1045261" y="790889"/>
                    </a:cubicBezTo>
                    <a:cubicBezTo>
                      <a:pt x="1045261" y="791969"/>
                      <a:pt x="1045261" y="793048"/>
                      <a:pt x="1044708" y="793588"/>
                    </a:cubicBezTo>
                    <a:lnTo>
                      <a:pt x="1042495" y="794128"/>
                    </a:lnTo>
                    <a:cubicBezTo>
                      <a:pt x="1039730" y="792509"/>
                      <a:pt x="1042495" y="785492"/>
                      <a:pt x="1035858" y="786572"/>
                    </a:cubicBezTo>
                    <a:cubicBezTo>
                      <a:pt x="1031987" y="787651"/>
                      <a:pt x="1033093" y="791969"/>
                      <a:pt x="1031433" y="793048"/>
                    </a:cubicBezTo>
                    <a:cubicBezTo>
                      <a:pt x="1030327" y="793048"/>
                      <a:pt x="1027562" y="793048"/>
                      <a:pt x="1026456" y="792509"/>
                    </a:cubicBezTo>
                    <a:cubicBezTo>
                      <a:pt x="1025903" y="791969"/>
                      <a:pt x="1024796" y="789270"/>
                      <a:pt x="1024796" y="788191"/>
                    </a:cubicBezTo>
                    <a:cubicBezTo>
                      <a:pt x="1025349" y="785492"/>
                      <a:pt x="1031987" y="783333"/>
                      <a:pt x="1028668" y="780095"/>
                    </a:cubicBezTo>
                    <a:cubicBezTo>
                      <a:pt x="1027562" y="779015"/>
                      <a:pt x="1024243" y="779015"/>
                      <a:pt x="1023137" y="779555"/>
                    </a:cubicBezTo>
                    <a:cubicBezTo>
                      <a:pt x="1019265" y="780635"/>
                      <a:pt x="1010969" y="803843"/>
                      <a:pt x="1010969" y="808160"/>
                    </a:cubicBezTo>
                    <a:cubicBezTo>
                      <a:pt x="1010969" y="815177"/>
                      <a:pt x="1016500" y="820034"/>
                      <a:pt x="1012628" y="827591"/>
                    </a:cubicBezTo>
                    <a:cubicBezTo>
                      <a:pt x="1010416" y="832988"/>
                      <a:pt x="1005438" y="827591"/>
                      <a:pt x="1001567" y="828130"/>
                    </a:cubicBezTo>
                    <a:cubicBezTo>
                      <a:pt x="1000460" y="828130"/>
                      <a:pt x="995482" y="830829"/>
                      <a:pt x="994929" y="831908"/>
                    </a:cubicBezTo>
                    <a:cubicBezTo>
                      <a:pt x="994376" y="832448"/>
                      <a:pt x="994376" y="833527"/>
                      <a:pt x="994929" y="833527"/>
                    </a:cubicBezTo>
                    <a:cubicBezTo>
                      <a:pt x="995482" y="834067"/>
                      <a:pt x="997695" y="834607"/>
                      <a:pt x="998801" y="835147"/>
                    </a:cubicBezTo>
                    <a:cubicBezTo>
                      <a:pt x="1000460" y="836226"/>
                      <a:pt x="999907" y="847560"/>
                      <a:pt x="998248" y="848640"/>
                    </a:cubicBezTo>
                    <a:cubicBezTo>
                      <a:pt x="996589" y="850259"/>
                      <a:pt x="987186" y="851878"/>
                      <a:pt x="984421" y="851338"/>
                    </a:cubicBezTo>
                    <a:cubicBezTo>
                      <a:pt x="982208" y="851338"/>
                      <a:pt x="974465" y="848640"/>
                      <a:pt x="973359" y="849179"/>
                    </a:cubicBezTo>
                    <a:cubicBezTo>
                      <a:pt x="972253" y="849179"/>
                      <a:pt x="971700" y="849179"/>
                      <a:pt x="971146" y="850259"/>
                    </a:cubicBezTo>
                    <a:cubicBezTo>
                      <a:pt x="977230" y="852958"/>
                      <a:pt x="984974" y="852958"/>
                      <a:pt x="983868" y="861593"/>
                    </a:cubicBezTo>
                    <a:cubicBezTo>
                      <a:pt x="983868" y="862673"/>
                      <a:pt x="982761" y="865911"/>
                      <a:pt x="981655" y="866451"/>
                    </a:cubicBezTo>
                    <a:cubicBezTo>
                      <a:pt x="979996" y="866990"/>
                      <a:pt x="976677" y="866451"/>
                      <a:pt x="975018" y="866990"/>
                    </a:cubicBezTo>
                    <a:cubicBezTo>
                      <a:pt x="972253" y="867530"/>
                      <a:pt x="966169" y="871848"/>
                      <a:pt x="966169" y="874546"/>
                    </a:cubicBezTo>
                    <a:cubicBezTo>
                      <a:pt x="967828" y="882103"/>
                      <a:pt x="975571" y="874546"/>
                      <a:pt x="977230" y="878325"/>
                    </a:cubicBezTo>
                    <a:cubicBezTo>
                      <a:pt x="979443" y="882103"/>
                      <a:pt x="973912" y="883182"/>
                      <a:pt x="972806" y="885341"/>
                    </a:cubicBezTo>
                    <a:cubicBezTo>
                      <a:pt x="971146" y="889119"/>
                      <a:pt x="979996" y="905311"/>
                      <a:pt x="978890" y="908009"/>
                    </a:cubicBezTo>
                    <a:cubicBezTo>
                      <a:pt x="976124" y="916645"/>
                      <a:pt x="963956" y="912327"/>
                      <a:pt x="963956" y="921502"/>
                    </a:cubicBezTo>
                    <a:cubicBezTo>
                      <a:pt x="963956" y="927439"/>
                      <a:pt x="977230" y="932837"/>
                      <a:pt x="981102" y="937154"/>
                    </a:cubicBezTo>
                    <a:cubicBezTo>
                      <a:pt x="982208" y="938234"/>
                      <a:pt x="986633" y="945790"/>
                      <a:pt x="986080" y="946869"/>
                    </a:cubicBezTo>
                    <a:cubicBezTo>
                      <a:pt x="985527" y="949028"/>
                      <a:pt x="975571" y="944710"/>
                      <a:pt x="973359" y="945250"/>
                    </a:cubicBezTo>
                    <a:cubicBezTo>
                      <a:pt x="971146" y="945790"/>
                      <a:pt x="966169" y="952267"/>
                      <a:pt x="968934" y="954426"/>
                    </a:cubicBezTo>
                    <a:lnTo>
                      <a:pt x="955660" y="957124"/>
                    </a:lnTo>
                    <a:lnTo>
                      <a:pt x="937961" y="948489"/>
                    </a:lnTo>
                    <a:lnTo>
                      <a:pt x="910859" y="944171"/>
                    </a:lnTo>
                    <a:close/>
                    <a:moveTo>
                      <a:pt x="1140393" y="957664"/>
                    </a:moveTo>
                    <a:cubicBezTo>
                      <a:pt x="1139840" y="958204"/>
                      <a:pt x="1139286" y="959823"/>
                      <a:pt x="1139286" y="960362"/>
                    </a:cubicBezTo>
                    <a:cubicBezTo>
                      <a:pt x="1139286" y="963601"/>
                      <a:pt x="1142605" y="971157"/>
                      <a:pt x="1140393" y="974395"/>
                    </a:cubicBezTo>
                    <a:cubicBezTo>
                      <a:pt x="1140393" y="974935"/>
                      <a:pt x="1137627" y="974935"/>
                      <a:pt x="1137074" y="974395"/>
                    </a:cubicBezTo>
                    <a:cubicBezTo>
                      <a:pt x="1135968" y="973856"/>
                      <a:pt x="1133756" y="970617"/>
                      <a:pt x="1133756" y="970077"/>
                    </a:cubicBezTo>
                    <a:cubicBezTo>
                      <a:pt x="1132649" y="965220"/>
                      <a:pt x="1135415" y="961442"/>
                      <a:pt x="1132649" y="956584"/>
                    </a:cubicBezTo>
                    <a:cubicBezTo>
                      <a:pt x="1129884" y="951187"/>
                      <a:pt x="1124353" y="946869"/>
                      <a:pt x="1122141" y="941472"/>
                    </a:cubicBezTo>
                    <a:cubicBezTo>
                      <a:pt x="1121588" y="940393"/>
                      <a:pt x="1122141" y="936075"/>
                      <a:pt x="1122694" y="935535"/>
                    </a:cubicBezTo>
                    <a:cubicBezTo>
                      <a:pt x="1123800" y="933376"/>
                      <a:pt x="1149795" y="937154"/>
                      <a:pt x="1149242" y="943631"/>
                    </a:cubicBezTo>
                    <a:cubicBezTo>
                      <a:pt x="1148689" y="947409"/>
                      <a:pt x="1142605" y="954426"/>
                      <a:pt x="1140393" y="957664"/>
                    </a:cubicBezTo>
                    <a:close/>
                    <a:moveTo>
                      <a:pt x="1112738" y="949568"/>
                    </a:moveTo>
                    <a:lnTo>
                      <a:pt x="1114397" y="949568"/>
                    </a:lnTo>
                    <a:cubicBezTo>
                      <a:pt x="1114950" y="949028"/>
                      <a:pt x="1115503" y="947409"/>
                      <a:pt x="1116057" y="947409"/>
                    </a:cubicBezTo>
                    <a:cubicBezTo>
                      <a:pt x="1116057" y="946869"/>
                      <a:pt x="1117716" y="946869"/>
                      <a:pt x="1117716" y="947409"/>
                    </a:cubicBezTo>
                    <a:cubicBezTo>
                      <a:pt x="1118822" y="947949"/>
                      <a:pt x="1121588" y="952806"/>
                      <a:pt x="1122694" y="953886"/>
                    </a:cubicBezTo>
                    <a:cubicBezTo>
                      <a:pt x="1123247" y="954426"/>
                      <a:pt x="1123800" y="954426"/>
                      <a:pt x="1124353" y="954965"/>
                    </a:cubicBezTo>
                    <a:cubicBezTo>
                      <a:pt x="1124906" y="955505"/>
                      <a:pt x="1127672" y="961442"/>
                      <a:pt x="1127672" y="962521"/>
                    </a:cubicBezTo>
                    <a:cubicBezTo>
                      <a:pt x="1127672" y="963601"/>
                      <a:pt x="1126012" y="965220"/>
                      <a:pt x="1124906" y="965220"/>
                    </a:cubicBezTo>
                    <a:cubicBezTo>
                      <a:pt x="1123800" y="965760"/>
                      <a:pt x="1118269" y="963601"/>
                      <a:pt x="1116057" y="964141"/>
                    </a:cubicBezTo>
                    <a:cubicBezTo>
                      <a:pt x="1113291" y="964680"/>
                      <a:pt x="1109419" y="968458"/>
                      <a:pt x="1106654" y="968458"/>
                    </a:cubicBezTo>
                    <a:cubicBezTo>
                      <a:pt x="1103889" y="968998"/>
                      <a:pt x="1093933" y="966299"/>
                      <a:pt x="1091167" y="965760"/>
                    </a:cubicBezTo>
                    <a:cubicBezTo>
                      <a:pt x="1088955" y="964680"/>
                      <a:pt x="1087296" y="963061"/>
                      <a:pt x="1085637" y="961982"/>
                    </a:cubicBezTo>
                    <a:cubicBezTo>
                      <a:pt x="1083977" y="961442"/>
                      <a:pt x="1075128" y="958204"/>
                      <a:pt x="1075128" y="956584"/>
                    </a:cubicBezTo>
                    <a:cubicBezTo>
                      <a:pt x="1075681" y="956045"/>
                      <a:pt x="1081212" y="951727"/>
                      <a:pt x="1082318" y="950647"/>
                    </a:cubicBezTo>
                    <a:cubicBezTo>
                      <a:pt x="1083424" y="948489"/>
                      <a:pt x="1076234" y="944171"/>
                      <a:pt x="1076787" y="940393"/>
                    </a:cubicBezTo>
                    <a:cubicBezTo>
                      <a:pt x="1076787" y="937154"/>
                      <a:pt x="1086190" y="931217"/>
                      <a:pt x="1089508" y="933916"/>
                    </a:cubicBezTo>
                    <a:cubicBezTo>
                      <a:pt x="1094486" y="937694"/>
                      <a:pt x="1098358" y="944710"/>
                      <a:pt x="1103335" y="949028"/>
                    </a:cubicBezTo>
                    <a:cubicBezTo>
                      <a:pt x="1104442" y="949568"/>
                      <a:pt x="1109419" y="951727"/>
                      <a:pt x="1110526" y="951727"/>
                    </a:cubicBezTo>
                    <a:cubicBezTo>
                      <a:pt x="1111079" y="951727"/>
                      <a:pt x="1112185" y="950108"/>
                      <a:pt x="1112738" y="949568"/>
                    </a:cubicBezTo>
                    <a:close/>
                    <a:moveTo>
                      <a:pt x="984974" y="875626"/>
                    </a:moveTo>
                    <a:cubicBezTo>
                      <a:pt x="984974" y="874007"/>
                      <a:pt x="986633" y="872388"/>
                      <a:pt x="987739" y="871848"/>
                    </a:cubicBezTo>
                    <a:cubicBezTo>
                      <a:pt x="989952" y="871308"/>
                      <a:pt x="992717" y="872388"/>
                      <a:pt x="994929" y="871848"/>
                    </a:cubicBezTo>
                    <a:cubicBezTo>
                      <a:pt x="1002120" y="869689"/>
                      <a:pt x="1008204" y="863752"/>
                      <a:pt x="1015394" y="862133"/>
                    </a:cubicBezTo>
                    <a:cubicBezTo>
                      <a:pt x="1017606" y="861593"/>
                      <a:pt x="1024243" y="862673"/>
                      <a:pt x="1025903" y="863212"/>
                    </a:cubicBezTo>
                    <a:cubicBezTo>
                      <a:pt x="1035305" y="866451"/>
                      <a:pt x="1023690" y="878864"/>
                      <a:pt x="1031433" y="877245"/>
                    </a:cubicBezTo>
                    <a:cubicBezTo>
                      <a:pt x="1032540" y="876705"/>
                      <a:pt x="1037517" y="874007"/>
                      <a:pt x="1038624" y="872927"/>
                    </a:cubicBezTo>
                    <a:cubicBezTo>
                      <a:pt x="1039730" y="871308"/>
                      <a:pt x="1040283" y="866451"/>
                      <a:pt x="1041389" y="864292"/>
                    </a:cubicBezTo>
                    <a:lnTo>
                      <a:pt x="1043601" y="863752"/>
                    </a:lnTo>
                    <a:cubicBezTo>
                      <a:pt x="1054663" y="873467"/>
                      <a:pt x="1047473" y="875086"/>
                      <a:pt x="1048579" y="879404"/>
                    </a:cubicBezTo>
                    <a:cubicBezTo>
                      <a:pt x="1049686" y="884261"/>
                      <a:pt x="1054663" y="888040"/>
                      <a:pt x="1056323" y="892357"/>
                    </a:cubicBezTo>
                    <a:cubicBezTo>
                      <a:pt x="1057982" y="896675"/>
                      <a:pt x="1053004" y="898834"/>
                      <a:pt x="1051898" y="902072"/>
                    </a:cubicBezTo>
                    <a:cubicBezTo>
                      <a:pt x="1050792" y="906390"/>
                      <a:pt x="1051898" y="913946"/>
                      <a:pt x="1050239" y="918264"/>
                    </a:cubicBezTo>
                    <a:cubicBezTo>
                      <a:pt x="1049686" y="919883"/>
                      <a:pt x="1042495" y="924741"/>
                      <a:pt x="1039730" y="924741"/>
                    </a:cubicBezTo>
                    <a:cubicBezTo>
                      <a:pt x="1033646" y="924741"/>
                      <a:pt x="1025349" y="923661"/>
                      <a:pt x="1019265" y="922042"/>
                    </a:cubicBezTo>
                    <a:cubicBezTo>
                      <a:pt x="1013735" y="920423"/>
                      <a:pt x="1012075" y="914486"/>
                      <a:pt x="1007651" y="911787"/>
                    </a:cubicBezTo>
                    <a:cubicBezTo>
                      <a:pt x="1004332" y="909628"/>
                      <a:pt x="999907" y="910168"/>
                      <a:pt x="996589" y="906930"/>
                    </a:cubicBezTo>
                    <a:cubicBezTo>
                      <a:pt x="993270" y="904231"/>
                      <a:pt x="993823" y="895056"/>
                      <a:pt x="992164" y="890738"/>
                    </a:cubicBezTo>
                    <a:cubicBezTo>
                      <a:pt x="991611" y="888579"/>
                      <a:pt x="989398" y="886960"/>
                      <a:pt x="988292" y="884801"/>
                    </a:cubicBezTo>
                    <a:cubicBezTo>
                      <a:pt x="987739" y="882642"/>
                      <a:pt x="987739" y="879404"/>
                      <a:pt x="986633" y="877785"/>
                    </a:cubicBezTo>
                    <a:cubicBezTo>
                      <a:pt x="986633" y="876705"/>
                      <a:pt x="985527" y="876166"/>
                      <a:pt x="984974" y="875626"/>
                    </a:cubicBezTo>
                    <a:close/>
                    <a:moveTo>
                      <a:pt x="1062407" y="847021"/>
                    </a:moveTo>
                    <a:cubicBezTo>
                      <a:pt x="1064619" y="840544"/>
                      <a:pt x="1080106" y="844862"/>
                      <a:pt x="1080106" y="844862"/>
                    </a:cubicBezTo>
                    <a:cubicBezTo>
                      <a:pt x="1081765" y="843782"/>
                      <a:pt x="1085637" y="837306"/>
                      <a:pt x="1087296" y="835686"/>
                    </a:cubicBezTo>
                    <a:cubicBezTo>
                      <a:pt x="1089508" y="833527"/>
                      <a:pt x="1096698" y="830289"/>
                      <a:pt x="1097805" y="828670"/>
                    </a:cubicBezTo>
                    <a:cubicBezTo>
                      <a:pt x="1099464" y="825971"/>
                      <a:pt x="1095039" y="822733"/>
                      <a:pt x="1096145" y="819495"/>
                    </a:cubicBezTo>
                    <a:cubicBezTo>
                      <a:pt x="1100017" y="818955"/>
                      <a:pt x="1109973" y="817876"/>
                      <a:pt x="1113291" y="819495"/>
                    </a:cubicBezTo>
                    <a:cubicBezTo>
                      <a:pt x="1113291" y="823273"/>
                      <a:pt x="1110526" y="831369"/>
                      <a:pt x="1111079" y="834067"/>
                    </a:cubicBezTo>
                    <a:cubicBezTo>
                      <a:pt x="1111079" y="835147"/>
                      <a:pt x="1113844" y="836766"/>
                      <a:pt x="1114950" y="837845"/>
                    </a:cubicBezTo>
                    <a:cubicBezTo>
                      <a:pt x="1117163" y="841084"/>
                      <a:pt x="1117716" y="846481"/>
                      <a:pt x="1121588" y="848640"/>
                    </a:cubicBezTo>
                    <a:cubicBezTo>
                      <a:pt x="1132096" y="841084"/>
                      <a:pt x="1121034" y="827591"/>
                      <a:pt x="1129884" y="824892"/>
                    </a:cubicBezTo>
                    <a:cubicBezTo>
                      <a:pt x="1133756" y="825432"/>
                      <a:pt x="1135415" y="832988"/>
                      <a:pt x="1134862" y="836766"/>
                    </a:cubicBezTo>
                    <a:cubicBezTo>
                      <a:pt x="1134862" y="840544"/>
                      <a:pt x="1132096" y="849179"/>
                      <a:pt x="1137074" y="851338"/>
                    </a:cubicBezTo>
                    <a:cubicBezTo>
                      <a:pt x="1138180" y="850799"/>
                      <a:pt x="1139840" y="850259"/>
                      <a:pt x="1140946" y="849179"/>
                    </a:cubicBezTo>
                    <a:cubicBezTo>
                      <a:pt x="1142605" y="841084"/>
                      <a:pt x="1144264" y="824892"/>
                      <a:pt x="1139840" y="817336"/>
                    </a:cubicBezTo>
                    <a:cubicBezTo>
                      <a:pt x="1137627" y="814097"/>
                      <a:pt x="1129884" y="811399"/>
                      <a:pt x="1129331" y="810319"/>
                    </a:cubicBezTo>
                    <a:cubicBezTo>
                      <a:pt x="1125459" y="804922"/>
                      <a:pt x="1151454" y="795747"/>
                      <a:pt x="1156432" y="796826"/>
                    </a:cubicBezTo>
                    <a:cubicBezTo>
                      <a:pt x="1159198" y="798445"/>
                      <a:pt x="1165282" y="803303"/>
                      <a:pt x="1166388" y="806002"/>
                    </a:cubicBezTo>
                    <a:cubicBezTo>
                      <a:pt x="1167494" y="809780"/>
                      <a:pt x="1166388" y="818415"/>
                      <a:pt x="1166941" y="822733"/>
                    </a:cubicBezTo>
                    <a:cubicBezTo>
                      <a:pt x="1168047" y="829749"/>
                      <a:pt x="1176344" y="838925"/>
                      <a:pt x="1169707" y="847021"/>
                    </a:cubicBezTo>
                    <a:cubicBezTo>
                      <a:pt x="1166941" y="849719"/>
                      <a:pt x="1160304" y="854577"/>
                      <a:pt x="1156432" y="855656"/>
                    </a:cubicBezTo>
                    <a:cubicBezTo>
                      <a:pt x="1154220" y="856196"/>
                      <a:pt x="1152008" y="865371"/>
                      <a:pt x="1152008" y="866990"/>
                    </a:cubicBezTo>
                    <a:cubicBezTo>
                      <a:pt x="1152008" y="869689"/>
                      <a:pt x="1153667" y="873467"/>
                      <a:pt x="1155326" y="875086"/>
                    </a:cubicBezTo>
                    <a:cubicBezTo>
                      <a:pt x="1159198" y="877785"/>
                      <a:pt x="1171919" y="876705"/>
                      <a:pt x="1169153" y="887500"/>
                    </a:cubicBezTo>
                    <a:cubicBezTo>
                      <a:pt x="1169153" y="888040"/>
                      <a:pt x="1168600" y="889119"/>
                      <a:pt x="1168047" y="889659"/>
                    </a:cubicBezTo>
                    <a:cubicBezTo>
                      <a:pt x="1167494" y="890198"/>
                      <a:pt x="1164176" y="890738"/>
                      <a:pt x="1163069" y="891278"/>
                    </a:cubicBezTo>
                    <a:cubicBezTo>
                      <a:pt x="1157538" y="892897"/>
                      <a:pt x="1150901" y="897755"/>
                      <a:pt x="1147583" y="902612"/>
                    </a:cubicBezTo>
                    <a:cubicBezTo>
                      <a:pt x="1143711" y="908009"/>
                      <a:pt x="1149795" y="915565"/>
                      <a:pt x="1147583" y="920423"/>
                    </a:cubicBezTo>
                    <a:cubicBezTo>
                      <a:pt x="1145924" y="922042"/>
                      <a:pt x="1140946" y="926360"/>
                      <a:pt x="1138733" y="926360"/>
                    </a:cubicBezTo>
                    <a:cubicBezTo>
                      <a:pt x="1137074" y="926900"/>
                      <a:pt x="1132096" y="925280"/>
                      <a:pt x="1130437" y="924201"/>
                    </a:cubicBezTo>
                    <a:cubicBezTo>
                      <a:pt x="1122141" y="918804"/>
                      <a:pt x="1122694" y="906930"/>
                      <a:pt x="1118822" y="904771"/>
                    </a:cubicBezTo>
                    <a:cubicBezTo>
                      <a:pt x="1116610" y="903692"/>
                      <a:pt x="1107760" y="901533"/>
                      <a:pt x="1104995" y="900993"/>
                    </a:cubicBezTo>
                    <a:cubicBezTo>
                      <a:pt x="1098911" y="899374"/>
                      <a:pt x="1090061" y="900453"/>
                      <a:pt x="1085083" y="898294"/>
                    </a:cubicBezTo>
                    <a:cubicBezTo>
                      <a:pt x="1084530" y="898294"/>
                      <a:pt x="1083424" y="896675"/>
                      <a:pt x="1082871" y="896135"/>
                    </a:cubicBezTo>
                    <a:cubicBezTo>
                      <a:pt x="1077340" y="885341"/>
                      <a:pt x="1083424" y="882642"/>
                      <a:pt x="1081765" y="876166"/>
                    </a:cubicBezTo>
                    <a:cubicBezTo>
                      <a:pt x="1080659" y="872388"/>
                      <a:pt x="1072915" y="853497"/>
                      <a:pt x="1070703" y="850259"/>
                    </a:cubicBezTo>
                    <a:cubicBezTo>
                      <a:pt x="1069597" y="848640"/>
                      <a:pt x="1065172" y="849719"/>
                      <a:pt x="1063513" y="849179"/>
                    </a:cubicBezTo>
                    <a:lnTo>
                      <a:pt x="1062407" y="847021"/>
                    </a:lnTo>
                    <a:close/>
                    <a:moveTo>
                      <a:pt x="1332316" y="876166"/>
                    </a:moveTo>
                    <a:cubicBezTo>
                      <a:pt x="1336740" y="878325"/>
                      <a:pt x="1342271" y="884801"/>
                      <a:pt x="1347802" y="888040"/>
                    </a:cubicBezTo>
                    <a:cubicBezTo>
                      <a:pt x="1350015" y="889119"/>
                      <a:pt x="1358311" y="890738"/>
                      <a:pt x="1358864" y="891278"/>
                    </a:cubicBezTo>
                    <a:cubicBezTo>
                      <a:pt x="1360523" y="892897"/>
                      <a:pt x="1359417" y="910708"/>
                      <a:pt x="1349461" y="908549"/>
                    </a:cubicBezTo>
                    <a:cubicBezTo>
                      <a:pt x="1342271" y="906930"/>
                      <a:pt x="1329550" y="904771"/>
                      <a:pt x="1325678" y="898294"/>
                    </a:cubicBezTo>
                    <a:cubicBezTo>
                      <a:pt x="1323466" y="895596"/>
                      <a:pt x="1326232" y="881023"/>
                      <a:pt x="1327338" y="878325"/>
                    </a:cubicBezTo>
                    <a:cubicBezTo>
                      <a:pt x="1327891" y="876166"/>
                      <a:pt x="1330103" y="875086"/>
                      <a:pt x="1332316" y="876166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7" name="Freeform 1089">
                <a:extLst>
                  <a:ext uri="{FF2B5EF4-FFF2-40B4-BE49-F238E27FC236}">
                    <a16:creationId xmlns:a16="http://schemas.microsoft.com/office/drawing/2014/main" id="{A3611274-5B10-4811-A516-392C45E6E868}"/>
                  </a:ext>
                </a:extLst>
              </p:cNvPr>
              <p:cNvSpPr/>
              <p:nvPr/>
            </p:nvSpPr>
            <p:spPr>
              <a:xfrm>
                <a:off x="6055077" y="3343109"/>
                <a:ext cx="685834" cy="897559"/>
              </a:xfrm>
              <a:custGeom>
                <a:avLst/>
                <a:gdLst>
                  <a:gd name="connsiteX0" fmla="*/ 590572 w 685834"/>
                  <a:gd name="connsiteY0" fmla="*/ 94126 h 897559"/>
                  <a:gd name="connsiteX1" fmla="*/ 580064 w 685834"/>
                  <a:gd name="connsiteY1" fmla="*/ 84411 h 897559"/>
                  <a:gd name="connsiteX2" fmla="*/ 573426 w 685834"/>
                  <a:gd name="connsiteY2" fmla="*/ 83871 h 897559"/>
                  <a:gd name="connsiteX3" fmla="*/ 569555 w 685834"/>
                  <a:gd name="connsiteY3" fmla="*/ 74696 h 897559"/>
                  <a:gd name="connsiteX4" fmla="*/ 577298 w 685834"/>
                  <a:gd name="connsiteY4" fmla="*/ 76854 h 897559"/>
                  <a:gd name="connsiteX5" fmla="*/ 586148 w 685834"/>
                  <a:gd name="connsiteY5" fmla="*/ 81172 h 897559"/>
                  <a:gd name="connsiteX6" fmla="*/ 602187 w 685834"/>
                  <a:gd name="connsiteY6" fmla="*/ 96284 h 897559"/>
                  <a:gd name="connsiteX7" fmla="*/ 607718 w 685834"/>
                  <a:gd name="connsiteY7" fmla="*/ 105460 h 897559"/>
                  <a:gd name="connsiteX8" fmla="*/ 602187 w 685834"/>
                  <a:gd name="connsiteY8" fmla="*/ 108698 h 897559"/>
                  <a:gd name="connsiteX9" fmla="*/ 597763 w 685834"/>
                  <a:gd name="connsiteY9" fmla="*/ 108158 h 897559"/>
                  <a:gd name="connsiteX10" fmla="*/ 582276 w 685834"/>
                  <a:gd name="connsiteY10" fmla="*/ 106539 h 897559"/>
                  <a:gd name="connsiteX11" fmla="*/ 580617 w 685834"/>
                  <a:gd name="connsiteY11" fmla="*/ 103301 h 897559"/>
                  <a:gd name="connsiteX12" fmla="*/ 577298 w 685834"/>
                  <a:gd name="connsiteY12" fmla="*/ 96824 h 897559"/>
                  <a:gd name="connsiteX13" fmla="*/ 579510 w 685834"/>
                  <a:gd name="connsiteY13" fmla="*/ 94126 h 897559"/>
                  <a:gd name="connsiteX14" fmla="*/ 589466 w 685834"/>
                  <a:gd name="connsiteY14" fmla="*/ 95745 h 897559"/>
                  <a:gd name="connsiteX15" fmla="*/ 590572 w 685834"/>
                  <a:gd name="connsiteY15" fmla="*/ 94126 h 897559"/>
                  <a:gd name="connsiteX16" fmla="*/ 544666 w 685834"/>
                  <a:gd name="connsiteY16" fmla="*/ 53107 h 897559"/>
                  <a:gd name="connsiteX17" fmla="*/ 526967 w 685834"/>
                  <a:gd name="connsiteY17" fmla="*/ 60123 h 897559"/>
                  <a:gd name="connsiteX18" fmla="*/ 520883 w 685834"/>
                  <a:gd name="connsiteY18" fmla="*/ 54726 h 897559"/>
                  <a:gd name="connsiteX19" fmla="*/ 519223 w 685834"/>
                  <a:gd name="connsiteY19" fmla="*/ 50948 h 897559"/>
                  <a:gd name="connsiteX20" fmla="*/ 513139 w 685834"/>
                  <a:gd name="connsiteY20" fmla="*/ 40693 h 897559"/>
                  <a:gd name="connsiteX21" fmla="*/ 514246 w 685834"/>
                  <a:gd name="connsiteY21" fmla="*/ 32057 h 897559"/>
                  <a:gd name="connsiteX22" fmla="*/ 520330 w 685834"/>
                  <a:gd name="connsiteY22" fmla="*/ 26660 h 897559"/>
                  <a:gd name="connsiteX23" fmla="*/ 524201 w 685834"/>
                  <a:gd name="connsiteY23" fmla="*/ 15866 h 897559"/>
                  <a:gd name="connsiteX24" fmla="*/ 536922 w 685834"/>
                  <a:gd name="connsiteY24" fmla="*/ 24501 h 897559"/>
                  <a:gd name="connsiteX25" fmla="*/ 547984 w 685834"/>
                  <a:gd name="connsiteY25" fmla="*/ 24501 h 897559"/>
                  <a:gd name="connsiteX26" fmla="*/ 547431 w 685834"/>
                  <a:gd name="connsiteY26" fmla="*/ 39074 h 897559"/>
                  <a:gd name="connsiteX27" fmla="*/ 555728 w 685834"/>
                  <a:gd name="connsiteY27" fmla="*/ 48789 h 897559"/>
                  <a:gd name="connsiteX28" fmla="*/ 555174 w 685834"/>
                  <a:gd name="connsiteY28" fmla="*/ 54186 h 897559"/>
                  <a:gd name="connsiteX29" fmla="*/ 544666 w 685834"/>
                  <a:gd name="connsiteY29" fmla="*/ 53107 h 897559"/>
                  <a:gd name="connsiteX30" fmla="*/ 341681 w 685834"/>
                  <a:gd name="connsiteY30" fmla="*/ 897234 h 897559"/>
                  <a:gd name="connsiteX31" fmla="*/ 322323 w 685834"/>
                  <a:gd name="connsiteY31" fmla="*/ 872946 h 897559"/>
                  <a:gd name="connsiteX32" fmla="*/ 311261 w 685834"/>
                  <a:gd name="connsiteY32" fmla="*/ 869708 h 897559"/>
                  <a:gd name="connsiteX33" fmla="*/ 307389 w 685834"/>
                  <a:gd name="connsiteY33" fmla="*/ 864850 h 897559"/>
                  <a:gd name="connsiteX34" fmla="*/ 297987 w 685834"/>
                  <a:gd name="connsiteY34" fmla="*/ 868629 h 897559"/>
                  <a:gd name="connsiteX35" fmla="*/ 289690 w 685834"/>
                  <a:gd name="connsiteY35" fmla="*/ 871327 h 897559"/>
                  <a:gd name="connsiteX36" fmla="*/ 269779 w 685834"/>
                  <a:gd name="connsiteY36" fmla="*/ 862152 h 897559"/>
                  <a:gd name="connsiteX37" fmla="*/ 257611 w 685834"/>
                  <a:gd name="connsiteY37" fmla="*/ 859453 h 897559"/>
                  <a:gd name="connsiteX38" fmla="*/ 232722 w 685834"/>
                  <a:gd name="connsiteY38" fmla="*/ 855135 h 897559"/>
                  <a:gd name="connsiteX39" fmla="*/ 225532 w 685834"/>
                  <a:gd name="connsiteY39" fmla="*/ 853516 h 897559"/>
                  <a:gd name="connsiteX40" fmla="*/ 210045 w 685834"/>
                  <a:gd name="connsiteY40" fmla="*/ 842182 h 897559"/>
                  <a:gd name="connsiteX41" fmla="*/ 198430 w 685834"/>
                  <a:gd name="connsiteY41" fmla="*/ 848119 h 897559"/>
                  <a:gd name="connsiteX42" fmla="*/ 192899 w 685834"/>
                  <a:gd name="connsiteY42" fmla="*/ 854056 h 897559"/>
                  <a:gd name="connsiteX43" fmla="*/ 201749 w 685834"/>
                  <a:gd name="connsiteY43" fmla="*/ 859453 h 897559"/>
                  <a:gd name="connsiteX44" fmla="*/ 204514 w 685834"/>
                  <a:gd name="connsiteY44" fmla="*/ 862692 h 897559"/>
                  <a:gd name="connsiteX45" fmla="*/ 201196 w 685834"/>
                  <a:gd name="connsiteY45" fmla="*/ 865930 h 897559"/>
                  <a:gd name="connsiteX46" fmla="*/ 187368 w 685834"/>
                  <a:gd name="connsiteY46" fmla="*/ 864311 h 897559"/>
                  <a:gd name="connsiteX47" fmla="*/ 175753 w 685834"/>
                  <a:gd name="connsiteY47" fmla="*/ 864850 h 897559"/>
                  <a:gd name="connsiteX48" fmla="*/ 166351 w 685834"/>
                  <a:gd name="connsiteY48" fmla="*/ 865390 h 897559"/>
                  <a:gd name="connsiteX49" fmla="*/ 153077 w 685834"/>
                  <a:gd name="connsiteY49" fmla="*/ 871327 h 897559"/>
                  <a:gd name="connsiteX50" fmla="*/ 128187 w 685834"/>
                  <a:gd name="connsiteY50" fmla="*/ 870248 h 897559"/>
                  <a:gd name="connsiteX51" fmla="*/ 125422 w 685834"/>
                  <a:gd name="connsiteY51" fmla="*/ 868089 h 897559"/>
                  <a:gd name="connsiteX52" fmla="*/ 119338 w 685834"/>
                  <a:gd name="connsiteY52" fmla="*/ 854596 h 897559"/>
                  <a:gd name="connsiteX53" fmla="*/ 123763 w 685834"/>
                  <a:gd name="connsiteY53" fmla="*/ 832467 h 897559"/>
                  <a:gd name="connsiteX54" fmla="*/ 123210 w 685834"/>
                  <a:gd name="connsiteY54" fmla="*/ 824371 h 897559"/>
                  <a:gd name="connsiteX55" fmla="*/ 124869 w 685834"/>
                  <a:gd name="connsiteY55" fmla="*/ 804941 h 897559"/>
                  <a:gd name="connsiteX56" fmla="*/ 135378 w 685834"/>
                  <a:gd name="connsiteY56" fmla="*/ 780654 h 897559"/>
                  <a:gd name="connsiteX57" fmla="*/ 134824 w 685834"/>
                  <a:gd name="connsiteY57" fmla="*/ 763382 h 897559"/>
                  <a:gd name="connsiteX58" fmla="*/ 142568 w 685834"/>
                  <a:gd name="connsiteY58" fmla="*/ 740714 h 897559"/>
                  <a:gd name="connsiteX59" fmla="*/ 159161 w 685834"/>
                  <a:gd name="connsiteY59" fmla="*/ 724522 h 897559"/>
                  <a:gd name="connsiteX60" fmla="*/ 171329 w 685834"/>
                  <a:gd name="connsiteY60" fmla="*/ 706712 h 897559"/>
                  <a:gd name="connsiteX61" fmla="*/ 148099 w 685834"/>
                  <a:gd name="connsiteY61" fmla="*/ 694298 h 897559"/>
                  <a:gd name="connsiteX62" fmla="*/ 139802 w 685834"/>
                  <a:gd name="connsiteY62" fmla="*/ 696457 h 897559"/>
                  <a:gd name="connsiteX63" fmla="*/ 127081 w 685834"/>
                  <a:gd name="connsiteY63" fmla="*/ 693218 h 897559"/>
                  <a:gd name="connsiteX64" fmla="*/ 116019 w 685834"/>
                  <a:gd name="connsiteY64" fmla="*/ 681884 h 897559"/>
                  <a:gd name="connsiteX65" fmla="*/ 111042 w 685834"/>
                  <a:gd name="connsiteY65" fmla="*/ 683503 h 897559"/>
                  <a:gd name="connsiteX66" fmla="*/ 88918 w 685834"/>
                  <a:gd name="connsiteY66" fmla="*/ 689980 h 897559"/>
                  <a:gd name="connsiteX67" fmla="*/ 71219 w 685834"/>
                  <a:gd name="connsiteY67" fmla="*/ 674328 h 897559"/>
                  <a:gd name="connsiteX68" fmla="*/ 64029 w 685834"/>
                  <a:gd name="connsiteY68" fmla="*/ 682964 h 897559"/>
                  <a:gd name="connsiteX69" fmla="*/ 52967 w 685834"/>
                  <a:gd name="connsiteY69" fmla="*/ 677027 h 897559"/>
                  <a:gd name="connsiteX70" fmla="*/ 44670 w 685834"/>
                  <a:gd name="connsiteY70" fmla="*/ 656517 h 897559"/>
                  <a:gd name="connsiteX71" fmla="*/ 41352 w 685834"/>
                  <a:gd name="connsiteY71" fmla="*/ 650041 h 897559"/>
                  <a:gd name="connsiteX72" fmla="*/ 24206 w 685834"/>
                  <a:gd name="connsiteY72" fmla="*/ 641945 h 897559"/>
                  <a:gd name="connsiteX73" fmla="*/ 29184 w 685834"/>
                  <a:gd name="connsiteY73" fmla="*/ 632230 h 897559"/>
                  <a:gd name="connsiteX74" fmla="*/ 38586 w 685834"/>
                  <a:gd name="connsiteY74" fmla="*/ 617117 h 897559"/>
                  <a:gd name="connsiteX75" fmla="*/ 39693 w 685834"/>
                  <a:gd name="connsiteY75" fmla="*/ 607402 h 897559"/>
                  <a:gd name="connsiteX76" fmla="*/ 24206 w 685834"/>
                  <a:gd name="connsiteY76" fmla="*/ 603085 h 897559"/>
                  <a:gd name="connsiteX77" fmla="*/ 15357 w 685834"/>
                  <a:gd name="connsiteY77" fmla="*/ 594449 h 897559"/>
                  <a:gd name="connsiteX78" fmla="*/ 9826 w 685834"/>
                  <a:gd name="connsiteY78" fmla="*/ 582575 h 897559"/>
                  <a:gd name="connsiteX79" fmla="*/ 11485 w 685834"/>
                  <a:gd name="connsiteY79" fmla="*/ 566383 h 897559"/>
                  <a:gd name="connsiteX80" fmla="*/ 15910 w 685834"/>
                  <a:gd name="connsiteY80" fmla="*/ 556129 h 897559"/>
                  <a:gd name="connsiteX81" fmla="*/ 20888 w 685834"/>
                  <a:gd name="connsiteY81" fmla="*/ 552351 h 897559"/>
                  <a:gd name="connsiteX82" fmla="*/ 30290 w 685834"/>
                  <a:gd name="connsiteY82" fmla="*/ 548573 h 897559"/>
                  <a:gd name="connsiteX83" fmla="*/ 32502 w 685834"/>
                  <a:gd name="connsiteY83" fmla="*/ 542636 h 897559"/>
                  <a:gd name="connsiteX84" fmla="*/ 30843 w 685834"/>
                  <a:gd name="connsiteY84" fmla="*/ 537238 h 897559"/>
                  <a:gd name="connsiteX85" fmla="*/ 29184 w 685834"/>
                  <a:gd name="connsiteY85" fmla="*/ 530222 h 897559"/>
                  <a:gd name="connsiteX86" fmla="*/ 17016 w 685834"/>
                  <a:gd name="connsiteY86" fmla="*/ 525904 h 897559"/>
                  <a:gd name="connsiteX87" fmla="*/ 13697 w 685834"/>
                  <a:gd name="connsiteY87" fmla="*/ 518888 h 897559"/>
                  <a:gd name="connsiteX88" fmla="*/ 23100 w 685834"/>
                  <a:gd name="connsiteY88" fmla="*/ 514030 h 897559"/>
                  <a:gd name="connsiteX89" fmla="*/ 16463 w 685834"/>
                  <a:gd name="connsiteY89" fmla="*/ 504855 h 897559"/>
                  <a:gd name="connsiteX90" fmla="*/ 8719 w 685834"/>
                  <a:gd name="connsiteY90" fmla="*/ 501077 h 897559"/>
                  <a:gd name="connsiteX91" fmla="*/ 3742 w 685834"/>
                  <a:gd name="connsiteY91" fmla="*/ 493521 h 897559"/>
                  <a:gd name="connsiteX92" fmla="*/ 10379 w 685834"/>
                  <a:gd name="connsiteY92" fmla="*/ 471932 h 897559"/>
                  <a:gd name="connsiteX93" fmla="*/ -683 w 685834"/>
                  <a:gd name="connsiteY93" fmla="*/ 467614 h 897559"/>
                  <a:gd name="connsiteX94" fmla="*/ 2635 w 685834"/>
                  <a:gd name="connsiteY94" fmla="*/ 458979 h 897559"/>
                  <a:gd name="connsiteX95" fmla="*/ 15357 w 685834"/>
                  <a:gd name="connsiteY95" fmla="*/ 450343 h 897559"/>
                  <a:gd name="connsiteX96" fmla="*/ 14250 w 685834"/>
                  <a:gd name="connsiteY96" fmla="*/ 440088 h 897559"/>
                  <a:gd name="connsiteX97" fmla="*/ 20888 w 685834"/>
                  <a:gd name="connsiteY97" fmla="*/ 417420 h 897559"/>
                  <a:gd name="connsiteX98" fmla="*/ 8166 w 685834"/>
                  <a:gd name="connsiteY98" fmla="*/ 373702 h 897559"/>
                  <a:gd name="connsiteX99" fmla="*/ -130 w 685834"/>
                  <a:gd name="connsiteY99" fmla="*/ 372083 h 897559"/>
                  <a:gd name="connsiteX100" fmla="*/ 13697 w 685834"/>
                  <a:gd name="connsiteY100" fmla="*/ 359130 h 897559"/>
                  <a:gd name="connsiteX101" fmla="*/ 32502 w 685834"/>
                  <a:gd name="connsiteY101" fmla="*/ 366146 h 897559"/>
                  <a:gd name="connsiteX102" fmla="*/ 41905 w 685834"/>
                  <a:gd name="connsiteY102" fmla="*/ 362368 h 897559"/>
                  <a:gd name="connsiteX103" fmla="*/ 50754 w 685834"/>
                  <a:gd name="connsiteY103" fmla="*/ 358590 h 897559"/>
                  <a:gd name="connsiteX104" fmla="*/ 61816 w 685834"/>
                  <a:gd name="connsiteY104" fmla="*/ 360209 h 897559"/>
                  <a:gd name="connsiteX105" fmla="*/ 66241 w 685834"/>
                  <a:gd name="connsiteY105" fmla="*/ 347796 h 897559"/>
                  <a:gd name="connsiteX106" fmla="*/ 58498 w 685834"/>
                  <a:gd name="connsiteY106" fmla="*/ 340779 h 897559"/>
                  <a:gd name="connsiteX107" fmla="*/ 61816 w 685834"/>
                  <a:gd name="connsiteY107" fmla="*/ 335382 h 897559"/>
                  <a:gd name="connsiteX108" fmla="*/ 76750 w 685834"/>
                  <a:gd name="connsiteY108" fmla="*/ 323508 h 897559"/>
                  <a:gd name="connsiteX109" fmla="*/ 78962 w 685834"/>
                  <a:gd name="connsiteY109" fmla="*/ 318111 h 897559"/>
                  <a:gd name="connsiteX110" fmla="*/ 81175 w 685834"/>
                  <a:gd name="connsiteY110" fmla="*/ 297601 h 897559"/>
                  <a:gd name="connsiteX111" fmla="*/ 57392 w 685834"/>
                  <a:gd name="connsiteY111" fmla="*/ 292744 h 897559"/>
                  <a:gd name="connsiteX112" fmla="*/ 61263 w 685834"/>
                  <a:gd name="connsiteY112" fmla="*/ 270615 h 897559"/>
                  <a:gd name="connsiteX113" fmla="*/ 79515 w 685834"/>
                  <a:gd name="connsiteY113" fmla="*/ 274393 h 897559"/>
                  <a:gd name="connsiteX114" fmla="*/ 90024 w 685834"/>
                  <a:gd name="connsiteY114" fmla="*/ 240930 h 897559"/>
                  <a:gd name="connsiteX115" fmla="*/ 95555 w 685834"/>
                  <a:gd name="connsiteY115" fmla="*/ 229056 h 897559"/>
                  <a:gd name="connsiteX116" fmla="*/ 91683 w 685834"/>
                  <a:gd name="connsiteY116" fmla="*/ 199372 h 897559"/>
                  <a:gd name="connsiteX117" fmla="*/ 93343 w 685834"/>
                  <a:gd name="connsiteY117" fmla="*/ 199372 h 897559"/>
                  <a:gd name="connsiteX118" fmla="*/ 100533 w 685834"/>
                  <a:gd name="connsiteY118" fmla="*/ 190736 h 897559"/>
                  <a:gd name="connsiteX119" fmla="*/ 85599 w 685834"/>
                  <a:gd name="connsiteY119" fmla="*/ 178322 h 897559"/>
                  <a:gd name="connsiteX120" fmla="*/ 89471 w 685834"/>
                  <a:gd name="connsiteY120" fmla="*/ 172385 h 897559"/>
                  <a:gd name="connsiteX121" fmla="*/ 95002 w 685834"/>
                  <a:gd name="connsiteY121" fmla="*/ 155654 h 897559"/>
                  <a:gd name="connsiteX122" fmla="*/ 111595 w 685834"/>
                  <a:gd name="connsiteY122" fmla="*/ 148098 h 897559"/>
                  <a:gd name="connsiteX123" fmla="*/ 154183 w 685834"/>
                  <a:gd name="connsiteY123" fmla="*/ 147558 h 897559"/>
                  <a:gd name="connsiteX124" fmla="*/ 159714 w 685834"/>
                  <a:gd name="connsiteY124" fmla="*/ 176163 h 897559"/>
                  <a:gd name="connsiteX125" fmla="*/ 176306 w 685834"/>
                  <a:gd name="connsiteY125" fmla="*/ 177243 h 897559"/>
                  <a:gd name="connsiteX126" fmla="*/ 177966 w 685834"/>
                  <a:gd name="connsiteY126" fmla="*/ 171306 h 897559"/>
                  <a:gd name="connsiteX127" fmla="*/ 175753 w 685834"/>
                  <a:gd name="connsiteY127" fmla="*/ 159972 h 897559"/>
                  <a:gd name="connsiteX128" fmla="*/ 188474 w 685834"/>
                  <a:gd name="connsiteY128" fmla="*/ 161051 h 897559"/>
                  <a:gd name="connsiteX129" fmla="*/ 192346 w 685834"/>
                  <a:gd name="connsiteY129" fmla="*/ 161051 h 897559"/>
                  <a:gd name="connsiteX130" fmla="*/ 192899 w 685834"/>
                  <a:gd name="connsiteY130" fmla="*/ 157273 h 897559"/>
                  <a:gd name="connsiteX131" fmla="*/ 190687 w 685834"/>
                  <a:gd name="connsiteY131" fmla="*/ 150797 h 897559"/>
                  <a:gd name="connsiteX132" fmla="*/ 203408 w 685834"/>
                  <a:gd name="connsiteY132" fmla="*/ 127049 h 897559"/>
                  <a:gd name="connsiteX133" fmla="*/ 215023 w 685834"/>
                  <a:gd name="connsiteY133" fmla="*/ 128668 h 897559"/>
                  <a:gd name="connsiteX134" fmla="*/ 239359 w 685834"/>
                  <a:gd name="connsiteY134" fmla="*/ 131906 h 897559"/>
                  <a:gd name="connsiteX135" fmla="*/ 254845 w 685834"/>
                  <a:gd name="connsiteY135" fmla="*/ 148638 h 897559"/>
                  <a:gd name="connsiteX136" fmla="*/ 270332 w 685834"/>
                  <a:gd name="connsiteY136" fmla="*/ 152416 h 897559"/>
                  <a:gd name="connsiteX137" fmla="*/ 271991 w 685834"/>
                  <a:gd name="connsiteY137" fmla="*/ 144320 h 897559"/>
                  <a:gd name="connsiteX138" fmla="*/ 269226 w 685834"/>
                  <a:gd name="connsiteY138" fmla="*/ 142701 h 897559"/>
                  <a:gd name="connsiteX139" fmla="*/ 241018 w 685834"/>
                  <a:gd name="connsiteY139" fmla="*/ 117334 h 897559"/>
                  <a:gd name="connsiteX140" fmla="*/ 221107 w 685834"/>
                  <a:gd name="connsiteY140" fmla="*/ 114095 h 897559"/>
                  <a:gd name="connsiteX141" fmla="*/ 216129 w 685834"/>
                  <a:gd name="connsiteY141" fmla="*/ 109778 h 897559"/>
                  <a:gd name="connsiteX142" fmla="*/ 218341 w 685834"/>
                  <a:gd name="connsiteY142" fmla="*/ 104920 h 897559"/>
                  <a:gd name="connsiteX143" fmla="*/ 223872 w 685834"/>
                  <a:gd name="connsiteY143" fmla="*/ 103841 h 897559"/>
                  <a:gd name="connsiteX144" fmla="*/ 224425 w 685834"/>
                  <a:gd name="connsiteY144" fmla="*/ 97904 h 897559"/>
                  <a:gd name="connsiteX145" fmla="*/ 208386 w 685834"/>
                  <a:gd name="connsiteY145" fmla="*/ 86030 h 897559"/>
                  <a:gd name="connsiteX146" fmla="*/ 208939 w 685834"/>
                  <a:gd name="connsiteY146" fmla="*/ 83331 h 897559"/>
                  <a:gd name="connsiteX147" fmla="*/ 217235 w 685834"/>
                  <a:gd name="connsiteY147" fmla="*/ 80632 h 897559"/>
                  <a:gd name="connsiteX148" fmla="*/ 217788 w 685834"/>
                  <a:gd name="connsiteY148" fmla="*/ 70378 h 897559"/>
                  <a:gd name="connsiteX149" fmla="*/ 202855 w 685834"/>
                  <a:gd name="connsiteY149" fmla="*/ 74696 h 897559"/>
                  <a:gd name="connsiteX150" fmla="*/ 221107 w 685834"/>
                  <a:gd name="connsiteY150" fmla="*/ 53646 h 897559"/>
                  <a:gd name="connsiteX151" fmla="*/ 223319 w 685834"/>
                  <a:gd name="connsiteY151" fmla="*/ 46630 h 897559"/>
                  <a:gd name="connsiteX152" fmla="*/ 210598 w 685834"/>
                  <a:gd name="connsiteY152" fmla="*/ 30978 h 897559"/>
                  <a:gd name="connsiteX153" fmla="*/ 198983 w 685834"/>
                  <a:gd name="connsiteY153" fmla="*/ -326 h 897559"/>
                  <a:gd name="connsiteX154" fmla="*/ 226085 w 685834"/>
                  <a:gd name="connsiteY154" fmla="*/ 3992 h 897559"/>
                  <a:gd name="connsiteX155" fmla="*/ 243784 w 685834"/>
                  <a:gd name="connsiteY155" fmla="*/ 12627 h 897559"/>
                  <a:gd name="connsiteX156" fmla="*/ 257058 w 685834"/>
                  <a:gd name="connsiteY156" fmla="*/ 9929 h 897559"/>
                  <a:gd name="connsiteX157" fmla="*/ 270332 w 685834"/>
                  <a:gd name="connsiteY157" fmla="*/ 11548 h 897559"/>
                  <a:gd name="connsiteX158" fmla="*/ 277522 w 685834"/>
                  <a:gd name="connsiteY158" fmla="*/ 16945 h 897559"/>
                  <a:gd name="connsiteX159" fmla="*/ 285819 w 685834"/>
                  <a:gd name="connsiteY159" fmla="*/ 15326 h 897559"/>
                  <a:gd name="connsiteX160" fmla="*/ 291903 w 685834"/>
                  <a:gd name="connsiteY160" fmla="*/ 21803 h 897559"/>
                  <a:gd name="connsiteX161" fmla="*/ 285819 w 685834"/>
                  <a:gd name="connsiteY161" fmla="*/ 28279 h 897559"/>
                  <a:gd name="connsiteX162" fmla="*/ 284159 w 685834"/>
                  <a:gd name="connsiteY162" fmla="*/ 30438 h 897559"/>
                  <a:gd name="connsiteX163" fmla="*/ 282500 w 685834"/>
                  <a:gd name="connsiteY163" fmla="*/ 33137 h 897559"/>
                  <a:gd name="connsiteX164" fmla="*/ 294115 w 685834"/>
                  <a:gd name="connsiteY164" fmla="*/ 33137 h 897559"/>
                  <a:gd name="connsiteX165" fmla="*/ 293562 w 685834"/>
                  <a:gd name="connsiteY165" fmla="*/ 37994 h 897559"/>
                  <a:gd name="connsiteX166" fmla="*/ 281947 w 685834"/>
                  <a:gd name="connsiteY166" fmla="*/ 49868 h 897559"/>
                  <a:gd name="connsiteX167" fmla="*/ 295221 w 685834"/>
                  <a:gd name="connsiteY167" fmla="*/ 54186 h 897559"/>
                  <a:gd name="connsiteX168" fmla="*/ 303518 w 685834"/>
                  <a:gd name="connsiteY168" fmla="*/ 50948 h 897559"/>
                  <a:gd name="connsiteX169" fmla="*/ 311261 w 685834"/>
                  <a:gd name="connsiteY169" fmla="*/ 59044 h 897559"/>
                  <a:gd name="connsiteX170" fmla="*/ 320663 w 685834"/>
                  <a:gd name="connsiteY170" fmla="*/ 54726 h 897559"/>
                  <a:gd name="connsiteX171" fmla="*/ 342234 w 685834"/>
                  <a:gd name="connsiteY171" fmla="*/ 68219 h 897559"/>
                  <a:gd name="connsiteX172" fmla="*/ 344999 w 685834"/>
                  <a:gd name="connsiteY172" fmla="*/ 66060 h 897559"/>
                  <a:gd name="connsiteX173" fmla="*/ 353296 w 685834"/>
                  <a:gd name="connsiteY173" fmla="*/ 63361 h 897559"/>
                  <a:gd name="connsiteX174" fmla="*/ 361039 w 685834"/>
                  <a:gd name="connsiteY174" fmla="*/ 56885 h 897559"/>
                  <a:gd name="connsiteX175" fmla="*/ 364911 w 685834"/>
                  <a:gd name="connsiteY175" fmla="*/ 56885 h 897559"/>
                  <a:gd name="connsiteX176" fmla="*/ 366570 w 685834"/>
                  <a:gd name="connsiteY176" fmla="*/ 55805 h 897559"/>
                  <a:gd name="connsiteX177" fmla="*/ 368782 w 685834"/>
                  <a:gd name="connsiteY177" fmla="*/ 67139 h 897559"/>
                  <a:gd name="connsiteX178" fmla="*/ 362698 w 685834"/>
                  <a:gd name="connsiteY178" fmla="*/ 84950 h 897559"/>
                  <a:gd name="connsiteX179" fmla="*/ 351637 w 685834"/>
                  <a:gd name="connsiteY179" fmla="*/ 102221 h 897559"/>
                  <a:gd name="connsiteX180" fmla="*/ 357721 w 685834"/>
                  <a:gd name="connsiteY180" fmla="*/ 108158 h 897559"/>
                  <a:gd name="connsiteX181" fmla="*/ 397543 w 685834"/>
                  <a:gd name="connsiteY181" fmla="*/ 111397 h 897559"/>
                  <a:gd name="connsiteX182" fmla="*/ 400862 w 685834"/>
                  <a:gd name="connsiteY182" fmla="*/ 109238 h 897559"/>
                  <a:gd name="connsiteX183" fmla="*/ 404180 w 685834"/>
                  <a:gd name="connsiteY183" fmla="*/ 101682 h 897559"/>
                  <a:gd name="connsiteX184" fmla="*/ 424092 w 685834"/>
                  <a:gd name="connsiteY184" fmla="*/ 80632 h 897559"/>
                  <a:gd name="connsiteX185" fmla="*/ 428516 w 685834"/>
                  <a:gd name="connsiteY185" fmla="*/ 80632 h 897559"/>
                  <a:gd name="connsiteX186" fmla="*/ 431282 w 685834"/>
                  <a:gd name="connsiteY186" fmla="*/ 79013 h 897559"/>
                  <a:gd name="connsiteX187" fmla="*/ 441237 w 685834"/>
                  <a:gd name="connsiteY187" fmla="*/ 78474 h 897559"/>
                  <a:gd name="connsiteX188" fmla="*/ 469998 w 685834"/>
                  <a:gd name="connsiteY188" fmla="*/ 43392 h 897559"/>
                  <a:gd name="connsiteX189" fmla="*/ 477188 w 685834"/>
                  <a:gd name="connsiteY189" fmla="*/ 40153 h 897559"/>
                  <a:gd name="connsiteX190" fmla="*/ 482166 w 685834"/>
                  <a:gd name="connsiteY190" fmla="*/ 40693 h 897559"/>
                  <a:gd name="connsiteX191" fmla="*/ 495994 w 685834"/>
                  <a:gd name="connsiteY191" fmla="*/ 44471 h 897559"/>
                  <a:gd name="connsiteX192" fmla="*/ 477742 w 685834"/>
                  <a:gd name="connsiteY192" fmla="*/ 48249 h 897559"/>
                  <a:gd name="connsiteX193" fmla="*/ 478295 w 685834"/>
                  <a:gd name="connsiteY193" fmla="*/ 52027 h 897559"/>
                  <a:gd name="connsiteX194" fmla="*/ 481613 w 685834"/>
                  <a:gd name="connsiteY194" fmla="*/ 53646 h 897559"/>
                  <a:gd name="connsiteX195" fmla="*/ 488250 w 685834"/>
                  <a:gd name="connsiteY195" fmla="*/ 52027 h 897559"/>
                  <a:gd name="connsiteX196" fmla="*/ 504843 w 685834"/>
                  <a:gd name="connsiteY196" fmla="*/ 52567 h 897559"/>
                  <a:gd name="connsiteX197" fmla="*/ 518670 w 685834"/>
                  <a:gd name="connsiteY197" fmla="*/ 66600 h 897559"/>
                  <a:gd name="connsiteX198" fmla="*/ 550197 w 685834"/>
                  <a:gd name="connsiteY198" fmla="*/ 75775 h 897559"/>
                  <a:gd name="connsiteX199" fmla="*/ 556281 w 685834"/>
                  <a:gd name="connsiteY199" fmla="*/ 75775 h 897559"/>
                  <a:gd name="connsiteX200" fmla="*/ 557940 w 685834"/>
                  <a:gd name="connsiteY200" fmla="*/ 79553 h 897559"/>
                  <a:gd name="connsiteX201" fmla="*/ 560705 w 685834"/>
                  <a:gd name="connsiteY201" fmla="*/ 84411 h 897559"/>
                  <a:gd name="connsiteX202" fmla="*/ 566236 w 685834"/>
                  <a:gd name="connsiteY202" fmla="*/ 100602 h 897559"/>
                  <a:gd name="connsiteX203" fmla="*/ 577298 w 685834"/>
                  <a:gd name="connsiteY203" fmla="*/ 115175 h 897559"/>
                  <a:gd name="connsiteX204" fmla="*/ 579510 w 685834"/>
                  <a:gd name="connsiteY204" fmla="*/ 116254 h 897559"/>
                  <a:gd name="connsiteX205" fmla="*/ 599422 w 685834"/>
                  <a:gd name="connsiteY205" fmla="*/ 119493 h 897559"/>
                  <a:gd name="connsiteX206" fmla="*/ 599422 w 685834"/>
                  <a:gd name="connsiteY206" fmla="*/ 126509 h 897559"/>
                  <a:gd name="connsiteX207" fmla="*/ 611590 w 685834"/>
                  <a:gd name="connsiteY207" fmla="*/ 165909 h 897559"/>
                  <a:gd name="connsiteX208" fmla="*/ 614908 w 685834"/>
                  <a:gd name="connsiteY208" fmla="*/ 176703 h 897559"/>
                  <a:gd name="connsiteX209" fmla="*/ 611590 w 685834"/>
                  <a:gd name="connsiteY209" fmla="*/ 199372 h 897559"/>
                  <a:gd name="connsiteX210" fmla="*/ 599422 w 685834"/>
                  <a:gd name="connsiteY210" fmla="*/ 214484 h 897559"/>
                  <a:gd name="connsiteX211" fmla="*/ 601081 w 685834"/>
                  <a:gd name="connsiteY211" fmla="*/ 218802 h 897559"/>
                  <a:gd name="connsiteX212" fmla="*/ 601634 w 685834"/>
                  <a:gd name="connsiteY212" fmla="*/ 225278 h 897559"/>
                  <a:gd name="connsiteX213" fmla="*/ 639798 w 685834"/>
                  <a:gd name="connsiteY213" fmla="*/ 250645 h 897559"/>
                  <a:gd name="connsiteX214" fmla="*/ 639798 w 685834"/>
                  <a:gd name="connsiteY214" fmla="*/ 283568 h 897559"/>
                  <a:gd name="connsiteX215" fmla="*/ 652519 w 685834"/>
                  <a:gd name="connsiteY215" fmla="*/ 294363 h 897559"/>
                  <a:gd name="connsiteX216" fmla="*/ 655284 w 685834"/>
                  <a:gd name="connsiteY216" fmla="*/ 307856 h 897559"/>
                  <a:gd name="connsiteX217" fmla="*/ 648647 w 685834"/>
                  <a:gd name="connsiteY217" fmla="*/ 344557 h 897559"/>
                  <a:gd name="connsiteX218" fmla="*/ 660262 w 685834"/>
                  <a:gd name="connsiteY218" fmla="*/ 361828 h 897559"/>
                  <a:gd name="connsiteX219" fmla="*/ 659156 w 685834"/>
                  <a:gd name="connsiteY219" fmla="*/ 371543 h 897559"/>
                  <a:gd name="connsiteX220" fmla="*/ 678514 w 685834"/>
                  <a:gd name="connsiteY220" fmla="*/ 385036 h 897559"/>
                  <a:gd name="connsiteX221" fmla="*/ 685151 w 685834"/>
                  <a:gd name="connsiteY221" fmla="*/ 417960 h 897559"/>
                  <a:gd name="connsiteX222" fmla="*/ 675748 w 685834"/>
                  <a:gd name="connsiteY222" fmla="*/ 450343 h 897559"/>
                  <a:gd name="connsiteX223" fmla="*/ 673536 w 685834"/>
                  <a:gd name="connsiteY223" fmla="*/ 457359 h 897559"/>
                  <a:gd name="connsiteX224" fmla="*/ 667452 w 685834"/>
                  <a:gd name="connsiteY224" fmla="*/ 460058 h 897559"/>
                  <a:gd name="connsiteX225" fmla="*/ 657496 w 685834"/>
                  <a:gd name="connsiteY225" fmla="*/ 453042 h 897559"/>
                  <a:gd name="connsiteX226" fmla="*/ 658603 w 685834"/>
                  <a:gd name="connsiteY226" fmla="*/ 441707 h 897559"/>
                  <a:gd name="connsiteX227" fmla="*/ 643116 w 685834"/>
                  <a:gd name="connsiteY227" fmla="*/ 436310 h 897559"/>
                  <a:gd name="connsiteX228" fmla="*/ 635373 w 685834"/>
                  <a:gd name="connsiteY228" fmla="*/ 438469 h 897559"/>
                  <a:gd name="connsiteX229" fmla="*/ 630395 w 685834"/>
                  <a:gd name="connsiteY229" fmla="*/ 443866 h 897559"/>
                  <a:gd name="connsiteX230" fmla="*/ 639798 w 685834"/>
                  <a:gd name="connsiteY230" fmla="*/ 454121 h 897559"/>
                  <a:gd name="connsiteX231" fmla="*/ 606612 w 685834"/>
                  <a:gd name="connsiteY231" fmla="*/ 470852 h 897559"/>
                  <a:gd name="connsiteX232" fmla="*/ 600528 w 685834"/>
                  <a:gd name="connsiteY232" fmla="*/ 482187 h 897559"/>
                  <a:gd name="connsiteX233" fmla="*/ 582276 w 685834"/>
                  <a:gd name="connsiteY233" fmla="*/ 484885 h 897559"/>
                  <a:gd name="connsiteX234" fmla="*/ 577298 w 685834"/>
                  <a:gd name="connsiteY234" fmla="*/ 493521 h 897559"/>
                  <a:gd name="connsiteX235" fmla="*/ 565683 w 685834"/>
                  <a:gd name="connsiteY235" fmla="*/ 492981 h 897559"/>
                  <a:gd name="connsiteX236" fmla="*/ 560705 w 685834"/>
                  <a:gd name="connsiteY236" fmla="*/ 504855 h 897559"/>
                  <a:gd name="connsiteX237" fmla="*/ 544666 w 685834"/>
                  <a:gd name="connsiteY237" fmla="*/ 508633 h 897559"/>
                  <a:gd name="connsiteX238" fmla="*/ 534710 w 685834"/>
                  <a:gd name="connsiteY238" fmla="*/ 521047 h 897559"/>
                  <a:gd name="connsiteX239" fmla="*/ 512586 w 685834"/>
                  <a:gd name="connsiteY239" fmla="*/ 522126 h 897559"/>
                  <a:gd name="connsiteX240" fmla="*/ 495994 w 685834"/>
                  <a:gd name="connsiteY240" fmla="*/ 533460 h 897559"/>
                  <a:gd name="connsiteX241" fmla="*/ 490463 w 685834"/>
                  <a:gd name="connsiteY241" fmla="*/ 543175 h 897559"/>
                  <a:gd name="connsiteX242" fmla="*/ 474423 w 685834"/>
                  <a:gd name="connsiteY242" fmla="*/ 532921 h 897559"/>
                  <a:gd name="connsiteX243" fmla="*/ 475529 w 685834"/>
                  <a:gd name="connsiteY243" fmla="*/ 544795 h 897559"/>
                  <a:gd name="connsiteX244" fmla="*/ 481060 w 685834"/>
                  <a:gd name="connsiteY244" fmla="*/ 556129 h 897559"/>
                  <a:gd name="connsiteX245" fmla="*/ 485485 w 685834"/>
                  <a:gd name="connsiteY245" fmla="*/ 560986 h 897559"/>
                  <a:gd name="connsiteX246" fmla="*/ 506502 w 685834"/>
                  <a:gd name="connsiteY246" fmla="*/ 584734 h 897559"/>
                  <a:gd name="connsiteX247" fmla="*/ 498759 w 685834"/>
                  <a:gd name="connsiteY247" fmla="*/ 605244 h 897559"/>
                  <a:gd name="connsiteX248" fmla="*/ 522542 w 685834"/>
                  <a:gd name="connsiteY248" fmla="*/ 645183 h 897559"/>
                  <a:gd name="connsiteX249" fmla="*/ 544113 w 685834"/>
                  <a:gd name="connsiteY249" fmla="*/ 647342 h 897559"/>
                  <a:gd name="connsiteX250" fmla="*/ 566789 w 685834"/>
                  <a:gd name="connsiteY250" fmla="*/ 668391 h 897559"/>
                  <a:gd name="connsiteX251" fmla="*/ 572873 w 685834"/>
                  <a:gd name="connsiteY251" fmla="*/ 673788 h 897559"/>
                  <a:gd name="connsiteX252" fmla="*/ 587254 w 685834"/>
                  <a:gd name="connsiteY252" fmla="*/ 682964 h 897559"/>
                  <a:gd name="connsiteX253" fmla="*/ 612696 w 685834"/>
                  <a:gd name="connsiteY253" fmla="*/ 694298 h 897559"/>
                  <a:gd name="connsiteX254" fmla="*/ 622099 w 685834"/>
                  <a:gd name="connsiteY254" fmla="*/ 704013 h 897559"/>
                  <a:gd name="connsiteX255" fmla="*/ 620439 w 685834"/>
                  <a:gd name="connsiteY255" fmla="*/ 720744 h 897559"/>
                  <a:gd name="connsiteX256" fmla="*/ 615461 w 685834"/>
                  <a:gd name="connsiteY256" fmla="*/ 737476 h 897559"/>
                  <a:gd name="connsiteX257" fmla="*/ 591125 w 685834"/>
                  <a:gd name="connsiteY257" fmla="*/ 729920 h 897559"/>
                  <a:gd name="connsiteX258" fmla="*/ 582829 w 685834"/>
                  <a:gd name="connsiteY258" fmla="*/ 757985 h 897559"/>
                  <a:gd name="connsiteX259" fmla="*/ 570661 w 685834"/>
                  <a:gd name="connsiteY259" fmla="*/ 763382 h 897559"/>
                  <a:gd name="connsiteX260" fmla="*/ 550750 w 685834"/>
                  <a:gd name="connsiteY260" fmla="*/ 774177 h 897559"/>
                  <a:gd name="connsiteX261" fmla="*/ 544666 w 685834"/>
                  <a:gd name="connsiteY261" fmla="*/ 785511 h 897559"/>
                  <a:gd name="connsiteX262" fmla="*/ 544666 w 685834"/>
                  <a:gd name="connsiteY262" fmla="*/ 794686 h 897559"/>
                  <a:gd name="connsiteX263" fmla="*/ 550750 w 685834"/>
                  <a:gd name="connsiteY263" fmla="*/ 802782 h 897559"/>
                  <a:gd name="connsiteX264" fmla="*/ 566789 w 685834"/>
                  <a:gd name="connsiteY264" fmla="*/ 821133 h 897559"/>
                  <a:gd name="connsiteX265" fmla="*/ 561258 w 685834"/>
                  <a:gd name="connsiteY265" fmla="*/ 835166 h 897559"/>
                  <a:gd name="connsiteX266" fmla="*/ 573426 w 685834"/>
                  <a:gd name="connsiteY266" fmla="*/ 836245 h 897559"/>
                  <a:gd name="connsiteX267" fmla="*/ 570661 w 685834"/>
                  <a:gd name="connsiteY267" fmla="*/ 856215 h 897559"/>
                  <a:gd name="connsiteX268" fmla="*/ 564577 w 685834"/>
                  <a:gd name="connsiteY268" fmla="*/ 864850 h 897559"/>
                  <a:gd name="connsiteX269" fmla="*/ 553515 w 685834"/>
                  <a:gd name="connsiteY269" fmla="*/ 859993 h 897559"/>
                  <a:gd name="connsiteX270" fmla="*/ 545772 w 685834"/>
                  <a:gd name="connsiteY270" fmla="*/ 846500 h 897559"/>
                  <a:gd name="connsiteX271" fmla="*/ 530838 w 685834"/>
                  <a:gd name="connsiteY271" fmla="*/ 849198 h 897559"/>
                  <a:gd name="connsiteX272" fmla="*/ 526967 w 685834"/>
                  <a:gd name="connsiteY272" fmla="*/ 849738 h 897559"/>
                  <a:gd name="connsiteX273" fmla="*/ 521436 w 685834"/>
                  <a:gd name="connsiteY273" fmla="*/ 842182 h 897559"/>
                  <a:gd name="connsiteX274" fmla="*/ 499865 w 685834"/>
                  <a:gd name="connsiteY274" fmla="*/ 843262 h 897559"/>
                  <a:gd name="connsiteX275" fmla="*/ 494334 w 685834"/>
                  <a:gd name="connsiteY275" fmla="*/ 855135 h 897559"/>
                  <a:gd name="connsiteX276" fmla="*/ 464467 w 685834"/>
                  <a:gd name="connsiteY276" fmla="*/ 858913 h 897559"/>
                  <a:gd name="connsiteX277" fmla="*/ 445662 w 685834"/>
                  <a:gd name="connsiteY277" fmla="*/ 868089 h 897559"/>
                  <a:gd name="connsiteX278" fmla="*/ 432941 w 685834"/>
                  <a:gd name="connsiteY278" fmla="*/ 880502 h 897559"/>
                  <a:gd name="connsiteX279" fmla="*/ 404180 w 685834"/>
                  <a:gd name="connsiteY279" fmla="*/ 886439 h 897559"/>
                  <a:gd name="connsiteX280" fmla="*/ 392565 w 685834"/>
                  <a:gd name="connsiteY280" fmla="*/ 871327 h 897559"/>
                  <a:gd name="connsiteX281" fmla="*/ 382610 w 685834"/>
                  <a:gd name="connsiteY281" fmla="*/ 870248 h 897559"/>
                  <a:gd name="connsiteX282" fmla="*/ 374866 w 685834"/>
                  <a:gd name="connsiteY282" fmla="*/ 865930 h 897559"/>
                  <a:gd name="connsiteX283" fmla="*/ 368782 w 685834"/>
                  <a:gd name="connsiteY283" fmla="*/ 866470 h 897559"/>
                  <a:gd name="connsiteX284" fmla="*/ 361592 w 685834"/>
                  <a:gd name="connsiteY284" fmla="*/ 869708 h 897559"/>
                  <a:gd name="connsiteX285" fmla="*/ 359933 w 685834"/>
                  <a:gd name="connsiteY285" fmla="*/ 883741 h 897559"/>
                  <a:gd name="connsiteX286" fmla="*/ 341681 w 685834"/>
                  <a:gd name="connsiteY286" fmla="*/ 897234 h 897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</a:cxnLst>
                <a:rect l="l" t="t" r="r" b="b"/>
                <a:pathLst>
                  <a:path w="685834" h="897559">
                    <a:moveTo>
                      <a:pt x="590572" y="94126"/>
                    </a:moveTo>
                    <a:cubicBezTo>
                      <a:pt x="588913" y="90347"/>
                      <a:pt x="584488" y="86030"/>
                      <a:pt x="580064" y="84411"/>
                    </a:cubicBezTo>
                    <a:cubicBezTo>
                      <a:pt x="578404" y="83871"/>
                      <a:pt x="574533" y="84411"/>
                      <a:pt x="573426" y="83871"/>
                    </a:cubicBezTo>
                    <a:cubicBezTo>
                      <a:pt x="572320" y="83331"/>
                      <a:pt x="569002" y="75235"/>
                      <a:pt x="569555" y="74696"/>
                    </a:cubicBezTo>
                    <a:cubicBezTo>
                      <a:pt x="571214" y="73076"/>
                      <a:pt x="576192" y="75775"/>
                      <a:pt x="577298" y="76854"/>
                    </a:cubicBezTo>
                    <a:cubicBezTo>
                      <a:pt x="580064" y="78474"/>
                      <a:pt x="583382" y="79553"/>
                      <a:pt x="586148" y="81172"/>
                    </a:cubicBezTo>
                    <a:cubicBezTo>
                      <a:pt x="587807" y="82252"/>
                      <a:pt x="599975" y="94126"/>
                      <a:pt x="602187" y="96284"/>
                    </a:cubicBezTo>
                    <a:cubicBezTo>
                      <a:pt x="604400" y="98983"/>
                      <a:pt x="606612" y="102221"/>
                      <a:pt x="607718" y="105460"/>
                    </a:cubicBezTo>
                    <a:cubicBezTo>
                      <a:pt x="607165" y="105999"/>
                      <a:pt x="602740" y="108158"/>
                      <a:pt x="602187" y="108698"/>
                    </a:cubicBezTo>
                    <a:cubicBezTo>
                      <a:pt x="601634" y="108698"/>
                      <a:pt x="598869" y="108158"/>
                      <a:pt x="597763" y="108158"/>
                    </a:cubicBezTo>
                    <a:cubicBezTo>
                      <a:pt x="596103" y="107619"/>
                      <a:pt x="582829" y="107079"/>
                      <a:pt x="582276" y="106539"/>
                    </a:cubicBezTo>
                    <a:cubicBezTo>
                      <a:pt x="581170" y="106539"/>
                      <a:pt x="581170" y="104380"/>
                      <a:pt x="580617" y="103301"/>
                    </a:cubicBezTo>
                    <a:cubicBezTo>
                      <a:pt x="579510" y="101682"/>
                      <a:pt x="576745" y="98983"/>
                      <a:pt x="577298" y="96824"/>
                    </a:cubicBezTo>
                    <a:cubicBezTo>
                      <a:pt x="577851" y="96284"/>
                      <a:pt x="579510" y="94665"/>
                      <a:pt x="579510" y="94126"/>
                    </a:cubicBezTo>
                    <a:cubicBezTo>
                      <a:pt x="582829" y="93586"/>
                      <a:pt x="586148" y="96284"/>
                      <a:pt x="589466" y="95745"/>
                    </a:cubicBezTo>
                    <a:lnTo>
                      <a:pt x="590572" y="94126"/>
                    </a:lnTo>
                    <a:close/>
                    <a:moveTo>
                      <a:pt x="544666" y="53107"/>
                    </a:moveTo>
                    <a:cubicBezTo>
                      <a:pt x="538582" y="50948"/>
                      <a:pt x="532498" y="63361"/>
                      <a:pt x="526967" y="60123"/>
                    </a:cubicBezTo>
                    <a:cubicBezTo>
                      <a:pt x="525861" y="59583"/>
                      <a:pt x="521989" y="55805"/>
                      <a:pt x="520883" y="54726"/>
                    </a:cubicBezTo>
                    <a:cubicBezTo>
                      <a:pt x="520330" y="53646"/>
                      <a:pt x="519777" y="52027"/>
                      <a:pt x="519223" y="50948"/>
                    </a:cubicBezTo>
                    <a:cubicBezTo>
                      <a:pt x="517564" y="47170"/>
                      <a:pt x="514799" y="44471"/>
                      <a:pt x="513139" y="40693"/>
                    </a:cubicBezTo>
                    <a:cubicBezTo>
                      <a:pt x="512586" y="39074"/>
                      <a:pt x="512586" y="33677"/>
                      <a:pt x="514246" y="32057"/>
                    </a:cubicBezTo>
                    <a:cubicBezTo>
                      <a:pt x="515352" y="30438"/>
                      <a:pt x="519223" y="28819"/>
                      <a:pt x="520330" y="26660"/>
                    </a:cubicBezTo>
                    <a:cubicBezTo>
                      <a:pt x="521989" y="22882"/>
                      <a:pt x="518670" y="18025"/>
                      <a:pt x="524201" y="15866"/>
                    </a:cubicBezTo>
                    <a:cubicBezTo>
                      <a:pt x="538029" y="10468"/>
                      <a:pt x="528626" y="21803"/>
                      <a:pt x="536922" y="24501"/>
                    </a:cubicBezTo>
                    <a:cubicBezTo>
                      <a:pt x="539688" y="25041"/>
                      <a:pt x="547431" y="22882"/>
                      <a:pt x="547984" y="24501"/>
                    </a:cubicBezTo>
                    <a:cubicBezTo>
                      <a:pt x="548537" y="26660"/>
                      <a:pt x="546325" y="36375"/>
                      <a:pt x="547431" y="39074"/>
                    </a:cubicBezTo>
                    <a:cubicBezTo>
                      <a:pt x="548537" y="42312"/>
                      <a:pt x="554068" y="46090"/>
                      <a:pt x="555728" y="48789"/>
                    </a:cubicBezTo>
                    <a:cubicBezTo>
                      <a:pt x="556281" y="49868"/>
                      <a:pt x="555728" y="53107"/>
                      <a:pt x="555174" y="54186"/>
                    </a:cubicBezTo>
                    <a:cubicBezTo>
                      <a:pt x="552409" y="57424"/>
                      <a:pt x="546325" y="56885"/>
                      <a:pt x="544666" y="53107"/>
                    </a:cubicBezTo>
                    <a:close/>
                    <a:moveTo>
                      <a:pt x="341681" y="897234"/>
                    </a:moveTo>
                    <a:lnTo>
                      <a:pt x="322323" y="872946"/>
                    </a:lnTo>
                    <a:lnTo>
                      <a:pt x="311261" y="869708"/>
                    </a:lnTo>
                    <a:lnTo>
                      <a:pt x="307389" y="864850"/>
                    </a:lnTo>
                    <a:lnTo>
                      <a:pt x="297987" y="868629"/>
                    </a:lnTo>
                    <a:lnTo>
                      <a:pt x="289690" y="871327"/>
                    </a:lnTo>
                    <a:lnTo>
                      <a:pt x="269779" y="862152"/>
                    </a:lnTo>
                    <a:lnTo>
                      <a:pt x="257611" y="859453"/>
                    </a:lnTo>
                    <a:lnTo>
                      <a:pt x="232722" y="855135"/>
                    </a:lnTo>
                    <a:cubicBezTo>
                      <a:pt x="230509" y="854596"/>
                      <a:pt x="227191" y="854056"/>
                      <a:pt x="225532" y="853516"/>
                    </a:cubicBezTo>
                    <a:lnTo>
                      <a:pt x="210045" y="842182"/>
                    </a:lnTo>
                    <a:lnTo>
                      <a:pt x="198430" y="848119"/>
                    </a:lnTo>
                    <a:lnTo>
                      <a:pt x="192899" y="854056"/>
                    </a:lnTo>
                    <a:lnTo>
                      <a:pt x="201749" y="859453"/>
                    </a:lnTo>
                    <a:lnTo>
                      <a:pt x="204514" y="862692"/>
                    </a:lnTo>
                    <a:cubicBezTo>
                      <a:pt x="203961" y="863771"/>
                      <a:pt x="202855" y="865930"/>
                      <a:pt x="201196" y="865930"/>
                    </a:cubicBezTo>
                    <a:cubicBezTo>
                      <a:pt x="197324" y="866470"/>
                      <a:pt x="191240" y="864850"/>
                      <a:pt x="187368" y="864311"/>
                    </a:cubicBezTo>
                    <a:cubicBezTo>
                      <a:pt x="184050" y="864311"/>
                      <a:pt x="179072" y="864850"/>
                      <a:pt x="175753" y="864850"/>
                    </a:cubicBezTo>
                    <a:cubicBezTo>
                      <a:pt x="172988" y="864850"/>
                      <a:pt x="168563" y="864850"/>
                      <a:pt x="166351" y="865390"/>
                    </a:cubicBezTo>
                    <a:cubicBezTo>
                      <a:pt x="162479" y="866470"/>
                      <a:pt x="156948" y="870787"/>
                      <a:pt x="153077" y="871327"/>
                    </a:cubicBezTo>
                    <a:cubicBezTo>
                      <a:pt x="146439" y="872407"/>
                      <a:pt x="134824" y="871327"/>
                      <a:pt x="128187" y="870248"/>
                    </a:cubicBezTo>
                    <a:cubicBezTo>
                      <a:pt x="127081" y="870248"/>
                      <a:pt x="125975" y="868629"/>
                      <a:pt x="125422" y="868089"/>
                    </a:cubicBezTo>
                    <a:cubicBezTo>
                      <a:pt x="125975" y="865930"/>
                      <a:pt x="118785" y="858374"/>
                      <a:pt x="119338" y="854596"/>
                    </a:cubicBezTo>
                    <a:cubicBezTo>
                      <a:pt x="119338" y="847040"/>
                      <a:pt x="122656" y="839483"/>
                      <a:pt x="123763" y="832467"/>
                    </a:cubicBezTo>
                    <a:cubicBezTo>
                      <a:pt x="123763" y="829768"/>
                      <a:pt x="123210" y="827070"/>
                      <a:pt x="123210" y="824371"/>
                    </a:cubicBezTo>
                    <a:cubicBezTo>
                      <a:pt x="123210" y="817895"/>
                      <a:pt x="123210" y="810878"/>
                      <a:pt x="124869" y="804941"/>
                    </a:cubicBezTo>
                    <a:cubicBezTo>
                      <a:pt x="126528" y="795766"/>
                      <a:pt x="132612" y="788749"/>
                      <a:pt x="135378" y="780654"/>
                    </a:cubicBezTo>
                    <a:cubicBezTo>
                      <a:pt x="137590" y="774717"/>
                      <a:pt x="134271" y="768780"/>
                      <a:pt x="134824" y="763382"/>
                    </a:cubicBezTo>
                    <a:cubicBezTo>
                      <a:pt x="135378" y="759065"/>
                      <a:pt x="140355" y="743952"/>
                      <a:pt x="142568" y="740714"/>
                    </a:cubicBezTo>
                    <a:cubicBezTo>
                      <a:pt x="147546" y="734777"/>
                      <a:pt x="154183" y="729920"/>
                      <a:pt x="159161" y="724522"/>
                    </a:cubicBezTo>
                    <a:cubicBezTo>
                      <a:pt x="163585" y="719125"/>
                      <a:pt x="166904" y="712109"/>
                      <a:pt x="171329" y="706712"/>
                    </a:cubicBezTo>
                    <a:lnTo>
                      <a:pt x="148099" y="694298"/>
                    </a:lnTo>
                    <a:lnTo>
                      <a:pt x="139802" y="696457"/>
                    </a:lnTo>
                    <a:lnTo>
                      <a:pt x="127081" y="693218"/>
                    </a:lnTo>
                    <a:lnTo>
                      <a:pt x="116019" y="681884"/>
                    </a:lnTo>
                    <a:lnTo>
                      <a:pt x="111042" y="683503"/>
                    </a:lnTo>
                    <a:lnTo>
                      <a:pt x="88918" y="689980"/>
                    </a:lnTo>
                    <a:lnTo>
                      <a:pt x="71219" y="674328"/>
                    </a:lnTo>
                    <a:lnTo>
                      <a:pt x="64029" y="682964"/>
                    </a:lnTo>
                    <a:lnTo>
                      <a:pt x="52967" y="677027"/>
                    </a:lnTo>
                    <a:lnTo>
                      <a:pt x="44670" y="656517"/>
                    </a:lnTo>
                    <a:lnTo>
                      <a:pt x="41352" y="650041"/>
                    </a:lnTo>
                    <a:lnTo>
                      <a:pt x="24206" y="641945"/>
                    </a:lnTo>
                    <a:lnTo>
                      <a:pt x="29184" y="632230"/>
                    </a:lnTo>
                    <a:cubicBezTo>
                      <a:pt x="31949" y="626832"/>
                      <a:pt x="34715" y="621435"/>
                      <a:pt x="38586" y="617117"/>
                    </a:cubicBezTo>
                    <a:lnTo>
                      <a:pt x="39693" y="607402"/>
                    </a:lnTo>
                    <a:lnTo>
                      <a:pt x="24206" y="603085"/>
                    </a:lnTo>
                    <a:lnTo>
                      <a:pt x="15357" y="594449"/>
                    </a:lnTo>
                    <a:lnTo>
                      <a:pt x="9826" y="582575"/>
                    </a:lnTo>
                    <a:lnTo>
                      <a:pt x="11485" y="566383"/>
                    </a:lnTo>
                    <a:lnTo>
                      <a:pt x="15910" y="556129"/>
                    </a:lnTo>
                    <a:lnTo>
                      <a:pt x="20888" y="552351"/>
                    </a:lnTo>
                    <a:lnTo>
                      <a:pt x="30290" y="548573"/>
                    </a:lnTo>
                    <a:lnTo>
                      <a:pt x="32502" y="542636"/>
                    </a:lnTo>
                    <a:lnTo>
                      <a:pt x="30843" y="537238"/>
                    </a:lnTo>
                    <a:lnTo>
                      <a:pt x="29184" y="530222"/>
                    </a:lnTo>
                    <a:lnTo>
                      <a:pt x="17016" y="525904"/>
                    </a:lnTo>
                    <a:lnTo>
                      <a:pt x="13697" y="518888"/>
                    </a:lnTo>
                    <a:lnTo>
                      <a:pt x="23100" y="514030"/>
                    </a:lnTo>
                    <a:lnTo>
                      <a:pt x="16463" y="504855"/>
                    </a:lnTo>
                    <a:lnTo>
                      <a:pt x="8719" y="501077"/>
                    </a:lnTo>
                    <a:lnTo>
                      <a:pt x="3742" y="493521"/>
                    </a:lnTo>
                    <a:lnTo>
                      <a:pt x="10379" y="471932"/>
                    </a:lnTo>
                    <a:lnTo>
                      <a:pt x="-683" y="467614"/>
                    </a:lnTo>
                    <a:lnTo>
                      <a:pt x="2635" y="458979"/>
                    </a:lnTo>
                    <a:lnTo>
                      <a:pt x="15357" y="450343"/>
                    </a:lnTo>
                    <a:lnTo>
                      <a:pt x="14250" y="440088"/>
                    </a:lnTo>
                    <a:lnTo>
                      <a:pt x="20888" y="417420"/>
                    </a:lnTo>
                    <a:lnTo>
                      <a:pt x="8166" y="373702"/>
                    </a:lnTo>
                    <a:lnTo>
                      <a:pt x="-130" y="372083"/>
                    </a:lnTo>
                    <a:lnTo>
                      <a:pt x="13697" y="359130"/>
                    </a:lnTo>
                    <a:lnTo>
                      <a:pt x="32502" y="366146"/>
                    </a:lnTo>
                    <a:lnTo>
                      <a:pt x="41905" y="362368"/>
                    </a:lnTo>
                    <a:lnTo>
                      <a:pt x="50754" y="358590"/>
                    </a:lnTo>
                    <a:lnTo>
                      <a:pt x="61816" y="360209"/>
                    </a:lnTo>
                    <a:lnTo>
                      <a:pt x="66241" y="347796"/>
                    </a:lnTo>
                    <a:lnTo>
                      <a:pt x="58498" y="340779"/>
                    </a:lnTo>
                    <a:lnTo>
                      <a:pt x="61816" y="335382"/>
                    </a:lnTo>
                    <a:lnTo>
                      <a:pt x="76750" y="323508"/>
                    </a:lnTo>
                    <a:lnTo>
                      <a:pt x="78962" y="318111"/>
                    </a:lnTo>
                    <a:lnTo>
                      <a:pt x="81175" y="297601"/>
                    </a:lnTo>
                    <a:lnTo>
                      <a:pt x="57392" y="292744"/>
                    </a:lnTo>
                    <a:lnTo>
                      <a:pt x="61263" y="270615"/>
                    </a:lnTo>
                    <a:lnTo>
                      <a:pt x="79515" y="274393"/>
                    </a:lnTo>
                    <a:lnTo>
                      <a:pt x="90024" y="240930"/>
                    </a:lnTo>
                    <a:lnTo>
                      <a:pt x="95555" y="229056"/>
                    </a:lnTo>
                    <a:lnTo>
                      <a:pt x="91683" y="199372"/>
                    </a:lnTo>
                    <a:lnTo>
                      <a:pt x="93343" y="199372"/>
                    </a:lnTo>
                    <a:cubicBezTo>
                      <a:pt x="96661" y="197213"/>
                      <a:pt x="99427" y="195594"/>
                      <a:pt x="100533" y="190736"/>
                    </a:cubicBezTo>
                    <a:cubicBezTo>
                      <a:pt x="98320" y="185879"/>
                      <a:pt x="86705" y="183720"/>
                      <a:pt x="85599" y="178322"/>
                    </a:cubicBezTo>
                    <a:cubicBezTo>
                      <a:pt x="85599" y="174005"/>
                      <a:pt x="88365" y="174005"/>
                      <a:pt x="89471" y="172385"/>
                    </a:cubicBezTo>
                    <a:cubicBezTo>
                      <a:pt x="91683" y="168068"/>
                      <a:pt x="91130" y="158892"/>
                      <a:pt x="95002" y="155654"/>
                    </a:cubicBezTo>
                    <a:cubicBezTo>
                      <a:pt x="98320" y="152955"/>
                      <a:pt x="106617" y="149177"/>
                      <a:pt x="111595" y="148098"/>
                    </a:cubicBezTo>
                    <a:cubicBezTo>
                      <a:pt x="118785" y="147018"/>
                      <a:pt x="149205" y="143240"/>
                      <a:pt x="154183" y="147558"/>
                    </a:cubicBezTo>
                    <a:cubicBezTo>
                      <a:pt x="162479" y="156194"/>
                      <a:pt x="155842" y="171306"/>
                      <a:pt x="159714" y="176163"/>
                    </a:cubicBezTo>
                    <a:cubicBezTo>
                      <a:pt x="163585" y="177243"/>
                      <a:pt x="173541" y="181561"/>
                      <a:pt x="176306" y="177243"/>
                    </a:cubicBezTo>
                    <a:cubicBezTo>
                      <a:pt x="176859" y="176163"/>
                      <a:pt x="177966" y="172385"/>
                      <a:pt x="177966" y="171306"/>
                    </a:cubicBezTo>
                    <a:cubicBezTo>
                      <a:pt x="177966" y="166988"/>
                      <a:pt x="175200" y="164829"/>
                      <a:pt x="175753" y="159972"/>
                    </a:cubicBezTo>
                    <a:cubicBezTo>
                      <a:pt x="177966" y="156733"/>
                      <a:pt x="186262" y="158353"/>
                      <a:pt x="188474" y="161051"/>
                    </a:cubicBezTo>
                    <a:cubicBezTo>
                      <a:pt x="189581" y="161051"/>
                      <a:pt x="191240" y="161591"/>
                      <a:pt x="192346" y="161051"/>
                    </a:cubicBezTo>
                    <a:cubicBezTo>
                      <a:pt x="192899" y="160512"/>
                      <a:pt x="192899" y="157813"/>
                      <a:pt x="192899" y="157273"/>
                    </a:cubicBezTo>
                    <a:cubicBezTo>
                      <a:pt x="192899" y="155114"/>
                      <a:pt x="190687" y="152955"/>
                      <a:pt x="190687" y="150797"/>
                    </a:cubicBezTo>
                    <a:cubicBezTo>
                      <a:pt x="190134" y="145399"/>
                      <a:pt x="197877" y="127588"/>
                      <a:pt x="203408" y="127049"/>
                    </a:cubicBezTo>
                    <a:cubicBezTo>
                      <a:pt x="207280" y="127049"/>
                      <a:pt x="211151" y="128668"/>
                      <a:pt x="215023" y="128668"/>
                    </a:cubicBezTo>
                    <a:cubicBezTo>
                      <a:pt x="223872" y="129747"/>
                      <a:pt x="230509" y="128668"/>
                      <a:pt x="239359" y="131906"/>
                    </a:cubicBezTo>
                    <a:cubicBezTo>
                      <a:pt x="245443" y="134605"/>
                      <a:pt x="248761" y="145399"/>
                      <a:pt x="254845" y="148638"/>
                    </a:cubicBezTo>
                    <a:cubicBezTo>
                      <a:pt x="257611" y="150797"/>
                      <a:pt x="266460" y="151876"/>
                      <a:pt x="270332" y="152416"/>
                    </a:cubicBezTo>
                    <a:cubicBezTo>
                      <a:pt x="272544" y="150257"/>
                      <a:pt x="273651" y="146479"/>
                      <a:pt x="271991" y="144320"/>
                    </a:cubicBezTo>
                    <a:cubicBezTo>
                      <a:pt x="271438" y="143780"/>
                      <a:pt x="270332" y="143240"/>
                      <a:pt x="269226" y="142701"/>
                    </a:cubicBezTo>
                    <a:cubicBezTo>
                      <a:pt x="264801" y="138923"/>
                      <a:pt x="245443" y="118413"/>
                      <a:pt x="241018" y="117334"/>
                    </a:cubicBezTo>
                    <a:cubicBezTo>
                      <a:pt x="234381" y="115175"/>
                      <a:pt x="227191" y="116254"/>
                      <a:pt x="221107" y="114095"/>
                    </a:cubicBezTo>
                    <a:cubicBezTo>
                      <a:pt x="219448" y="113556"/>
                      <a:pt x="216682" y="111397"/>
                      <a:pt x="216129" y="109778"/>
                    </a:cubicBezTo>
                    <a:cubicBezTo>
                      <a:pt x="216129" y="108698"/>
                      <a:pt x="217235" y="105460"/>
                      <a:pt x="218341" y="104920"/>
                    </a:cubicBezTo>
                    <a:cubicBezTo>
                      <a:pt x="218894" y="103841"/>
                      <a:pt x="222766" y="104380"/>
                      <a:pt x="223872" y="103841"/>
                    </a:cubicBezTo>
                    <a:cubicBezTo>
                      <a:pt x="224425" y="102761"/>
                      <a:pt x="224978" y="98983"/>
                      <a:pt x="224425" y="97904"/>
                    </a:cubicBezTo>
                    <a:cubicBezTo>
                      <a:pt x="223319" y="89268"/>
                      <a:pt x="214470" y="96824"/>
                      <a:pt x="208386" y="86030"/>
                    </a:cubicBezTo>
                    <a:lnTo>
                      <a:pt x="208939" y="83331"/>
                    </a:lnTo>
                    <a:cubicBezTo>
                      <a:pt x="210045" y="81712"/>
                      <a:pt x="215023" y="81712"/>
                      <a:pt x="217235" y="80632"/>
                    </a:cubicBezTo>
                    <a:cubicBezTo>
                      <a:pt x="221107" y="78474"/>
                      <a:pt x="224425" y="71997"/>
                      <a:pt x="217788" y="70378"/>
                    </a:cubicBezTo>
                    <a:cubicBezTo>
                      <a:pt x="211704" y="69298"/>
                      <a:pt x="207833" y="75235"/>
                      <a:pt x="202855" y="74696"/>
                    </a:cubicBezTo>
                    <a:cubicBezTo>
                      <a:pt x="190687" y="64980"/>
                      <a:pt x="217788" y="58504"/>
                      <a:pt x="221107" y="53646"/>
                    </a:cubicBezTo>
                    <a:cubicBezTo>
                      <a:pt x="222213" y="52567"/>
                      <a:pt x="223319" y="47709"/>
                      <a:pt x="223319" y="46630"/>
                    </a:cubicBezTo>
                    <a:cubicBezTo>
                      <a:pt x="222766" y="37455"/>
                      <a:pt x="215576" y="36375"/>
                      <a:pt x="210598" y="30978"/>
                    </a:cubicBezTo>
                    <a:cubicBezTo>
                      <a:pt x="202855" y="22342"/>
                      <a:pt x="200642" y="10468"/>
                      <a:pt x="198983" y="-326"/>
                    </a:cubicBezTo>
                    <a:lnTo>
                      <a:pt x="226085" y="3992"/>
                    </a:lnTo>
                    <a:lnTo>
                      <a:pt x="243784" y="12627"/>
                    </a:lnTo>
                    <a:lnTo>
                      <a:pt x="257058" y="9929"/>
                    </a:lnTo>
                    <a:cubicBezTo>
                      <a:pt x="259823" y="9929"/>
                      <a:pt x="268120" y="10468"/>
                      <a:pt x="270332" y="11548"/>
                    </a:cubicBezTo>
                    <a:cubicBezTo>
                      <a:pt x="273651" y="12627"/>
                      <a:pt x="274757" y="15326"/>
                      <a:pt x="277522" y="16945"/>
                    </a:cubicBezTo>
                    <a:cubicBezTo>
                      <a:pt x="281394" y="18564"/>
                      <a:pt x="283053" y="13707"/>
                      <a:pt x="285819" y="15326"/>
                    </a:cubicBezTo>
                    <a:cubicBezTo>
                      <a:pt x="286372" y="15326"/>
                      <a:pt x="291903" y="21263"/>
                      <a:pt x="291903" y="21803"/>
                    </a:cubicBezTo>
                    <a:cubicBezTo>
                      <a:pt x="293009" y="25581"/>
                      <a:pt x="287478" y="27200"/>
                      <a:pt x="285819" y="28279"/>
                    </a:cubicBezTo>
                    <a:cubicBezTo>
                      <a:pt x="285266" y="28819"/>
                      <a:pt x="284712" y="29898"/>
                      <a:pt x="284159" y="30438"/>
                    </a:cubicBezTo>
                    <a:cubicBezTo>
                      <a:pt x="283053" y="31518"/>
                      <a:pt x="281394" y="30978"/>
                      <a:pt x="282500" y="33137"/>
                    </a:cubicBezTo>
                    <a:cubicBezTo>
                      <a:pt x="285266" y="34216"/>
                      <a:pt x="293009" y="31518"/>
                      <a:pt x="294115" y="33137"/>
                    </a:cubicBezTo>
                    <a:cubicBezTo>
                      <a:pt x="294668" y="33677"/>
                      <a:pt x="294115" y="36915"/>
                      <a:pt x="293562" y="37994"/>
                    </a:cubicBezTo>
                    <a:cubicBezTo>
                      <a:pt x="291903" y="42852"/>
                      <a:pt x="280841" y="46630"/>
                      <a:pt x="281947" y="49868"/>
                    </a:cubicBezTo>
                    <a:cubicBezTo>
                      <a:pt x="282500" y="51487"/>
                      <a:pt x="293562" y="55265"/>
                      <a:pt x="295221" y="54186"/>
                    </a:cubicBezTo>
                    <a:cubicBezTo>
                      <a:pt x="298540" y="53107"/>
                      <a:pt x="298540" y="48249"/>
                      <a:pt x="303518" y="50948"/>
                    </a:cubicBezTo>
                    <a:cubicBezTo>
                      <a:pt x="307942" y="53107"/>
                      <a:pt x="306283" y="60123"/>
                      <a:pt x="311261" y="59044"/>
                    </a:cubicBezTo>
                    <a:cubicBezTo>
                      <a:pt x="313473" y="58504"/>
                      <a:pt x="313473" y="51487"/>
                      <a:pt x="320663" y="54726"/>
                    </a:cubicBezTo>
                    <a:cubicBezTo>
                      <a:pt x="324535" y="56345"/>
                      <a:pt x="339469" y="68759"/>
                      <a:pt x="342234" y="68219"/>
                    </a:cubicBezTo>
                    <a:cubicBezTo>
                      <a:pt x="343340" y="67679"/>
                      <a:pt x="343893" y="66600"/>
                      <a:pt x="344999" y="66060"/>
                    </a:cubicBezTo>
                    <a:cubicBezTo>
                      <a:pt x="347765" y="64441"/>
                      <a:pt x="350530" y="64980"/>
                      <a:pt x="353296" y="63361"/>
                    </a:cubicBezTo>
                    <a:cubicBezTo>
                      <a:pt x="355508" y="62282"/>
                      <a:pt x="359380" y="57424"/>
                      <a:pt x="361039" y="56885"/>
                    </a:cubicBezTo>
                    <a:cubicBezTo>
                      <a:pt x="362698" y="56345"/>
                      <a:pt x="364358" y="57424"/>
                      <a:pt x="364911" y="56885"/>
                    </a:cubicBezTo>
                    <a:cubicBezTo>
                      <a:pt x="366017" y="56345"/>
                      <a:pt x="366017" y="56345"/>
                      <a:pt x="366570" y="55805"/>
                    </a:cubicBezTo>
                    <a:cubicBezTo>
                      <a:pt x="367676" y="57964"/>
                      <a:pt x="369336" y="65520"/>
                      <a:pt x="368782" y="67139"/>
                    </a:cubicBezTo>
                    <a:cubicBezTo>
                      <a:pt x="368782" y="70917"/>
                      <a:pt x="364358" y="81712"/>
                      <a:pt x="362698" y="84950"/>
                    </a:cubicBezTo>
                    <a:cubicBezTo>
                      <a:pt x="360486" y="88728"/>
                      <a:pt x="351083" y="97904"/>
                      <a:pt x="351637" y="102221"/>
                    </a:cubicBezTo>
                    <a:cubicBezTo>
                      <a:pt x="352190" y="104380"/>
                      <a:pt x="354955" y="107079"/>
                      <a:pt x="357721" y="108158"/>
                    </a:cubicBezTo>
                    <a:cubicBezTo>
                      <a:pt x="392565" y="95745"/>
                      <a:pt x="385375" y="110857"/>
                      <a:pt x="397543" y="111397"/>
                    </a:cubicBezTo>
                    <a:cubicBezTo>
                      <a:pt x="398096" y="111397"/>
                      <a:pt x="400309" y="109778"/>
                      <a:pt x="400862" y="109238"/>
                    </a:cubicBezTo>
                    <a:cubicBezTo>
                      <a:pt x="402521" y="107079"/>
                      <a:pt x="402521" y="103841"/>
                      <a:pt x="404180" y="101682"/>
                    </a:cubicBezTo>
                    <a:cubicBezTo>
                      <a:pt x="408605" y="93586"/>
                      <a:pt x="414689" y="84411"/>
                      <a:pt x="424092" y="80632"/>
                    </a:cubicBezTo>
                    <a:cubicBezTo>
                      <a:pt x="425198" y="80093"/>
                      <a:pt x="426857" y="80632"/>
                      <a:pt x="428516" y="80632"/>
                    </a:cubicBezTo>
                    <a:cubicBezTo>
                      <a:pt x="429623" y="80093"/>
                      <a:pt x="430176" y="79013"/>
                      <a:pt x="431282" y="79013"/>
                    </a:cubicBezTo>
                    <a:cubicBezTo>
                      <a:pt x="434600" y="78474"/>
                      <a:pt x="437919" y="79553"/>
                      <a:pt x="441237" y="78474"/>
                    </a:cubicBezTo>
                    <a:cubicBezTo>
                      <a:pt x="447875" y="76315"/>
                      <a:pt x="463914" y="48789"/>
                      <a:pt x="469998" y="43392"/>
                    </a:cubicBezTo>
                    <a:cubicBezTo>
                      <a:pt x="471104" y="42312"/>
                      <a:pt x="475529" y="40693"/>
                      <a:pt x="477188" y="40153"/>
                    </a:cubicBezTo>
                    <a:cubicBezTo>
                      <a:pt x="478848" y="40153"/>
                      <a:pt x="480507" y="40693"/>
                      <a:pt x="482166" y="40693"/>
                    </a:cubicBezTo>
                    <a:cubicBezTo>
                      <a:pt x="483826" y="40693"/>
                      <a:pt x="502078" y="38534"/>
                      <a:pt x="495994" y="44471"/>
                    </a:cubicBezTo>
                    <a:cubicBezTo>
                      <a:pt x="491569" y="48789"/>
                      <a:pt x="481060" y="45011"/>
                      <a:pt x="477742" y="48249"/>
                    </a:cubicBezTo>
                    <a:lnTo>
                      <a:pt x="478295" y="52027"/>
                    </a:lnTo>
                    <a:cubicBezTo>
                      <a:pt x="478848" y="52567"/>
                      <a:pt x="480507" y="53646"/>
                      <a:pt x="481613" y="53646"/>
                    </a:cubicBezTo>
                    <a:cubicBezTo>
                      <a:pt x="482719" y="53646"/>
                      <a:pt x="486591" y="52027"/>
                      <a:pt x="488250" y="52027"/>
                    </a:cubicBezTo>
                    <a:cubicBezTo>
                      <a:pt x="491569" y="51487"/>
                      <a:pt x="502631" y="51487"/>
                      <a:pt x="504843" y="52567"/>
                    </a:cubicBezTo>
                    <a:cubicBezTo>
                      <a:pt x="505396" y="52567"/>
                      <a:pt x="513139" y="63901"/>
                      <a:pt x="518670" y="66600"/>
                    </a:cubicBezTo>
                    <a:cubicBezTo>
                      <a:pt x="523095" y="68219"/>
                      <a:pt x="546325" y="75775"/>
                      <a:pt x="550197" y="75775"/>
                    </a:cubicBezTo>
                    <a:cubicBezTo>
                      <a:pt x="552409" y="76315"/>
                      <a:pt x="553515" y="72537"/>
                      <a:pt x="556281" y="75775"/>
                    </a:cubicBezTo>
                    <a:cubicBezTo>
                      <a:pt x="556834" y="76315"/>
                      <a:pt x="557387" y="78474"/>
                      <a:pt x="557940" y="79553"/>
                    </a:cubicBezTo>
                    <a:cubicBezTo>
                      <a:pt x="558493" y="81172"/>
                      <a:pt x="560152" y="82791"/>
                      <a:pt x="560705" y="84411"/>
                    </a:cubicBezTo>
                    <a:cubicBezTo>
                      <a:pt x="562918" y="89808"/>
                      <a:pt x="563471" y="95745"/>
                      <a:pt x="566236" y="100602"/>
                    </a:cubicBezTo>
                    <a:cubicBezTo>
                      <a:pt x="567342" y="102221"/>
                      <a:pt x="576192" y="114635"/>
                      <a:pt x="577298" y="115175"/>
                    </a:cubicBezTo>
                    <a:lnTo>
                      <a:pt x="579510" y="116254"/>
                    </a:lnTo>
                    <a:cubicBezTo>
                      <a:pt x="580064" y="116794"/>
                      <a:pt x="597209" y="118953"/>
                      <a:pt x="599422" y="119493"/>
                    </a:cubicBezTo>
                    <a:lnTo>
                      <a:pt x="599422" y="126509"/>
                    </a:lnTo>
                    <a:lnTo>
                      <a:pt x="611590" y="165909"/>
                    </a:lnTo>
                    <a:lnTo>
                      <a:pt x="614908" y="176703"/>
                    </a:lnTo>
                    <a:lnTo>
                      <a:pt x="611590" y="199372"/>
                    </a:lnTo>
                    <a:cubicBezTo>
                      <a:pt x="607718" y="204769"/>
                      <a:pt x="599975" y="207467"/>
                      <a:pt x="599422" y="214484"/>
                    </a:cubicBezTo>
                    <a:cubicBezTo>
                      <a:pt x="599422" y="216103"/>
                      <a:pt x="600528" y="217182"/>
                      <a:pt x="601081" y="218802"/>
                    </a:cubicBezTo>
                    <a:cubicBezTo>
                      <a:pt x="601634" y="220961"/>
                      <a:pt x="601081" y="223119"/>
                      <a:pt x="601634" y="225278"/>
                    </a:cubicBezTo>
                    <a:cubicBezTo>
                      <a:pt x="604400" y="231755"/>
                      <a:pt x="637032" y="241470"/>
                      <a:pt x="639798" y="250645"/>
                    </a:cubicBezTo>
                    <a:cubicBezTo>
                      <a:pt x="643669" y="260900"/>
                      <a:pt x="636479" y="273314"/>
                      <a:pt x="639798" y="283568"/>
                    </a:cubicBezTo>
                    <a:cubicBezTo>
                      <a:pt x="641457" y="288426"/>
                      <a:pt x="650306" y="290585"/>
                      <a:pt x="652519" y="294363"/>
                    </a:cubicBezTo>
                    <a:cubicBezTo>
                      <a:pt x="654731" y="298681"/>
                      <a:pt x="648094" y="305157"/>
                      <a:pt x="655284" y="307856"/>
                    </a:cubicBezTo>
                    <a:lnTo>
                      <a:pt x="648647" y="344557"/>
                    </a:lnTo>
                    <a:lnTo>
                      <a:pt x="660262" y="361828"/>
                    </a:lnTo>
                    <a:lnTo>
                      <a:pt x="659156" y="371543"/>
                    </a:lnTo>
                    <a:lnTo>
                      <a:pt x="678514" y="385036"/>
                    </a:lnTo>
                    <a:lnTo>
                      <a:pt x="685151" y="417960"/>
                    </a:lnTo>
                    <a:lnTo>
                      <a:pt x="675748" y="450343"/>
                    </a:lnTo>
                    <a:lnTo>
                      <a:pt x="673536" y="457359"/>
                    </a:lnTo>
                    <a:lnTo>
                      <a:pt x="667452" y="460058"/>
                    </a:lnTo>
                    <a:lnTo>
                      <a:pt x="657496" y="453042"/>
                    </a:lnTo>
                    <a:lnTo>
                      <a:pt x="658603" y="441707"/>
                    </a:lnTo>
                    <a:lnTo>
                      <a:pt x="643116" y="436310"/>
                    </a:lnTo>
                    <a:lnTo>
                      <a:pt x="635373" y="438469"/>
                    </a:lnTo>
                    <a:lnTo>
                      <a:pt x="630395" y="443866"/>
                    </a:lnTo>
                    <a:lnTo>
                      <a:pt x="639798" y="454121"/>
                    </a:lnTo>
                    <a:lnTo>
                      <a:pt x="606612" y="470852"/>
                    </a:lnTo>
                    <a:lnTo>
                      <a:pt x="600528" y="482187"/>
                    </a:lnTo>
                    <a:lnTo>
                      <a:pt x="582276" y="484885"/>
                    </a:lnTo>
                    <a:lnTo>
                      <a:pt x="577298" y="493521"/>
                    </a:lnTo>
                    <a:lnTo>
                      <a:pt x="565683" y="492981"/>
                    </a:lnTo>
                    <a:lnTo>
                      <a:pt x="560705" y="504855"/>
                    </a:lnTo>
                    <a:lnTo>
                      <a:pt x="544666" y="508633"/>
                    </a:lnTo>
                    <a:lnTo>
                      <a:pt x="534710" y="521047"/>
                    </a:lnTo>
                    <a:lnTo>
                      <a:pt x="512586" y="522126"/>
                    </a:lnTo>
                    <a:lnTo>
                      <a:pt x="495994" y="533460"/>
                    </a:lnTo>
                    <a:lnTo>
                      <a:pt x="490463" y="543175"/>
                    </a:lnTo>
                    <a:lnTo>
                      <a:pt x="474423" y="532921"/>
                    </a:lnTo>
                    <a:lnTo>
                      <a:pt x="475529" y="544795"/>
                    </a:lnTo>
                    <a:lnTo>
                      <a:pt x="481060" y="556129"/>
                    </a:lnTo>
                    <a:lnTo>
                      <a:pt x="485485" y="560986"/>
                    </a:lnTo>
                    <a:lnTo>
                      <a:pt x="506502" y="584734"/>
                    </a:lnTo>
                    <a:lnTo>
                      <a:pt x="498759" y="605244"/>
                    </a:lnTo>
                    <a:lnTo>
                      <a:pt x="522542" y="645183"/>
                    </a:lnTo>
                    <a:lnTo>
                      <a:pt x="544113" y="647342"/>
                    </a:lnTo>
                    <a:lnTo>
                      <a:pt x="566789" y="668391"/>
                    </a:lnTo>
                    <a:lnTo>
                      <a:pt x="572873" y="673788"/>
                    </a:lnTo>
                    <a:lnTo>
                      <a:pt x="587254" y="682964"/>
                    </a:lnTo>
                    <a:lnTo>
                      <a:pt x="612696" y="694298"/>
                    </a:lnTo>
                    <a:lnTo>
                      <a:pt x="622099" y="704013"/>
                    </a:lnTo>
                    <a:lnTo>
                      <a:pt x="620439" y="720744"/>
                    </a:lnTo>
                    <a:lnTo>
                      <a:pt x="615461" y="737476"/>
                    </a:lnTo>
                    <a:cubicBezTo>
                      <a:pt x="607165" y="733698"/>
                      <a:pt x="600528" y="732079"/>
                      <a:pt x="591125" y="729920"/>
                    </a:cubicBezTo>
                    <a:cubicBezTo>
                      <a:pt x="590572" y="739635"/>
                      <a:pt x="591679" y="751509"/>
                      <a:pt x="582829" y="757985"/>
                    </a:cubicBezTo>
                    <a:cubicBezTo>
                      <a:pt x="579510" y="760684"/>
                      <a:pt x="574533" y="761224"/>
                      <a:pt x="570661" y="763382"/>
                    </a:cubicBezTo>
                    <a:cubicBezTo>
                      <a:pt x="562918" y="767161"/>
                      <a:pt x="559046" y="770939"/>
                      <a:pt x="550750" y="774177"/>
                    </a:cubicBezTo>
                    <a:lnTo>
                      <a:pt x="544666" y="785511"/>
                    </a:lnTo>
                    <a:lnTo>
                      <a:pt x="544666" y="794686"/>
                    </a:lnTo>
                    <a:lnTo>
                      <a:pt x="550750" y="802782"/>
                    </a:lnTo>
                    <a:lnTo>
                      <a:pt x="566789" y="821133"/>
                    </a:lnTo>
                    <a:lnTo>
                      <a:pt x="561258" y="835166"/>
                    </a:lnTo>
                    <a:lnTo>
                      <a:pt x="573426" y="836245"/>
                    </a:lnTo>
                    <a:lnTo>
                      <a:pt x="570661" y="856215"/>
                    </a:lnTo>
                    <a:lnTo>
                      <a:pt x="564577" y="864850"/>
                    </a:lnTo>
                    <a:lnTo>
                      <a:pt x="553515" y="859993"/>
                    </a:lnTo>
                    <a:lnTo>
                      <a:pt x="545772" y="846500"/>
                    </a:lnTo>
                    <a:lnTo>
                      <a:pt x="530838" y="849198"/>
                    </a:lnTo>
                    <a:lnTo>
                      <a:pt x="526967" y="849738"/>
                    </a:lnTo>
                    <a:lnTo>
                      <a:pt x="521436" y="842182"/>
                    </a:lnTo>
                    <a:lnTo>
                      <a:pt x="499865" y="843262"/>
                    </a:lnTo>
                    <a:cubicBezTo>
                      <a:pt x="498759" y="846500"/>
                      <a:pt x="495994" y="851897"/>
                      <a:pt x="494334" y="855135"/>
                    </a:cubicBezTo>
                    <a:lnTo>
                      <a:pt x="464467" y="858913"/>
                    </a:lnTo>
                    <a:lnTo>
                      <a:pt x="445662" y="868089"/>
                    </a:lnTo>
                    <a:lnTo>
                      <a:pt x="432941" y="880502"/>
                    </a:lnTo>
                    <a:lnTo>
                      <a:pt x="404180" y="886439"/>
                    </a:lnTo>
                    <a:lnTo>
                      <a:pt x="392565" y="871327"/>
                    </a:lnTo>
                    <a:lnTo>
                      <a:pt x="382610" y="870248"/>
                    </a:lnTo>
                    <a:lnTo>
                      <a:pt x="374866" y="865930"/>
                    </a:lnTo>
                    <a:lnTo>
                      <a:pt x="368782" y="866470"/>
                    </a:lnTo>
                    <a:lnTo>
                      <a:pt x="361592" y="869708"/>
                    </a:lnTo>
                    <a:lnTo>
                      <a:pt x="359933" y="883741"/>
                    </a:lnTo>
                    <a:lnTo>
                      <a:pt x="341681" y="897234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8" name="Freeform 1090">
                <a:extLst>
                  <a:ext uri="{FF2B5EF4-FFF2-40B4-BE49-F238E27FC236}">
                    <a16:creationId xmlns:a16="http://schemas.microsoft.com/office/drawing/2014/main" id="{DC0BCF11-F121-42FD-A19D-4FBD1289D39A}"/>
                  </a:ext>
                </a:extLst>
              </p:cNvPr>
              <p:cNvSpPr/>
              <p:nvPr/>
            </p:nvSpPr>
            <p:spPr>
              <a:xfrm>
                <a:off x="6530183" y="3774887"/>
                <a:ext cx="526543" cy="299546"/>
              </a:xfrm>
              <a:custGeom>
                <a:avLst/>
                <a:gdLst>
                  <a:gd name="connsiteX0" fmla="*/ 395281 w 526543"/>
                  <a:gd name="connsiteY0" fmla="*/ 256565 h 299546"/>
                  <a:gd name="connsiteX1" fmla="*/ 435657 w 526543"/>
                  <a:gd name="connsiteY1" fmla="*/ 256026 h 299546"/>
                  <a:gd name="connsiteX2" fmla="*/ 457228 w 526543"/>
                  <a:gd name="connsiteY2" fmla="*/ 249009 h 299546"/>
                  <a:gd name="connsiteX3" fmla="*/ 470502 w 526543"/>
                  <a:gd name="connsiteY3" fmla="*/ 251168 h 299546"/>
                  <a:gd name="connsiteX4" fmla="*/ 485435 w 526543"/>
                  <a:gd name="connsiteY4" fmla="*/ 227420 h 299546"/>
                  <a:gd name="connsiteX5" fmla="*/ 486542 w 526543"/>
                  <a:gd name="connsiteY5" fmla="*/ 217705 h 299546"/>
                  <a:gd name="connsiteX6" fmla="*/ 482117 w 526543"/>
                  <a:gd name="connsiteY6" fmla="*/ 195577 h 299546"/>
                  <a:gd name="connsiteX7" fmla="*/ 488201 w 526543"/>
                  <a:gd name="connsiteY7" fmla="*/ 171289 h 299546"/>
                  <a:gd name="connsiteX8" fmla="*/ 525811 w 526543"/>
                  <a:gd name="connsiteY8" fmla="*/ 127032 h 299546"/>
                  <a:gd name="connsiteX9" fmla="*/ 508665 w 526543"/>
                  <a:gd name="connsiteY9" fmla="*/ 116237 h 299546"/>
                  <a:gd name="connsiteX10" fmla="*/ 502028 w 526543"/>
                  <a:gd name="connsiteY10" fmla="*/ 103284 h 299546"/>
                  <a:gd name="connsiteX11" fmla="*/ 500369 w 526543"/>
                  <a:gd name="connsiteY11" fmla="*/ 95728 h 299546"/>
                  <a:gd name="connsiteX12" fmla="*/ 476586 w 526543"/>
                  <a:gd name="connsiteY12" fmla="*/ 97347 h 299546"/>
                  <a:gd name="connsiteX13" fmla="*/ 461652 w 526543"/>
                  <a:gd name="connsiteY13" fmla="*/ 88172 h 299546"/>
                  <a:gd name="connsiteX14" fmla="*/ 451697 w 526543"/>
                  <a:gd name="connsiteY14" fmla="*/ 94648 h 299546"/>
                  <a:gd name="connsiteX15" fmla="*/ 441741 w 526543"/>
                  <a:gd name="connsiteY15" fmla="*/ 92489 h 299546"/>
                  <a:gd name="connsiteX16" fmla="*/ 426255 w 526543"/>
                  <a:gd name="connsiteY16" fmla="*/ 80076 h 299546"/>
                  <a:gd name="connsiteX17" fmla="*/ 432339 w 526543"/>
                  <a:gd name="connsiteY17" fmla="*/ 71980 h 299546"/>
                  <a:gd name="connsiteX18" fmla="*/ 429020 w 526543"/>
                  <a:gd name="connsiteY18" fmla="*/ 61185 h 299546"/>
                  <a:gd name="connsiteX19" fmla="*/ 415746 w 526543"/>
                  <a:gd name="connsiteY19" fmla="*/ 69281 h 299546"/>
                  <a:gd name="connsiteX20" fmla="*/ 399153 w 526543"/>
                  <a:gd name="connsiteY20" fmla="*/ 65503 h 299546"/>
                  <a:gd name="connsiteX21" fmla="*/ 384773 w 526543"/>
                  <a:gd name="connsiteY21" fmla="*/ 56868 h 299546"/>
                  <a:gd name="connsiteX22" fmla="*/ 363202 w 526543"/>
                  <a:gd name="connsiteY22" fmla="*/ 54169 h 299546"/>
                  <a:gd name="connsiteX23" fmla="*/ 359884 w 526543"/>
                  <a:gd name="connsiteY23" fmla="*/ 62265 h 299546"/>
                  <a:gd name="connsiteX24" fmla="*/ 372605 w 526543"/>
                  <a:gd name="connsiteY24" fmla="*/ 68202 h 299546"/>
                  <a:gd name="connsiteX25" fmla="*/ 372605 w 526543"/>
                  <a:gd name="connsiteY25" fmla="*/ 73059 h 299546"/>
                  <a:gd name="connsiteX26" fmla="*/ 363202 w 526543"/>
                  <a:gd name="connsiteY26" fmla="*/ 80076 h 299546"/>
                  <a:gd name="connsiteX27" fmla="*/ 357671 w 526543"/>
                  <a:gd name="connsiteY27" fmla="*/ 90330 h 299546"/>
                  <a:gd name="connsiteX28" fmla="*/ 348822 w 526543"/>
                  <a:gd name="connsiteY28" fmla="*/ 88172 h 299546"/>
                  <a:gd name="connsiteX29" fmla="*/ 325039 w 526543"/>
                  <a:gd name="connsiteY29" fmla="*/ 65503 h 299546"/>
                  <a:gd name="connsiteX30" fmla="*/ 312871 w 526543"/>
                  <a:gd name="connsiteY30" fmla="*/ 63344 h 299546"/>
                  <a:gd name="connsiteX31" fmla="*/ 313977 w 526543"/>
                  <a:gd name="connsiteY31" fmla="*/ 55248 h 299546"/>
                  <a:gd name="connsiteX32" fmla="*/ 326145 w 526543"/>
                  <a:gd name="connsiteY32" fmla="*/ 39057 h 299546"/>
                  <a:gd name="connsiteX33" fmla="*/ 318955 w 526543"/>
                  <a:gd name="connsiteY33" fmla="*/ 29342 h 299546"/>
                  <a:gd name="connsiteX34" fmla="*/ 306234 w 526543"/>
                  <a:gd name="connsiteY34" fmla="*/ 35279 h 299546"/>
                  <a:gd name="connsiteX35" fmla="*/ 244840 w 526543"/>
                  <a:gd name="connsiteY35" fmla="*/ 27183 h 299546"/>
                  <a:gd name="connsiteX36" fmla="*/ 234885 w 526543"/>
                  <a:gd name="connsiteY36" fmla="*/ 17468 h 299546"/>
                  <a:gd name="connsiteX37" fmla="*/ 228248 w 526543"/>
                  <a:gd name="connsiteY37" fmla="*/ -343 h 299546"/>
                  <a:gd name="connsiteX38" fmla="*/ 213314 w 526543"/>
                  <a:gd name="connsiteY38" fmla="*/ 3975 h 299546"/>
                  <a:gd name="connsiteX39" fmla="*/ 211655 w 526543"/>
                  <a:gd name="connsiteY39" fmla="*/ 17468 h 299546"/>
                  <a:gd name="connsiteX40" fmla="*/ 200593 w 526543"/>
                  <a:gd name="connsiteY40" fmla="*/ 18547 h 299546"/>
                  <a:gd name="connsiteX41" fmla="*/ 198381 w 526543"/>
                  <a:gd name="connsiteY41" fmla="*/ 25564 h 299546"/>
                  <a:gd name="connsiteX42" fmla="*/ 192297 w 526543"/>
                  <a:gd name="connsiteY42" fmla="*/ 28262 h 299546"/>
                  <a:gd name="connsiteX43" fmla="*/ 182341 w 526543"/>
                  <a:gd name="connsiteY43" fmla="*/ 21246 h 299546"/>
                  <a:gd name="connsiteX44" fmla="*/ 183447 w 526543"/>
                  <a:gd name="connsiteY44" fmla="*/ 9912 h 299546"/>
                  <a:gd name="connsiteX45" fmla="*/ 167961 w 526543"/>
                  <a:gd name="connsiteY45" fmla="*/ 4514 h 299546"/>
                  <a:gd name="connsiteX46" fmla="*/ 160217 w 526543"/>
                  <a:gd name="connsiteY46" fmla="*/ 6673 h 299546"/>
                  <a:gd name="connsiteX47" fmla="*/ 155239 w 526543"/>
                  <a:gd name="connsiteY47" fmla="*/ 12071 h 299546"/>
                  <a:gd name="connsiteX48" fmla="*/ 164642 w 526543"/>
                  <a:gd name="connsiteY48" fmla="*/ 22325 h 299546"/>
                  <a:gd name="connsiteX49" fmla="*/ 131457 w 526543"/>
                  <a:gd name="connsiteY49" fmla="*/ 39057 h 299546"/>
                  <a:gd name="connsiteX50" fmla="*/ 125373 w 526543"/>
                  <a:gd name="connsiteY50" fmla="*/ 50391 h 299546"/>
                  <a:gd name="connsiteX51" fmla="*/ 107120 w 526543"/>
                  <a:gd name="connsiteY51" fmla="*/ 53090 h 299546"/>
                  <a:gd name="connsiteX52" fmla="*/ 102143 w 526543"/>
                  <a:gd name="connsiteY52" fmla="*/ 61725 h 299546"/>
                  <a:gd name="connsiteX53" fmla="*/ 90528 w 526543"/>
                  <a:gd name="connsiteY53" fmla="*/ 61185 h 299546"/>
                  <a:gd name="connsiteX54" fmla="*/ 85550 w 526543"/>
                  <a:gd name="connsiteY54" fmla="*/ 73059 h 299546"/>
                  <a:gd name="connsiteX55" fmla="*/ 69510 w 526543"/>
                  <a:gd name="connsiteY55" fmla="*/ 76837 h 299546"/>
                  <a:gd name="connsiteX56" fmla="*/ 59555 w 526543"/>
                  <a:gd name="connsiteY56" fmla="*/ 89251 h 299546"/>
                  <a:gd name="connsiteX57" fmla="*/ 37431 w 526543"/>
                  <a:gd name="connsiteY57" fmla="*/ 90330 h 299546"/>
                  <a:gd name="connsiteX58" fmla="*/ 20838 w 526543"/>
                  <a:gd name="connsiteY58" fmla="*/ 101665 h 299546"/>
                  <a:gd name="connsiteX59" fmla="*/ 15307 w 526543"/>
                  <a:gd name="connsiteY59" fmla="*/ 111380 h 299546"/>
                  <a:gd name="connsiteX60" fmla="*/ -732 w 526543"/>
                  <a:gd name="connsiteY60" fmla="*/ 101125 h 299546"/>
                  <a:gd name="connsiteX61" fmla="*/ 374 w 526543"/>
                  <a:gd name="connsiteY61" fmla="*/ 112999 h 299546"/>
                  <a:gd name="connsiteX62" fmla="*/ 5905 w 526543"/>
                  <a:gd name="connsiteY62" fmla="*/ 124333 h 299546"/>
                  <a:gd name="connsiteX63" fmla="*/ 10329 w 526543"/>
                  <a:gd name="connsiteY63" fmla="*/ 129191 h 299546"/>
                  <a:gd name="connsiteX64" fmla="*/ 31347 w 526543"/>
                  <a:gd name="connsiteY64" fmla="*/ 152938 h 299546"/>
                  <a:gd name="connsiteX65" fmla="*/ 23604 w 526543"/>
                  <a:gd name="connsiteY65" fmla="*/ 173448 h 299546"/>
                  <a:gd name="connsiteX66" fmla="*/ 47387 w 526543"/>
                  <a:gd name="connsiteY66" fmla="*/ 213387 h 299546"/>
                  <a:gd name="connsiteX67" fmla="*/ 68957 w 526543"/>
                  <a:gd name="connsiteY67" fmla="*/ 215546 h 299546"/>
                  <a:gd name="connsiteX68" fmla="*/ 91634 w 526543"/>
                  <a:gd name="connsiteY68" fmla="*/ 236596 h 299546"/>
                  <a:gd name="connsiteX69" fmla="*/ 97718 w 526543"/>
                  <a:gd name="connsiteY69" fmla="*/ 241993 h 299546"/>
                  <a:gd name="connsiteX70" fmla="*/ 112098 w 526543"/>
                  <a:gd name="connsiteY70" fmla="*/ 251168 h 299546"/>
                  <a:gd name="connsiteX71" fmla="*/ 137541 w 526543"/>
                  <a:gd name="connsiteY71" fmla="*/ 262502 h 299546"/>
                  <a:gd name="connsiteX72" fmla="*/ 146943 w 526543"/>
                  <a:gd name="connsiteY72" fmla="*/ 272217 h 299546"/>
                  <a:gd name="connsiteX73" fmla="*/ 164642 w 526543"/>
                  <a:gd name="connsiteY73" fmla="*/ 285171 h 299546"/>
                  <a:gd name="connsiteX74" fmla="*/ 166301 w 526543"/>
                  <a:gd name="connsiteY74" fmla="*/ 293266 h 299546"/>
                  <a:gd name="connsiteX75" fmla="*/ 185106 w 526543"/>
                  <a:gd name="connsiteY75" fmla="*/ 299203 h 299546"/>
                  <a:gd name="connsiteX76" fmla="*/ 193956 w 526543"/>
                  <a:gd name="connsiteY76" fmla="*/ 287869 h 299546"/>
                  <a:gd name="connsiteX77" fmla="*/ 212761 w 526543"/>
                  <a:gd name="connsiteY77" fmla="*/ 292187 h 299546"/>
                  <a:gd name="connsiteX78" fmla="*/ 214973 w 526543"/>
                  <a:gd name="connsiteY78" fmla="*/ 288409 h 299546"/>
                  <a:gd name="connsiteX79" fmla="*/ 224929 w 526543"/>
                  <a:gd name="connsiteY79" fmla="*/ 266280 h 299546"/>
                  <a:gd name="connsiteX80" fmla="*/ 235438 w 526543"/>
                  <a:gd name="connsiteY80" fmla="*/ 267360 h 299546"/>
                  <a:gd name="connsiteX81" fmla="*/ 243181 w 526543"/>
                  <a:gd name="connsiteY81" fmla="*/ 240913 h 299546"/>
                  <a:gd name="connsiteX82" fmla="*/ 310658 w 526543"/>
                  <a:gd name="connsiteY82" fmla="*/ 251708 h 299546"/>
                  <a:gd name="connsiteX83" fmla="*/ 321720 w 526543"/>
                  <a:gd name="connsiteY83" fmla="*/ 258184 h 299546"/>
                  <a:gd name="connsiteX84" fmla="*/ 348269 w 526543"/>
                  <a:gd name="connsiteY84" fmla="*/ 260343 h 299546"/>
                  <a:gd name="connsiteX85" fmla="*/ 356565 w 526543"/>
                  <a:gd name="connsiteY85" fmla="*/ 249009 h 299546"/>
                  <a:gd name="connsiteX86" fmla="*/ 372052 w 526543"/>
                  <a:gd name="connsiteY86" fmla="*/ 250089 h 299546"/>
                  <a:gd name="connsiteX87" fmla="*/ 375923 w 526543"/>
                  <a:gd name="connsiteY87" fmla="*/ 253867 h 299546"/>
                  <a:gd name="connsiteX88" fmla="*/ 395281 w 526543"/>
                  <a:gd name="connsiteY88" fmla="*/ 256565 h 299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526543" h="299546">
                    <a:moveTo>
                      <a:pt x="395281" y="256565"/>
                    </a:moveTo>
                    <a:lnTo>
                      <a:pt x="435657" y="256026"/>
                    </a:lnTo>
                    <a:lnTo>
                      <a:pt x="457228" y="249009"/>
                    </a:lnTo>
                    <a:lnTo>
                      <a:pt x="470502" y="251168"/>
                    </a:lnTo>
                    <a:lnTo>
                      <a:pt x="485435" y="227420"/>
                    </a:lnTo>
                    <a:lnTo>
                      <a:pt x="486542" y="217705"/>
                    </a:lnTo>
                    <a:lnTo>
                      <a:pt x="482117" y="195577"/>
                    </a:lnTo>
                    <a:lnTo>
                      <a:pt x="488201" y="171289"/>
                    </a:lnTo>
                    <a:lnTo>
                      <a:pt x="525811" y="127032"/>
                    </a:lnTo>
                    <a:lnTo>
                      <a:pt x="508665" y="116237"/>
                    </a:lnTo>
                    <a:lnTo>
                      <a:pt x="502028" y="103284"/>
                    </a:lnTo>
                    <a:lnTo>
                      <a:pt x="500369" y="95728"/>
                    </a:lnTo>
                    <a:lnTo>
                      <a:pt x="476586" y="97347"/>
                    </a:lnTo>
                    <a:lnTo>
                      <a:pt x="461652" y="88172"/>
                    </a:lnTo>
                    <a:lnTo>
                      <a:pt x="451697" y="94648"/>
                    </a:lnTo>
                    <a:lnTo>
                      <a:pt x="441741" y="92489"/>
                    </a:lnTo>
                    <a:lnTo>
                      <a:pt x="426255" y="80076"/>
                    </a:lnTo>
                    <a:lnTo>
                      <a:pt x="432339" y="71980"/>
                    </a:lnTo>
                    <a:lnTo>
                      <a:pt x="429020" y="61185"/>
                    </a:lnTo>
                    <a:lnTo>
                      <a:pt x="415746" y="69281"/>
                    </a:lnTo>
                    <a:lnTo>
                      <a:pt x="399153" y="65503"/>
                    </a:lnTo>
                    <a:lnTo>
                      <a:pt x="384773" y="56868"/>
                    </a:lnTo>
                    <a:lnTo>
                      <a:pt x="363202" y="54169"/>
                    </a:lnTo>
                    <a:lnTo>
                      <a:pt x="359884" y="62265"/>
                    </a:lnTo>
                    <a:lnTo>
                      <a:pt x="372605" y="68202"/>
                    </a:lnTo>
                    <a:lnTo>
                      <a:pt x="372605" y="73059"/>
                    </a:lnTo>
                    <a:lnTo>
                      <a:pt x="363202" y="80076"/>
                    </a:lnTo>
                    <a:lnTo>
                      <a:pt x="357671" y="90330"/>
                    </a:lnTo>
                    <a:lnTo>
                      <a:pt x="348822" y="88172"/>
                    </a:lnTo>
                    <a:lnTo>
                      <a:pt x="325039" y="65503"/>
                    </a:lnTo>
                    <a:lnTo>
                      <a:pt x="312871" y="63344"/>
                    </a:lnTo>
                    <a:lnTo>
                      <a:pt x="313977" y="55248"/>
                    </a:lnTo>
                    <a:lnTo>
                      <a:pt x="326145" y="39057"/>
                    </a:lnTo>
                    <a:lnTo>
                      <a:pt x="318955" y="29342"/>
                    </a:lnTo>
                    <a:lnTo>
                      <a:pt x="306234" y="35279"/>
                    </a:lnTo>
                    <a:lnTo>
                      <a:pt x="244840" y="27183"/>
                    </a:lnTo>
                    <a:lnTo>
                      <a:pt x="234885" y="17468"/>
                    </a:lnTo>
                    <a:lnTo>
                      <a:pt x="228248" y="-343"/>
                    </a:lnTo>
                    <a:lnTo>
                      <a:pt x="213314" y="3975"/>
                    </a:lnTo>
                    <a:lnTo>
                      <a:pt x="211655" y="17468"/>
                    </a:lnTo>
                    <a:lnTo>
                      <a:pt x="200593" y="18547"/>
                    </a:lnTo>
                    <a:lnTo>
                      <a:pt x="198381" y="25564"/>
                    </a:lnTo>
                    <a:lnTo>
                      <a:pt x="192297" y="28262"/>
                    </a:lnTo>
                    <a:lnTo>
                      <a:pt x="182341" y="21246"/>
                    </a:lnTo>
                    <a:lnTo>
                      <a:pt x="183447" y="9912"/>
                    </a:lnTo>
                    <a:lnTo>
                      <a:pt x="167961" y="4514"/>
                    </a:lnTo>
                    <a:lnTo>
                      <a:pt x="160217" y="6673"/>
                    </a:lnTo>
                    <a:lnTo>
                      <a:pt x="155239" y="12071"/>
                    </a:lnTo>
                    <a:lnTo>
                      <a:pt x="164642" y="22325"/>
                    </a:lnTo>
                    <a:lnTo>
                      <a:pt x="131457" y="39057"/>
                    </a:lnTo>
                    <a:lnTo>
                      <a:pt x="125373" y="50391"/>
                    </a:lnTo>
                    <a:lnTo>
                      <a:pt x="107120" y="53090"/>
                    </a:lnTo>
                    <a:lnTo>
                      <a:pt x="102143" y="61725"/>
                    </a:lnTo>
                    <a:lnTo>
                      <a:pt x="90528" y="61185"/>
                    </a:lnTo>
                    <a:lnTo>
                      <a:pt x="85550" y="73059"/>
                    </a:lnTo>
                    <a:lnTo>
                      <a:pt x="69510" y="76837"/>
                    </a:lnTo>
                    <a:lnTo>
                      <a:pt x="59555" y="89251"/>
                    </a:lnTo>
                    <a:lnTo>
                      <a:pt x="37431" y="90330"/>
                    </a:lnTo>
                    <a:lnTo>
                      <a:pt x="20838" y="101665"/>
                    </a:lnTo>
                    <a:lnTo>
                      <a:pt x="15307" y="111380"/>
                    </a:lnTo>
                    <a:lnTo>
                      <a:pt x="-732" y="101125"/>
                    </a:lnTo>
                    <a:lnTo>
                      <a:pt x="374" y="112999"/>
                    </a:lnTo>
                    <a:lnTo>
                      <a:pt x="5905" y="124333"/>
                    </a:lnTo>
                    <a:lnTo>
                      <a:pt x="10329" y="129191"/>
                    </a:lnTo>
                    <a:lnTo>
                      <a:pt x="31347" y="152938"/>
                    </a:lnTo>
                    <a:lnTo>
                      <a:pt x="23604" y="173448"/>
                    </a:lnTo>
                    <a:lnTo>
                      <a:pt x="47387" y="213387"/>
                    </a:lnTo>
                    <a:lnTo>
                      <a:pt x="68957" y="215546"/>
                    </a:lnTo>
                    <a:lnTo>
                      <a:pt x="91634" y="236596"/>
                    </a:lnTo>
                    <a:lnTo>
                      <a:pt x="97718" y="241993"/>
                    </a:lnTo>
                    <a:lnTo>
                      <a:pt x="112098" y="251168"/>
                    </a:lnTo>
                    <a:lnTo>
                      <a:pt x="137541" y="262502"/>
                    </a:lnTo>
                    <a:lnTo>
                      <a:pt x="146943" y="272217"/>
                    </a:lnTo>
                    <a:lnTo>
                      <a:pt x="164642" y="285171"/>
                    </a:lnTo>
                    <a:lnTo>
                      <a:pt x="166301" y="293266"/>
                    </a:lnTo>
                    <a:lnTo>
                      <a:pt x="185106" y="299203"/>
                    </a:lnTo>
                    <a:lnTo>
                      <a:pt x="193956" y="287869"/>
                    </a:lnTo>
                    <a:lnTo>
                      <a:pt x="212761" y="292187"/>
                    </a:lnTo>
                    <a:lnTo>
                      <a:pt x="214973" y="288409"/>
                    </a:lnTo>
                    <a:lnTo>
                      <a:pt x="224929" y="266280"/>
                    </a:lnTo>
                    <a:lnTo>
                      <a:pt x="235438" y="267360"/>
                    </a:lnTo>
                    <a:lnTo>
                      <a:pt x="243181" y="240913"/>
                    </a:lnTo>
                    <a:lnTo>
                      <a:pt x="310658" y="251708"/>
                    </a:lnTo>
                    <a:lnTo>
                      <a:pt x="321720" y="258184"/>
                    </a:lnTo>
                    <a:lnTo>
                      <a:pt x="348269" y="260343"/>
                    </a:lnTo>
                    <a:lnTo>
                      <a:pt x="356565" y="249009"/>
                    </a:lnTo>
                    <a:lnTo>
                      <a:pt x="372052" y="250089"/>
                    </a:lnTo>
                    <a:lnTo>
                      <a:pt x="375923" y="253867"/>
                    </a:lnTo>
                    <a:lnTo>
                      <a:pt x="395281" y="256565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9" name="Freeform 1091">
                <a:extLst>
                  <a:ext uri="{FF2B5EF4-FFF2-40B4-BE49-F238E27FC236}">
                    <a16:creationId xmlns:a16="http://schemas.microsoft.com/office/drawing/2014/main" id="{D0C165F8-2359-46C8-9F00-6EFD853B2667}"/>
                  </a:ext>
                </a:extLst>
              </p:cNvPr>
              <p:cNvSpPr/>
              <p:nvPr/>
            </p:nvSpPr>
            <p:spPr>
              <a:xfrm>
                <a:off x="8577729" y="5181373"/>
                <a:ext cx="189674" cy="181486"/>
              </a:xfrm>
              <a:custGeom>
                <a:avLst/>
                <a:gdLst>
                  <a:gd name="connsiteX0" fmla="*/ 170491 w 189674"/>
                  <a:gd name="connsiteY0" fmla="*/ 100446 h 181486"/>
                  <a:gd name="connsiteX1" fmla="*/ 155005 w 189674"/>
                  <a:gd name="connsiteY1" fmla="*/ 103685 h 181486"/>
                  <a:gd name="connsiteX2" fmla="*/ 150027 w 189674"/>
                  <a:gd name="connsiteY2" fmla="*/ 108542 h 181486"/>
                  <a:gd name="connsiteX3" fmla="*/ 134540 w 189674"/>
                  <a:gd name="connsiteY3" fmla="*/ 110701 h 181486"/>
                  <a:gd name="connsiteX4" fmla="*/ 120713 w 189674"/>
                  <a:gd name="connsiteY4" fmla="*/ 140386 h 181486"/>
                  <a:gd name="connsiteX5" fmla="*/ 111310 w 189674"/>
                  <a:gd name="connsiteY5" fmla="*/ 149022 h 181486"/>
                  <a:gd name="connsiteX6" fmla="*/ 91952 w 189674"/>
                  <a:gd name="connsiteY6" fmla="*/ 161435 h 181486"/>
                  <a:gd name="connsiteX7" fmla="*/ 85315 w 189674"/>
                  <a:gd name="connsiteY7" fmla="*/ 165753 h 181486"/>
                  <a:gd name="connsiteX8" fmla="*/ 83656 w 189674"/>
                  <a:gd name="connsiteY8" fmla="*/ 178706 h 181486"/>
                  <a:gd name="connsiteX9" fmla="*/ 78678 w 189674"/>
                  <a:gd name="connsiteY9" fmla="*/ 180865 h 181486"/>
                  <a:gd name="connsiteX10" fmla="*/ 70382 w 189674"/>
                  <a:gd name="connsiteY10" fmla="*/ 178167 h 181486"/>
                  <a:gd name="connsiteX11" fmla="*/ 67063 w 189674"/>
                  <a:gd name="connsiteY11" fmla="*/ 173849 h 181486"/>
                  <a:gd name="connsiteX12" fmla="*/ 56001 w 189674"/>
                  <a:gd name="connsiteY12" fmla="*/ 179246 h 181486"/>
                  <a:gd name="connsiteX13" fmla="*/ 27240 w 189674"/>
                  <a:gd name="connsiteY13" fmla="*/ 178167 h 181486"/>
                  <a:gd name="connsiteX14" fmla="*/ 18944 w 189674"/>
                  <a:gd name="connsiteY14" fmla="*/ 168991 h 181486"/>
                  <a:gd name="connsiteX15" fmla="*/ 9542 w 189674"/>
                  <a:gd name="connsiteY15" fmla="*/ 165753 h 181486"/>
                  <a:gd name="connsiteX16" fmla="*/ -967 w 189674"/>
                  <a:gd name="connsiteY16" fmla="*/ 146323 h 181486"/>
                  <a:gd name="connsiteX17" fmla="*/ -414 w 189674"/>
                  <a:gd name="connsiteY17" fmla="*/ 144164 h 181486"/>
                  <a:gd name="connsiteX18" fmla="*/ 13966 w 189674"/>
                  <a:gd name="connsiteY18" fmla="*/ 139307 h 181486"/>
                  <a:gd name="connsiteX19" fmla="*/ 30559 w 189674"/>
                  <a:gd name="connsiteY19" fmla="*/ 119877 h 181486"/>
                  <a:gd name="connsiteX20" fmla="*/ 51577 w 189674"/>
                  <a:gd name="connsiteY20" fmla="*/ 117178 h 181486"/>
                  <a:gd name="connsiteX21" fmla="*/ 53236 w 189674"/>
                  <a:gd name="connsiteY21" fmla="*/ 105304 h 181486"/>
                  <a:gd name="connsiteX22" fmla="*/ 52130 w 189674"/>
                  <a:gd name="connsiteY22" fmla="*/ 86953 h 181486"/>
                  <a:gd name="connsiteX23" fmla="*/ 72594 w 189674"/>
                  <a:gd name="connsiteY23" fmla="*/ 86953 h 181486"/>
                  <a:gd name="connsiteX24" fmla="*/ 78678 w 189674"/>
                  <a:gd name="connsiteY24" fmla="*/ 85874 h 181486"/>
                  <a:gd name="connsiteX25" fmla="*/ 119054 w 189674"/>
                  <a:gd name="connsiteY25" fmla="*/ 67523 h 181486"/>
                  <a:gd name="connsiteX26" fmla="*/ 132328 w 189674"/>
                  <a:gd name="connsiteY26" fmla="*/ 56189 h 181486"/>
                  <a:gd name="connsiteX27" fmla="*/ 137859 w 189674"/>
                  <a:gd name="connsiteY27" fmla="*/ 52411 h 181486"/>
                  <a:gd name="connsiteX28" fmla="*/ 145602 w 189674"/>
                  <a:gd name="connsiteY28" fmla="*/ 44315 h 181486"/>
                  <a:gd name="connsiteX29" fmla="*/ 146155 w 189674"/>
                  <a:gd name="connsiteY29" fmla="*/ 42156 h 181486"/>
                  <a:gd name="connsiteX30" fmla="*/ 158876 w 189674"/>
                  <a:gd name="connsiteY30" fmla="*/ 27584 h 181486"/>
                  <a:gd name="connsiteX31" fmla="*/ 181000 w 189674"/>
                  <a:gd name="connsiteY31" fmla="*/ 2217 h 181486"/>
                  <a:gd name="connsiteX32" fmla="*/ 188190 w 189674"/>
                  <a:gd name="connsiteY32" fmla="*/ 58 h 181486"/>
                  <a:gd name="connsiteX33" fmla="*/ 183766 w 189674"/>
                  <a:gd name="connsiteY33" fmla="*/ 13551 h 181486"/>
                  <a:gd name="connsiteX34" fmla="*/ 150580 w 189674"/>
                  <a:gd name="connsiteY34" fmla="*/ 59428 h 181486"/>
                  <a:gd name="connsiteX35" fmla="*/ 150027 w 189674"/>
                  <a:gd name="connsiteY35" fmla="*/ 85874 h 181486"/>
                  <a:gd name="connsiteX36" fmla="*/ 170491 w 189674"/>
                  <a:gd name="connsiteY36" fmla="*/ 100446 h 18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89674" h="181486">
                    <a:moveTo>
                      <a:pt x="170491" y="100446"/>
                    </a:moveTo>
                    <a:cubicBezTo>
                      <a:pt x="167173" y="101526"/>
                      <a:pt x="157770" y="102066"/>
                      <a:pt x="155005" y="103685"/>
                    </a:cubicBezTo>
                    <a:cubicBezTo>
                      <a:pt x="153345" y="104225"/>
                      <a:pt x="151686" y="108003"/>
                      <a:pt x="150027" y="108542"/>
                    </a:cubicBezTo>
                    <a:cubicBezTo>
                      <a:pt x="144496" y="110161"/>
                      <a:pt x="139518" y="105304"/>
                      <a:pt x="134540" y="110701"/>
                    </a:cubicBezTo>
                    <a:cubicBezTo>
                      <a:pt x="130116" y="115019"/>
                      <a:pt x="129009" y="131211"/>
                      <a:pt x="120713" y="140386"/>
                    </a:cubicBezTo>
                    <a:cubicBezTo>
                      <a:pt x="117948" y="143624"/>
                      <a:pt x="114629" y="146323"/>
                      <a:pt x="111310" y="149022"/>
                    </a:cubicBezTo>
                    <a:cubicBezTo>
                      <a:pt x="105226" y="153339"/>
                      <a:pt x="98589" y="157657"/>
                      <a:pt x="91952" y="161435"/>
                    </a:cubicBezTo>
                    <a:cubicBezTo>
                      <a:pt x="90293" y="163054"/>
                      <a:pt x="87528" y="164134"/>
                      <a:pt x="85315" y="165753"/>
                    </a:cubicBezTo>
                    <a:cubicBezTo>
                      <a:pt x="81444" y="169531"/>
                      <a:pt x="84762" y="176008"/>
                      <a:pt x="83656" y="178706"/>
                    </a:cubicBezTo>
                    <a:cubicBezTo>
                      <a:pt x="83103" y="179246"/>
                      <a:pt x="79784" y="180865"/>
                      <a:pt x="78678" y="180865"/>
                    </a:cubicBezTo>
                    <a:cubicBezTo>
                      <a:pt x="76466" y="181405"/>
                      <a:pt x="72041" y="179786"/>
                      <a:pt x="70382" y="178167"/>
                    </a:cubicBezTo>
                    <a:cubicBezTo>
                      <a:pt x="69275" y="177087"/>
                      <a:pt x="67616" y="174389"/>
                      <a:pt x="67063" y="173849"/>
                    </a:cubicBezTo>
                    <a:cubicBezTo>
                      <a:pt x="63191" y="172230"/>
                      <a:pt x="58767" y="178167"/>
                      <a:pt x="56001" y="179246"/>
                    </a:cubicBezTo>
                    <a:cubicBezTo>
                      <a:pt x="48811" y="181945"/>
                      <a:pt x="33878" y="180326"/>
                      <a:pt x="27240" y="178167"/>
                    </a:cubicBezTo>
                    <a:cubicBezTo>
                      <a:pt x="21710" y="176547"/>
                      <a:pt x="21710" y="171150"/>
                      <a:pt x="18944" y="168991"/>
                    </a:cubicBezTo>
                    <a:cubicBezTo>
                      <a:pt x="16179" y="167372"/>
                      <a:pt x="12307" y="167372"/>
                      <a:pt x="9542" y="165753"/>
                    </a:cubicBezTo>
                    <a:cubicBezTo>
                      <a:pt x="4011" y="161435"/>
                      <a:pt x="-414" y="152800"/>
                      <a:pt x="-967" y="146323"/>
                    </a:cubicBezTo>
                    <a:cubicBezTo>
                      <a:pt x="-967" y="145783"/>
                      <a:pt x="-967" y="144704"/>
                      <a:pt x="-414" y="144164"/>
                    </a:cubicBezTo>
                    <a:cubicBezTo>
                      <a:pt x="1245" y="140926"/>
                      <a:pt x="8435" y="145783"/>
                      <a:pt x="13966" y="139307"/>
                    </a:cubicBezTo>
                    <a:cubicBezTo>
                      <a:pt x="20603" y="132290"/>
                      <a:pt x="20603" y="125274"/>
                      <a:pt x="30559" y="119877"/>
                    </a:cubicBezTo>
                    <a:cubicBezTo>
                      <a:pt x="34984" y="117178"/>
                      <a:pt x="48811" y="119877"/>
                      <a:pt x="51577" y="117178"/>
                    </a:cubicBezTo>
                    <a:cubicBezTo>
                      <a:pt x="52683" y="113400"/>
                      <a:pt x="53236" y="109082"/>
                      <a:pt x="53236" y="105304"/>
                    </a:cubicBezTo>
                    <a:cubicBezTo>
                      <a:pt x="52683" y="100986"/>
                      <a:pt x="48811" y="90192"/>
                      <a:pt x="52130" y="86953"/>
                    </a:cubicBezTo>
                    <a:cubicBezTo>
                      <a:pt x="54342" y="84795"/>
                      <a:pt x="68722" y="86953"/>
                      <a:pt x="72594" y="86953"/>
                    </a:cubicBezTo>
                    <a:cubicBezTo>
                      <a:pt x="74253" y="86953"/>
                      <a:pt x="76466" y="86414"/>
                      <a:pt x="78678" y="85874"/>
                    </a:cubicBezTo>
                    <a:cubicBezTo>
                      <a:pt x="89187" y="82636"/>
                      <a:pt x="110204" y="72921"/>
                      <a:pt x="119054" y="67523"/>
                    </a:cubicBezTo>
                    <a:cubicBezTo>
                      <a:pt x="124032" y="64285"/>
                      <a:pt x="127903" y="59428"/>
                      <a:pt x="132328" y="56189"/>
                    </a:cubicBezTo>
                    <a:cubicBezTo>
                      <a:pt x="133987" y="54570"/>
                      <a:pt x="136200" y="54030"/>
                      <a:pt x="137859" y="52411"/>
                    </a:cubicBezTo>
                    <a:cubicBezTo>
                      <a:pt x="138965" y="51332"/>
                      <a:pt x="145602" y="44855"/>
                      <a:pt x="145602" y="44315"/>
                    </a:cubicBezTo>
                    <a:cubicBezTo>
                      <a:pt x="146155" y="43776"/>
                      <a:pt x="146155" y="42696"/>
                      <a:pt x="146155" y="42156"/>
                    </a:cubicBezTo>
                    <a:cubicBezTo>
                      <a:pt x="149474" y="37839"/>
                      <a:pt x="155558" y="31902"/>
                      <a:pt x="158876" y="27584"/>
                    </a:cubicBezTo>
                    <a:cubicBezTo>
                      <a:pt x="166067" y="18948"/>
                      <a:pt x="173257" y="10313"/>
                      <a:pt x="181000" y="2217"/>
                    </a:cubicBezTo>
                    <a:cubicBezTo>
                      <a:pt x="182106" y="598"/>
                      <a:pt x="185978" y="-1561"/>
                      <a:pt x="188190" y="58"/>
                    </a:cubicBezTo>
                    <a:cubicBezTo>
                      <a:pt x="190403" y="1137"/>
                      <a:pt x="184872" y="11392"/>
                      <a:pt x="183766" y="13551"/>
                    </a:cubicBezTo>
                    <a:cubicBezTo>
                      <a:pt x="173257" y="29203"/>
                      <a:pt x="161642" y="43776"/>
                      <a:pt x="150580" y="59428"/>
                    </a:cubicBezTo>
                    <a:cubicBezTo>
                      <a:pt x="145602" y="66984"/>
                      <a:pt x="141731" y="78318"/>
                      <a:pt x="150027" y="85874"/>
                    </a:cubicBezTo>
                    <a:cubicBezTo>
                      <a:pt x="153899" y="89652"/>
                      <a:pt x="165514" y="97748"/>
                      <a:pt x="170491" y="100446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0" name="Freeform 1092">
                <a:extLst>
                  <a:ext uri="{FF2B5EF4-FFF2-40B4-BE49-F238E27FC236}">
                    <a16:creationId xmlns:a16="http://schemas.microsoft.com/office/drawing/2014/main" id="{24CAB67C-4122-43EA-8214-16D11A8445E4}"/>
                  </a:ext>
                </a:extLst>
              </p:cNvPr>
              <p:cNvSpPr/>
              <p:nvPr/>
            </p:nvSpPr>
            <p:spPr>
              <a:xfrm>
                <a:off x="6045674" y="4185617"/>
                <a:ext cx="374996" cy="232620"/>
              </a:xfrm>
              <a:custGeom>
                <a:avLst/>
                <a:gdLst>
                  <a:gd name="connsiteX0" fmla="*/ 349998 w 374996"/>
                  <a:gd name="connsiteY0" fmla="*/ 107014 h 232620"/>
                  <a:gd name="connsiteX1" fmla="*/ 345020 w 374996"/>
                  <a:gd name="connsiteY1" fmla="*/ 110252 h 232620"/>
                  <a:gd name="connsiteX2" fmla="*/ 327874 w 374996"/>
                  <a:gd name="connsiteY2" fmla="*/ 106474 h 232620"/>
                  <a:gd name="connsiteX3" fmla="*/ 321790 w 374996"/>
                  <a:gd name="connsiteY3" fmla="*/ 102696 h 232620"/>
                  <a:gd name="connsiteX4" fmla="*/ 325662 w 374996"/>
                  <a:gd name="connsiteY4" fmla="*/ 93521 h 232620"/>
                  <a:gd name="connsiteX5" fmla="*/ 303538 w 374996"/>
                  <a:gd name="connsiteY5" fmla="*/ 88663 h 232620"/>
                  <a:gd name="connsiteX6" fmla="*/ 291923 w 374996"/>
                  <a:gd name="connsiteY6" fmla="*/ 86504 h 232620"/>
                  <a:gd name="connsiteX7" fmla="*/ 295242 w 374996"/>
                  <a:gd name="connsiteY7" fmla="*/ 62217 h 232620"/>
                  <a:gd name="connsiteX8" fmla="*/ 301326 w 374996"/>
                  <a:gd name="connsiteY8" fmla="*/ 39008 h 232620"/>
                  <a:gd name="connsiteX9" fmla="*/ 299666 w 374996"/>
                  <a:gd name="connsiteY9" fmla="*/ 33072 h 232620"/>
                  <a:gd name="connsiteX10" fmla="*/ 299113 w 374996"/>
                  <a:gd name="connsiteY10" fmla="*/ 28754 h 232620"/>
                  <a:gd name="connsiteX11" fmla="*/ 279202 w 374996"/>
                  <a:gd name="connsiteY11" fmla="*/ 19578 h 232620"/>
                  <a:gd name="connsiteX12" fmla="*/ 267034 w 374996"/>
                  <a:gd name="connsiteY12" fmla="*/ 16880 h 232620"/>
                  <a:gd name="connsiteX13" fmla="*/ 242145 w 374996"/>
                  <a:gd name="connsiteY13" fmla="*/ 12562 h 232620"/>
                  <a:gd name="connsiteX14" fmla="*/ 234955 w 374996"/>
                  <a:gd name="connsiteY14" fmla="*/ 10943 h 232620"/>
                  <a:gd name="connsiteX15" fmla="*/ 219468 w 374996"/>
                  <a:gd name="connsiteY15" fmla="*/ -391 h 232620"/>
                  <a:gd name="connsiteX16" fmla="*/ 207853 w 374996"/>
                  <a:gd name="connsiteY16" fmla="*/ 5546 h 232620"/>
                  <a:gd name="connsiteX17" fmla="*/ 202322 w 374996"/>
                  <a:gd name="connsiteY17" fmla="*/ 11483 h 232620"/>
                  <a:gd name="connsiteX18" fmla="*/ 211172 w 374996"/>
                  <a:gd name="connsiteY18" fmla="*/ 16880 h 232620"/>
                  <a:gd name="connsiteX19" fmla="*/ 213937 w 374996"/>
                  <a:gd name="connsiteY19" fmla="*/ 20118 h 232620"/>
                  <a:gd name="connsiteX20" fmla="*/ 210619 w 374996"/>
                  <a:gd name="connsiteY20" fmla="*/ 23357 h 232620"/>
                  <a:gd name="connsiteX21" fmla="*/ 196791 w 374996"/>
                  <a:gd name="connsiteY21" fmla="*/ 21737 h 232620"/>
                  <a:gd name="connsiteX22" fmla="*/ 185176 w 374996"/>
                  <a:gd name="connsiteY22" fmla="*/ 22277 h 232620"/>
                  <a:gd name="connsiteX23" fmla="*/ 175774 w 374996"/>
                  <a:gd name="connsiteY23" fmla="*/ 22817 h 232620"/>
                  <a:gd name="connsiteX24" fmla="*/ 162500 w 374996"/>
                  <a:gd name="connsiteY24" fmla="*/ 28754 h 232620"/>
                  <a:gd name="connsiteX25" fmla="*/ 137611 w 374996"/>
                  <a:gd name="connsiteY25" fmla="*/ 27674 h 232620"/>
                  <a:gd name="connsiteX26" fmla="*/ 134845 w 374996"/>
                  <a:gd name="connsiteY26" fmla="*/ 25515 h 232620"/>
                  <a:gd name="connsiteX27" fmla="*/ 120465 w 374996"/>
                  <a:gd name="connsiteY27" fmla="*/ 42247 h 232620"/>
                  <a:gd name="connsiteX28" fmla="*/ 106084 w 374996"/>
                  <a:gd name="connsiteY28" fmla="*/ 41167 h 232620"/>
                  <a:gd name="connsiteX29" fmla="*/ 100000 w 374996"/>
                  <a:gd name="connsiteY29" fmla="*/ 30373 h 232620"/>
                  <a:gd name="connsiteX30" fmla="*/ 85067 w 374996"/>
                  <a:gd name="connsiteY30" fmla="*/ 37389 h 232620"/>
                  <a:gd name="connsiteX31" fmla="*/ 81195 w 374996"/>
                  <a:gd name="connsiteY31" fmla="*/ 45485 h 232620"/>
                  <a:gd name="connsiteX32" fmla="*/ 91704 w 374996"/>
                  <a:gd name="connsiteY32" fmla="*/ 52502 h 232620"/>
                  <a:gd name="connsiteX33" fmla="*/ 85620 w 374996"/>
                  <a:gd name="connsiteY33" fmla="*/ 62756 h 232620"/>
                  <a:gd name="connsiteX34" fmla="*/ 57965 w 374996"/>
                  <a:gd name="connsiteY34" fmla="*/ 88663 h 232620"/>
                  <a:gd name="connsiteX35" fmla="*/ 53541 w 374996"/>
                  <a:gd name="connsiteY35" fmla="*/ 94600 h 232620"/>
                  <a:gd name="connsiteX36" fmla="*/ 42479 w 374996"/>
                  <a:gd name="connsiteY36" fmla="*/ 99457 h 232620"/>
                  <a:gd name="connsiteX37" fmla="*/ 41373 w 374996"/>
                  <a:gd name="connsiteY37" fmla="*/ 120507 h 232620"/>
                  <a:gd name="connsiteX38" fmla="*/ 21461 w 374996"/>
                  <a:gd name="connsiteY38" fmla="*/ 131301 h 232620"/>
                  <a:gd name="connsiteX39" fmla="*/ 9293 w 374996"/>
                  <a:gd name="connsiteY39" fmla="*/ 154509 h 232620"/>
                  <a:gd name="connsiteX40" fmla="*/ 12612 w 374996"/>
                  <a:gd name="connsiteY40" fmla="*/ 166923 h 232620"/>
                  <a:gd name="connsiteX41" fmla="*/ 8187 w 374996"/>
                  <a:gd name="connsiteY41" fmla="*/ 180956 h 232620"/>
                  <a:gd name="connsiteX42" fmla="*/ -662 w 374996"/>
                  <a:gd name="connsiteY42" fmla="*/ 185274 h 232620"/>
                  <a:gd name="connsiteX43" fmla="*/ -109 w 374996"/>
                  <a:gd name="connsiteY43" fmla="*/ 193369 h 232620"/>
                  <a:gd name="connsiteX44" fmla="*/ 12059 w 374996"/>
                  <a:gd name="connsiteY44" fmla="*/ 196068 h 232620"/>
                  <a:gd name="connsiteX45" fmla="*/ 26439 w 374996"/>
                  <a:gd name="connsiteY45" fmla="*/ 185813 h 232620"/>
                  <a:gd name="connsiteX46" fmla="*/ 22567 w 374996"/>
                  <a:gd name="connsiteY46" fmla="*/ 176638 h 232620"/>
                  <a:gd name="connsiteX47" fmla="*/ 20908 w 374996"/>
                  <a:gd name="connsiteY47" fmla="*/ 172860 h 232620"/>
                  <a:gd name="connsiteX48" fmla="*/ 28098 w 374996"/>
                  <a:gd name="connsiteY48" fmla="*/ 163145 h 232620"/>
                  <a:gd name="connsiteX49" fmla="*/ 47457 w 374996"/>
                  <a:gd name="connsiteY49" fmla="*/ 158287 h 232620"/>
                  <a:gd name="connsiteX50" fmla="*/ 58518 w 374996"/>
                  <a:gd name="connsiteY50" fmla="*/ 158287 h 232620"/>
                  <a:gd name="connsiteX51" fmla="*/ 68474 w 374996"/>
                  <a:gd name="connsiteY51" fmla="*/ 161526 h 232620"/>
                  <a:gd name="connsiteX52" fmla="*/ 67921 w 374996"/>
                  <a:gd name="connsiteY52" fmla="*/ 164224 h 232620"/>
                  <a:gd name="connsiteX53" fmla="*/ 66262 w 374996"/>
                  <a:gd name="connsiteY53" fmla="*/ 172320 h 232620"/>
                  <a:gd name="connsiteX54" fmla="*/ 72899 w 374996"/>
                  <a:gd name="connsiteY54" fmla="*/ 183115 h 232620"/>
                  <a:gd name="connsiteX55" fmla="*/ 67368 w 374996"/>
                  <a:gd name="connsiteY55" fmla="*/ 193369 h 232620"/>
                  <a:gd name="connsiteX56" fmla="*/ 76217 w 374996"/>
                  <a:gd name="connsiteY56" fmla="*/ 200386 h 232620"/>
                  <a:gd name="connsiteX57" fmla="*/ 78430 w 374996"/>
                  <a:gd name="connsiteY57" fmla="*/ 207402 h 232620"/>
                  <a:gd name="connsiteX58" fmla="*/ 86173 w 374996"/>
                  <a:gd name="connsiteY58" fmla="*/ 214958 h 232620"/>
                  <a:gd name="connsiteX59" fmla="*/ 86173 w 374996"/>
                  <a:gd name="connsiteY59" fmla="*/ 225213 h 232620"/>
                  <a:gd name="connsiteX60" fmla="*/ 104425 w 374996"/>
                  <a:gd name="connsiteY60" fmla="*/ 228991 h 232620"/>
                  <a:gd name="connsiteX61" fmla="*/ 132080 w 374996"/>
                  <a:gd name="connsiteY61" fmla="*/ 218197 h 232620"/>
                  <a:gd name="connsiteX62" fmla="*/ 154203 w 374996"/>
                  <a:gd name="connsiteY62" fmla="*/ 221975 h 232620"/>
                  <a:gd name="connsiteX63" fmla="*/ 179646 w 374996"/>
                  <a:gd name="connsiteY63" fmla="*/ 199846 h 232620"/>
                  <a:gd name="connsiteX64" fmla="*/ 181305 w 374996"/>
                  <a:gd name="connsiteY64" fmla="*/ 191210 h 232620"/>
                  <a:gd name="connsiteX65" fmla="*/ 179092 w 374996"/>
                  <a:gd name="connsiteY65" fmla="*/ 180416 h 232620"/>
                  <a:gd name="connsiteX66" fmla="*/ 191260 w 374996"/>
                  <a:gd name="connsiteY66" fmla="*/ 174479 h 232620"/>
                  <a:gd name="connsiteX67" fmla="*/ 196238 w 374996"/>
                  <a:gd name="connsiteY67" fmla="*/ 163145 h 232620"/>
                  <a:gd name="connsiteX68" fmla="*/ 205088 w 374996"/>
                  <a:gd name="connsiteY68" fmla="*/ 163145 h 232620"/>
                  <a:gd name="connsiteX69" fmla="*/ 208406 w 374996"/>
                  <a:gd name="connsiteY69" fmla="*/ 185274 h 232620"/>
                  <a:gd name="connsiteX70" fmla="*/ 220574 w 374996"/>
                  <a:gd name="connsiteY70" fmla="*/ 197687 h 232620"/>
                  <a:gd name="connsiteX71" fmla="*/ 223340 w 374996"/>
                  <a:gd name="connsiteY71" fmla="*/ 198227 h 232620"/>
                  <a:gd name="connsiteX72" fmla="*/ 231083 w 374996"/>
                  <a:gd name="connsiteY72" fmla="*/ 200386 h 232620"/>
                  <a:gd name="connsiteX73" fmla="*/ 238273 w 374996"/>
                  <a:gd name="connsiteY73" fmla="*/ 202545 h 232620"/>
                  <a:gd name="connsiteX74" fmla="*/ 237720 w 374996"/>
                  <a:gd name="connsiteY74" fmla="*/ 217657 h 232620"/>
                  <a:gd name="connsiteX75" fmla="*/ 243251 w 374996"/>
                  <a:gd name="connsiteY75" fmla="*/ 221435 h 232620"/>
                  <a:gd name="connsiteX76" fmla="*/ 247123 w 374996"/>
                  <a:gd name="connsiteY76" fmla="*/ 231690 h 232620"/>
                  <a:gd name="connsiteX77" fmla="*/ 256525 w 374996"/>
                  <a:gd name="connsiteY77" fmla="*/ 232229 h 232620"/>
                  <a:gd name="connsiteX78" fmla="*/ 260397 w 374996"/>
                  <a:gd name="connsiteY78" fmla="*/ 225753 h 232620"/>
                  <a:gd name="connsiteX79" fmla="*/ 253760 w 374996"/>
                  <a:gd name="connsiteY79" fmla="*/ 216577 h 232620"/>
                  <a:gd name="connsiteX80" fmla="*/ 256525 w 374996"/>
                  <a:gd name="connsiteY80" fmla="*/ 201465 h 232620"/>
                  <a:gd name="connsiteX81" fmla="*/ 272012 w 374996"/>
                  <a:gd name="connsiteY81" fmla="*/ 184194 h 232620"/>
                  <a:gd name="connsiteX82" fmla="*/ 278649 w 374996"/>
                  <a:gd name="connsiteY82" fmla="*/ 155589 h 232620"/>
                  <a:gd name="connsiteX83" fmla="*/ 289711 w 374996"/>
                  <a:gd name="connsiteY83" fmla="*/ 155589 h 232620"/>
                  <a:gd name="connsiteX84" fmla="*/ 295795 w 374996"/>
                  <a:gd name="connsiteY84" fmla="*/ 176098 h 232620"/>
                  <a:gd name="connsiteX85" fmla="*/ 308516 w 374996"/>
                  <a:gd name="connsiteY85" fmla="*/ 178257 h 232620"/>
                  <a:gd name="connsiteX86" fmla="*/ 316812 w 374996"/>
                  <a:gd name="connsiteY86" fmla="*/ 171241 h 232620"/>
                  <a:gd name="connsiteX87" fmla="*/ 334511 w 374996"/>
                  <a:gd name="connsiteY87" fmla="*/ 167463 h 232620"/>
                  <a:gd name="connsiteX88" fmla="*/ 342255 w 374996"/>
                  <a:gd name="connsiteY88" fmla="*/ 181495 h 232620"/>
                  <a:gd name="connsiteX89" fmla="*/ 346126 w 374996"/>
                  <a:gd name="connsiteY89" fmla="*/ 183654 h 232620"/>
                  <a:gd name="connsiteX90" fmla="*/ 349998 w 374996"/>
                  <a:gd name="connsiteY90" fmla="*/ 180416 h 232620"/>
                  <a:gd name="connsiteX91" fmla="*/ 351104 w 374996"/>
                  <a:gd name="connsiteY91" fmla="*/ 175019 h 232620"/>
                  <a:gd name="connsiteX92" fmla="*/ 347232 w 374996"/>
                  <a:gd name="connsiteY92" fmla="*/ 169622 h 232620"/>
                  <a:gd name="connsiteX93" fmla="*/ 345573 w 374996"/>
                  <a:gd name="connsiteY93" fmla="*/ 159907 h 232620"/>
                  <a:gd name="connsiteX94" fmla="*/ 339489 w 374996"/>
                  <a:gd name="connsiteY94" fmla="*/ 154509 h 232620"/>
                  <a:gd name="connsiteX95" fmla="*/ 344467 w 374996"/>
                  <a:gd name="connsiteY95" fmla="*/ 139937 h 232620"/>
                  <a:gd name="connsiteX96" fmla="*/ 353870 w 374996"/>
                  <a:gd name="connsiteY96" fmla="*/ 136159 h 232620"/>
                  <a:gd name="connsiteX97" fmla="*/ 358847 w 374996"/>
                  <a:gd name="connsiteY97" fmla="*/ 144794 h 232620"/>
                  <a:gd name="connsiteX98" fmla="*/ 364378 w 374996"/>
                  <a:gd name="connsiteY98" fmla="*/ 145334 h 232620"/>
                  <a:gd name="connsiteX99" fmla="*/ 370462 w 374996"/>
                  <a:gd name="connsiteY99" fmla="*/ 143715 h 232620"/>
                  <a:gd name="connsiteX100" fmla="*/ 374334 w 374996"/>
                  <a:gd name="connsiteY100" fmla="*/ 131841 h 232620"/>
                  <a:gd name="connsiteX101" fmla="*/ 367144 w 374996"/>
                  <a:gd name="connsiteY101" fmla="*/ 124824 h 232620"/>
                  <a:gd name="connsiteX102" fmla="*/ 374334 w 374996"/>
                  <a:gd name="connsiteY102" fmla="*/ 105394 h 232620"/>
                  <a:gd name="connsiteX103" fmla="*/ 368803 w 374996"/>
                  <a:gd name="connsiteY103" fmla="*/ 94600 h 232620"/>
                  <a:gd name="connsiteX104" fmla="*/ 365484 w 374996"/>
                  <a:gd name="connsiteY104" fmla="*/ 94600 h 232620"/>
                  <a:gd name="connsiteX105" fmla="*/ 349998 w 374996"/>
                  <a:gd name="connsiteY105" fmla="*/ 107014 h 232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374996" h="232620">
                    <a:moveTo>
                      <a:pt x="349998" y="107014"/>
                    </a:moveTo>
                    <a:lnTo>
                      <a:pt x="345020" y="110252"/>
                    </a:lnTo>
                    <a:lnTo>
                      <a:pt x="327874" y="106474"/>
                    </a:lnTo>
                    <a:lnTo>
                      <a:pt x="321790" y="102696"/>
                    </a:lnTo>
                    <a:lnTo>
                      <a:pt x="325662" y="93521"/>
                    </a:lnTo>
                    <a:lnTo>
                      <a:pt x="303538" y="88663"/>
                    </a:lnTo>
                    <a:lnTo>
                      <a:pt x="291923" y="86504"/>
                    </a:lnTo>
                    <a:cubicBezTo>
                      <a:pt x="290817" y="76789"/>
                      <a:pt x="293029" y="69233"/>
                      <a:pt x="295242" y="62217"/>
                    </a:cubicBezTo>
                    <a:cubicBezTo>
                      <a:pt x="298007" y="53041"/>
                      <a:pt x="301879" y="46025"/>
                      <a:pt x="301326" y="39008"/>
                    </a:cubicBezTo>
                    <a:cubicBezTo>
                      <a:pt x="301326" y="36850"/>
                      <a:pt x="300220" y="35230"/>
                      <a:pt x="299666" y="33072"/>
                    </a:cubicBezTo>
                    <a:lnTo>
                      <a:pt x="299113" y="28754"/>
                    </a:lnTo>
                    <a:lnTo>
                      <a:pt x="279202" y="19578"/>
                    </a:lnTo>
                    <a:lnTo>
                      <a:pt x="267034" y="16880"/>
                    </a:lnTo>
                    <a:lnTo>
                      <a:pt x="242145" y="12562"/>
                    </a:lnTo>
                    <a:cubicBezTo>
                      <a:pt x="239933" y="12022"/>
                      <a:pt x="236614" y="11483"/>
                      <a:pt x="234955" y="10943"/>
                    </a:cubicBezTo>
                    <a:lnTo>
                      <a:pt x="219468" y="-391"/>
                    </a:lnTo>
                    <a:lnTo>
                      <a:pt x="207853" y="5546"/>
                    </a:lnTo>
                    <a:lnTo>
                      <a:pt x="202322" y="11483"/>
                    </a:lnTo>
                    <a:lnTo>
                      <a:pt x="211172" y="16880"/>
                    </a:lnTo>
                    <a:lnTo>
                      <a:pt x="213937" y="20118"/>
                    </a:lnTo>
                    <a:cubicBezTo>
                      <a:pt x="213384" y="21198"/>
                      <a:pt x="212278" y="23357"/>
                      <a:pt x="210619" y="23357"/>
                    </a:cubicBezTo>
                    <a:cubicBezTo>
                      <a:pt x="206747" y="23896"/>
                      <a:pt x="200663" y="22277"/>
                      <a:pt x="196791" y="21737"/>
                    </a:cubicBezTo>
                    <a:cubicBezTo>
                      <a:pt x="193473" y="21737"/>
                      <a:pt x="188495" y="22277"/>
                      <a:pt x="185176" y="22277"/>
                    </a:cubicBezTo>
                    <a:cubicBezTo>
                      <a:pt x="182411" y="22277"/>
                      <a:pt x="177986" y="22277"/>
                      <a:pt x="175774" y="22817"/>
                    </a:cubicBezTo>
                    <a:cubicBezTo>
                      <a:pt x="171902" y="23896"/>
                      <a:pt x="166371" y="28214"/>
                      <a:pt x="162500" y="28754"/>
                    </a:cubicBezTo>
                    <a:cubicBezTo>
                      <a:pt x="155863" y="29833"/>
                      <a:pt x="144248" y="28754"/>
                      <a:pt x="137611" y="27674"/>
                    </a:cubicBezTo>
                    <a:cubicBezTo>
                      <a:pt x="136504" y="27674"/>
                      <a:pt x="135398" y="26055"/>
                      <a:pt x="134845" y="25515"/>
                    </a:cubicBezTo>
                    <a:lnTo>
                      <a:pt x="120465" y="42247"/>
                    </a:lnTo>
                    <a:lnTo>
                      <a:pt x="106084" y="41167"/>
                    </a:lnTo>
                    <a:lnTo>
                      <a:pt x="100000" y="30373"/>
                    </a:lnTo>
                    <a:lnTo>
                      <a:pt x="85067" y="37389"/>
                    </a:lnTo>
                    <a:lnTo>
                      <a:pt x="81195" y="45485"/>
                    </a:lnTo>
                    <a:lnTo>
                      <a:pt x="91704" y="52502"/>
                    </a:lnTo>
                    <a:lnTo>
                      <a:pt x="85620" y="62756"/>
                    </a:lnTo>
                    <a:cubicBezTo>
                      <a:pt x="74558" y="69233"/>
                      <a:pt x="65709" y="79488"/>
                      <a:pt x="57965" y="88663"/>
                    </a:cubicBezTo>
                    <a:cubicBezTo>
                      <a:pt x="56306" y="90822"/>
                      <a:pt x="55753" y="92981"/>
                      <a:pt x="53541" y="94600"/>
                    </a:cubicBezTo>
                    <a:cubicBezTo>
                      <a:pt x="50222" y="96759"/>
                      <a:pt x="45797" y="97838"/>
                      <a:pt x="42479" y="99457"/>
                    </a:cubicBezTo>
                    <a:lnTo>
                      <a:pt x="41373" y="120507"/>
                    </a:lnTo>
                    <a:lnTo>
                      <a:pt x="21461" y="131301"/>
                    </a:lnTo>
                    <a:lnTo>
                      <a:pt x="9293" y="154509"/>
                    </a:lnTo>
                    <a:lnTo>
                      <a:pt x="12612" y="166923"/>
                    </a:lnTo>
                    <a:lnTo>
                      <a:pt x="8187" y="180956"/>
                    </a:lnTo>
                    <a:lnTo>
                      <a:pt x="-662" y="185274"/>
                    </a:lnTo>
                    <a:lnTo>
                      <a:pt x="-109" y="193369"/>
                    </a:lnTo>
                    <a:lnTo>
                      <a:pt x="12059" y="196068"/>
                    </a:lnTo>
                    <a:lnTo>
                      <a:pt x="26439" y="185813"/>
                    </a:lnTo>
                    <a:lnTo>
                      <a:pt x="22567" y="176638"/>
                    </a:lnTo>
                    <a:lnTo>
                      <a:pt x="20908" y="172860"/>
                    </a:lnTo>
                    <a:lnTo>
                      <a:pt x="28098" y="163145"/>
                    </a:lnTo>
                    <a:lnTo>
                      <a:pt x="47457" y="158287"/>
                    </a:lnTo>
                    <a:lnTo>
                      <a:pt x="58518" y="158287"/>
                    </a:lnTo>
                    <a:lnTo>
                      <a:pt x="68474" y="161526"/>
                    </a:lnTo>
                    <a:lnTo>
                      <a:pt x="67921" y="164224"/>
                    </a:lnTo>
                    <a:lnTo>
                      <a:pt x="66262" y="172320"/>
                    </a:lnTo>
                    <a:lnTo>
                      <a:pt x="72899" y="183115"/>
                    </a:lnTo>
                    <a:lnTo>
                      <a:pt x="67368" y="193369"/>
                    </a:lnTo>
                    <a:lnTo>
                      <a:pt x="76217" y="200386"/>
                    </a:lnTo>
                    <a:lnTo>
                      <a:pt x="78430" y="207402"/>
                    </a:lnTo>
                    <a:lnTo>
                      <a:pt x="86173" y="214958"/>
                    </a:lnTo>
                    <a:lnTo>
                      <a:pt x="86173" y="225213"/>
                    </a:lnTo>
                    <a:lnTo>
                      <a:pt x="104425" y="228991"/>
                    </a:lnTo>
                    <a:lnTo>
                      <a:pt x="132080" y="218197"/>
                    </a:lnTo>
                    <a:lnTo>
                      <a:pt x="154203" y="221975"/>
                    </a:lnTo>
                    <a:lnTo>
                      <a:pt x="179646" y="199846"/>
                    </a:lnTo>
                    <a:lnTo>
                      <a:pt x="181305" y="191210"/>
                    </a:lnTo>
                    <a:lnTo>
                      <a:pt x="179092" y="180416"/>
                    </a:lnTo>
                    <a:lnTo>
                      <a:pt x="191260" y="174479"/>
                    </a:lnTo>
                    <a:lnTo>
                      <a:pt x="196238" y="163145"/>
                    </a:lnTo>
                    <a:lnTo>
                      <a:pt x="205088" y="163145"/>
                    </a:lnTo>
                    <a:lnTo>
                      <a:pt x="208406" y="185274"/>
                    </a:lnTo>
                    <a:lnTo>
                      <a:pt x="220574" y="197687"/>
                    </a:lnTo>
                    <a:lnTo>
                      <a:pt x="223340" y="198227"/>
                    </a:lnTo>
                    <a:lnTo>
                      <a:pt x="231083" y="200386"/>
                    </a:lnTo>
                    <a:lnTo>
                      <a:pt x="238273" y="202545"/>
                    </a:lnTo>
                    <a:lnTo>
                      <a:pt x="237720" y="217657"/>
                    </a:lnTo>
                    <a:lnTo>
                      <a:pt x="243251" y="221435"/>
                    </a:lnTo>
                    <a:lnTo>
                      <a:pt x="247123" y="231690"/>
                    </a:lnTo>
                    <a:lnTo>
                      <a:pt x="256525" y="232229"/>
                    </a:lnTo>
                    <a:lnTo>
                      <a:pt x="260397" y="225753"/>
                    </a:lnTo>
                    <a:lnTo>
                      <a:pt x="253760" y="216577"/>
                    </a:lnTo>
                    <a:lnTo>
                      <a:pt x="256525" y="201465"/>
                    </a:lnTo>
                    <a:lnTo>
                      <a:pt x="272012" y="184194"/>
                    </a:lnTo>
                    <a:lnTo>
                      <a:pt x="278649" y="155589"/>
                    </a:lnTo>
                    <a:lnTo>
                      <a:pt x="289711" y="155589"/>
                    </a:lnTo>
                    <a:lnTo>
                      <a:pt x="295795" y="176098"/>
                    </a:lnTo>
                    <a:lnTo>
                      <a:pt x="308516" y="178257"/>
                    </a:lnTo>
                    <a:lnTo>
                      <a:pt x="316812" y="171241"/>
                    </a:lnTo>
                    <a:lnTo>
                      <a:pt x="334511" y="167463"/>
                    </a:lnTo>
                    <a:lnTo>
                      <a:pt x="342255" y="181495"/>
                    </a:lnTo>
                    <a:lnTo>
                      <a:pt x="346126" y="183654"/>
                    </a:lnTo>
                    <a:lnTo>
                      <a:pt x="349998" y="180416"/>
                    </a:lnTo>
                    <a:lnTo>
                      <a:pt x="351104" y="175019"/>
                    </a:lnTo>
                    <a:lnTo>
                      <a:pt x="347232" y="169622"/>
                    </a:lnTo>
                    <a:lnTo>
                      <a:pt x="345573" y="159907"/>
                    </a:lnTo>
                    <a:lnTo>
                      <a:pt x="339489" y="154509"/>
                    </a:lnTo>
                    <a:lnTo>
                      <a:pt x="344467" y="139937"/>
                    </a:lnTo>
                    <a:lnTo>
                      <a:pt x="353870" y="136159"/>
                    </a:lnTo>
                    <a:lnTo>
                      <a:pt x="358847" y="144794"/>
                    </a:lnTo>
                    <a:lnTo>
                      <a:pt x="364378" y="145334"/>
                    </a:lnTo>
                    <a:lnTo>
                      <a:pt x="370462" y="143715"/>
                    </a:lnTo>
                    <a:lnTo>
                      <a:pt x="374334" y="131841"/>
                    </a:lnTo>
                    <a:lnTo>
                      <a:pt x="367144" y="124824"/>
                    </a:lnTo>
                    <a:lnTo>
                      <a:pt x="374334" y="105394"/>
                    </a:lnTo>
                    <a:lnTo>
                      <a:pt x="368803" y="94600"/>
                    </a:lnTo>
                    <a:lnTo>
                      <a:pt x="365484" y="94600"/>
                    </a:lnTo>
                    <a:lnTo>
                      <a:pt x="349998" y="107014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1" name="Freeform 1093">
                <a:extLst>
                  <a:ext uri="{FF2B5EF4-FFF2-40B4-BE49-F238E27FC236}">
                    <a16:creationId xmlns:a16="http://schemas.microsoft.com/office/drawing/2014/main" id="{857ACB2B-A327-4429-84D1-5CF1D05BB557}"/>
                  </a:ext>
                </a:extLst>
              </p:cNvPr>
              <p:cNvSpPr/>
              <p:nvPr/>
            </p:nvSpPr>
            <p:spPr>
              <a:xfrm>
                <a:off x="7301193" y="2993908"/>
                <a:ext cx="636055" cy="607728"/>
              </a:xfrm>
              <a:custGeom>
                <a:avLst/>
                <a:gdLst>
                  <a:gd name="connsiteX0" fmla="*/ 572721 w 636055"/>
                  <a:gd name="connsiteY0" fmla="*/ 422880 h 607728"/>
                  <a:gd name="connsiteX1" fmla="*/ 580464 w 636055"/>
                  <a:gd name="connsiteY1" fmla="*/ 412086 h 607728"/>
                  <a:gd name="connsiteX2" fmla="*/ 620840 w 636055"/>
                  <a:gd name="connsiteY2" fmla="*/ 384560 h 607728"/>
                  <a:gd name="connsiteX3" fmla="*/ 616415 w 636055"/>
                  <a:gd name="connsiteY3" fmla="*/ 364050 h 607728"/>
                  <a:gd name="connsiteX4" fmla="*/ 603694 w 636055"/>
                  <a:gd name="connsiteY4" fmla="*/ 353256 h 607728"/>
                  <a:gd name="connsiteX5" fmla="*/ 593185 w 636055"/>
                  <a:gd name="connsiteY5" fmla="*/ 330588 h 607728"/>
                  <a:gd name="connsiteX6" fmla="*/ 589867 w 636055"/>
                  <a:gd name="connsiteY6" fmla="*/ 299284 h 607728"/>
                  <a:gd name="connsiteX7" fmla="*/ 577699 w 636055"/>
                  <a:gd name="connsiteY7" fmla="*/ 279854 h 607728"/>
                  <a:gd name="connsiteX8" fmla="*/ 575486 w 636055"/>
                  <a:gd name="connsiteY8" fmla="*/ 265281 h 607728"/>
                  <a:gd name="connsiteX9" fmla="*/ 593738 w 636055"/>
                  <a:gd name="connsiteY9" fmla="*/ 255566 h 607728"/>
                  <a:gd name="connsiteX10" fmla="*/ 614756 w 636055"/>
                  <a:gd name="connsiteY10" fmla="*/ 252867 h 607728"/>
                  <a:gd name="connsiteX11" fmla="*/ 629136 w 636055"/>
                  <a:gd name="connsiteY11" fmla="*/ 244232 h 607728"/>
                  <a:gd name="connsiteX12" fmla="*/ 635220 w 636055"/>
                  <a:gd name="connsiteY12" fmla="*/ 216166 h 607728"/>
                  <a:gd name="connsiteX13" fmla="*/ 610331 w 636055"/>
                  <a:gd name="connsiteY13" fmla="*/ 187021 h 607728"/>
                  <a:gd name="connsiteX14" fmla="*/ 595398 w 636055"/>
                  <a:gd name="connsiteY14" fmla="*/ 189720 h 607728"/>
                  <a:gd name="connsiteX15" fmla="*/ 590420 w 636055"/>
                  <a:gd name="connsiteY15" fmla="*/ 199435 h 607728"/>
                  <a:gd name="connsiteX16" fmla="*/ 568849 w 636055"/>
                  <a:gd name="connsiteY16" fmla="*/ 213468 h 607728"/>
                  <a:gd name="connsiteX17" fmla="*/ 556128 w 636055"/>
                  <a:gd name="connsiteY17" fmla="*/ 201054 h 607728"/>
                  <a:gd name="connsiteX18" fmla="*/ 556128 w 636055"/>
                  <a:gd name="connsiteY18" fmla="*/ 171369 h 607728"/>
                  <a:gd name="connsiteX19" fmla="*/ 559447 w 636055"/>
                  <a:gd name="connsiteY19" fmla="*/ 167051 h 607728"/>
                  <a:gd name="connsiteX20" fmla="*/ 521836 w 636055"/>
                  <a:gd name="connsiteY20" fmla="*/ 155178 h 607728"/>
                  <a:gd name="connsiteX21" fmla="*/ 505244 w 636055"/>
                  <a:gd name="connsiteY21" fmla="*/ 138986 h 607728"/>
                  <a:gd name="connsiteX22" fmla="*/ 490310 w 636055"/>
                  <a:gd name="connsiteY22" fmla="*/ 108222 h 607728"/>
                  <a:gd name="connsiteX23" fmla="*/ 469846 w 636055"/>
                  <a:gd name="connsiteY23" fmla="*/ 102285 h 607728"/>
                  <a:gd name="connsiteX24" fmla="*/ 460443 w 636055"/>
                  <a:gd name="connsiteY24" fmla="*/ 95808 h 607728"/>
                  <a:gd name="connsiteX25" fmla="*/ 457678 w 636055"/>
                  <a:gd name="connsiteY25" fmla="*/ 87172 h 607728"/>
                  <a:gd name="connsiteX26" fmla="*/ 458231 w 636055"/>
                  <a:gd name="connsiteY26" fmla="*/ 64504 h 607728"/>
                  <a:gd name="connsiteX27" fmla="*/ 439426 w 636055"/>
                  <a:gd name="connsiteY27" fmla="*/ 47233 h 607728"/>
                  <a:gd name="connsiteX28" fmla="*/ 432789 w 636055"/>
                  <a:gd name="connsiteY28" fmla="*/ 10532 h 607728"/>
                  <a:gd name="connsiteX29" fmla="*/ 381351 w 636055"/>
                  <a:gd name="connsiteY29" fmla="*/ 1356 h 607728"/>
                  <a:gd name="connsiteX30" fmla="*/ 363099 w 636055"/>
                  <a:gd name="connsiteY30" fmla="*/ 8373 h 607728"/>
                  <a:gd name="connsiteX31" fmla="*/ 342081 w 636055"/>
                  <a:gd name="connsiteY31" fmla="*/ 33200 h 607728"/>
                  <a:gd name="connsiteX32" fmla="*/ 333232 w 636055"/>
                  <a:gd name="connsiteY32" fmla="*/ 30501 h 607728"/>
                  <a:gd name="connsiteX33" fmla="*/ 332679 w 636055"/>
                  <a:gd name="connsiteY33" fmla="*/ 4055 h 607728"/>
                  <a:gd name="connsiteX34" fmla="*/ 303918 w 636055"/>
                  <a:gd name="connsiteY34" fmla="*/ 3515 h 607728"/>
                  <a:gd name="connsiteX35" fmla="*/ 290644 w 636055"/>
                  <a:gd name="connsiteY35" fmla="*/ 15389 h 607728"/>
                  <a:gd name="connsiteX36" fmla="*/ 281241 w 636055"/>
                  <a:gd name="connsiteY36" fmla="*/ -263 h 607728"/>
                  <a:gd name="connsiteX37" fmla="*/ 266308 w 636055"/>
                  <a:gd name="connsiteY37" fmla="*/ 5134 h 607728"/>
                  <a:gd name="connsiteX38" fmla="*/ 260777 w 636055"/>
                  <a:gd name="connsiteY38" fmla="*/ 16469 h 607728"/>
                  <a:gd name="connsiteX39" fmla="*/ 243078 w 636055"/>
                  <a:gd name="connsiteY39" fmla="*/ 10532 h 607728"/>
                  <a:gd name="connsiteX40" fmla="*/ 215423 w 636055"/>
                  <a:gd name="connsiteY40" fmla="*/ 34819 h 607728"/>
                  <a:gd name="connsiteX41" fmla="*/ 219295 w 636055"/>
                  <a:gd name="connsiteY41" fmla="*/ 53170 h 607728"/>
                  <a:gd name="connsiteX42" fmla="*/ 212658 w 636055"/>
                  <a:gd name="connsiteY42" fmla="*/ 57488 h 607728"/>
                  <a:gd name="connsiteX43" fmla="*/ 196065 w 636055"/>
                  <a:gd name="connsiteY43" fmla="*/ 54249 h 607728"/>
                  <a:gd name="connsiteX44" fmla="*/ 155689 w 636055"/>
                  <a:gd name="connsiteY44" fmla="*/ 94189 h 607728"/>
                  <a:gd name="connsiteX45" fmla="*/ 165092 w 636055"/>
                  <a:gd name="connsiteY45" fmla="*/ 107682 h 607728"/>
                  <a:gd name="connsiteX46" fmla="*/ 167857 w 636055"/>
                  <a:gd name="connsiteY46" fmla="*/ 128731 h 607728"/>
                  <a:gd name="connsiteX47" fmla="*/ 183897 w 636055"/>
                  <a:gd name="connsiteY47" fmla="*/ 133049 h 607728"/>
                  <a:gd name="connsiteX48" fmla="*/ 145734 w 636055"/>
                  <a:gd name="connsiteY48" fmla="*/ 174608 h 607728"/>
                  <a:gd name="connsiteX49" fmla="*/ 134672 w 636055"/>
                  <a:gd name="connsiteY49" fmla="*/ 194038 h 607728"/>
                  <a:gd name="connsiteX50" fmla="*/ 133013 w 636055"/>
                  <a:gd name="connsiteY50" fmla="*/ 249629 h 607728"/>
                  <a:gd name="connsiteX51" fmla="*/ 151265 w 636055"/>
                  <a:gd name="connsiteY51" fmla="*/ 265821 h 607728"/>
                  <a:gd name="connsiteX52" fmla="*/ 147393 w 636055"/>
                  <a:gd name="connsiteY52" fmla="*/ 277155 h 607728"/>
                  <a:gd name="connsiteX53" fmla="*/ 132460 w 636055"/>
                  <a:gd name="connsiteY53" fmla="*/ 292267 h 607728"/>
                  <a:gd name="connsiteX54" fmla="*/ 126929 w 636055"/>
                  <a:gd name="connsiteY54" fmla="*/ 287949 h 607728"/>
                  <a:gd name="connsiteX55" fmla="*/ 120292 w 636055"/>
                  <a:gd name="connsiteY55" fmla="*/ 276076 h 607728"/>
                  <a:gd name="connsiteX56" fmla="*/ 113654 w 636055"/>
                  <a:gd name="connsiteY56" fmla="*/ 274996 h 607728"/>
                  <a:gd name="connsiteX57" fmla="*/ 72173 w 636055"/>
                  <a:gd name="connsiteY57" fmla="*/ 328429 h 607728"/>
                  <a:gd name="connsiteX58" fmla="*/ 63323 w 636055"/>
                  <a:gd name="connsiteY58" fmla="*/ 332747 h 607728"/>
                  <a:gd name="connsiteX59" fmla="*/ 29584 w 636055"/>
                  <a:gd name="connsiteY59" fmla="*/ 326270 h 607728"/>
                  <a:gd name="connsiteX60" fmla="*/ 17416 w 636055"/>
                  <a:gd name="connsiteY60" fmla="*/ 339763 h 607728"/>
                  <a:gd name="connsiteX61" fmla="*/ -836 w 636055"/>
                  <a:gd name="connsiteY61" fmla="*/ 344081 h 607728"/>
                  <a:gd name="connsiteX62" fmla="*/ 4695 w 636055"/>
                  <a:gd name="connsiteY62" fmla="*/ 361892 h 607728"/>
                  <a:gd name="connsiteX63" fmla="*/ 32903 w 636055"/>
                  <a:gd name="connsiteY63" fmla="*/ 402911 h 607728"/>
                  <a:gd name="connsiteX64" fmla="*/ 45071 w 636055"/>
                  <a:gd name="connsiteY64" fmla="*/ 414245 h 607728"/>
                  <a:gd name="connsiteX65" fmla="*/ 62770 w 636055"/>
                  <a:gd name="connsiteY65" fmla="*/ 470376 h 607728"/>
                  <a:gd name="connsiteX66" fmla="*/ 61111 w 636055"/>
                  <a:gd name="connsiteY66" fmla="*/ 478472 h 607728"/>
                  <a:gd name="connsiteX67" fmla="*/ 28478 w 636055"/>
                  <a:gd name="connsiteY67" fmla="*/ 511935 h 607728"/>
                  <a:gd name="connsiteX68" fmla="*/ 26819 w 636055"/>
                  <a:gd name="connsiteY68" fmla="*/ 532984 h 607728"/>
                  <a:gd name="connsiteX69" fmla="*/ 60558 w 636055"/>
                  <a:gd name="connsiteY69" fmla="*/ 551874 h 607728"/>
                  <a:gd name="connsiteX70" fmla="*/ 62770 w 636055"/>
                  <a:gd name="connsiteY70" fmla="*/ 571304 h 607728"/>
                  <a:gd name="connsiteX71" fmla="*/ 60558 w 636055"/>
                  <a:gd name="connsiteY71" fmla="*/ 586956 h 607728"/>
                  <a:gd name="connsiteX72" fmla="*/ 70513 w 636055"/>
                  <a:gd name="connsiteY72" fmla="*/ 603148 h 607728"/>
                  <a:gd name="connsiteX73" fmla="*/ 71066 w 636055"/>
                  <a:gd name="connsiteY73" fmla="*/ 607466 h 607728"/>
                  <a:gd name="connsiteX74" fmla="*/ 97062 w 636055"/>
                  <a:gd name="connsiteY74" fmla="*/ 599370 h 607728"/>
                  <a:gd name="connsiteX75" fmla="*/ 113654 w 636055"/>
                  <a:gd name="connsiteY75" fmla="*/ 586956 h 607728"/>
                  <a:gd name="connsiteX76" fmla="*/ 127482 w 636055"/>
                  <a:gd name="connsiteY76" fmla="*/ 561589 h 607728"/>
                  <a:gd name="connsiteX77" fmla="*/ 187769 w 636055"/>
                  <a:gd name="connsiteY77" fmla="*/ 527587 h 607728"/>
                  <a:gd name="connsiteX78" fmla="*/ 275157 w 636055"/>
                  <a:gd name="connsiteY78" fmla="*/ 536222 h 607728"/>
                  <a:gd name="connsiteX79" fmla="*/ 288432 w 636055"/>
                  <a:gd name="connsiteY79" fmla="*/ 534603 h 607728"/>
                  <a:gd name="connsiteX80" fmla="*/ 313874 w 636055"/>
                  <a:gd name="connsiteY80" fmla="*/ 522189 h 607728"/>
                  <a:gd name="connsiteX81" fmla="*/ 329360 w 636055"/>
                  <a:gd name="connsiteY81" fmla="*/ 547556 h 607728"/>
                  <a:gd name="connsiteX82" fmla="*/ 351484 w 636055"/>
                  <a:gd name="connsiteY82" fmla="*/ 538921 h 607728"/>
                  <a:gd name="connsiteX83" fmla="*/ 368077 w 636055"/>
                  <a:gd name="connsiteY83" fmla="*/ 553493 h 607728"/>
                  <a:gd name="connsiteX84" fmla="*/ 372502 w 636055"/>
                  <a:gd name="connsiteY84" fmla="*/ 548096 h 607728"/>
                  <a:gd name="connsiteX85" fmla="*/ 375820 w 636055"/>
                  <a:gd name="connsiteY85" fmla="*/ 537302 h 607728"/>
                  <a:gd name="connsiteX86" fmla="*/ 404028 w 636055"/>
                  <a:gd name="connsiteY86" fmla="*/ 524348 h 607728"/>
                  <a:gd name="connsiteX87" fmla="*/ 448275 w 636055"/>
                  <a:gd name="connsiteY87" fmla="*/ 529206 h 607728"/>
                  <a:gd name="connsiteX88" fmla="*/ 451041 w 636055"/>
                  <a:gd name="connsiteY88" fmla="*/ 515173 h 607728"/>
                  <a:gd name="connsiteX89" fmla="*/ 468740 w 636055"/>
                  <a:gd name="connsiteY89" fmla="*/ 501140 h 607728"/>
                  <a:gd name="connsiteX90" fmla="*/ 479248 w 636055"/>
                  <a:gd name="connsiteY90" fmla="*/ 524888 h 607728"/>
                  <a:gd name="connsiteX91" fmla="*/ 489204 w 636055"/>
                  <a:gd name="connsiteY91" fmla="*/ 530285 h 607728"/>
                  <a:gd name="connsiteX92" fmla="*/ 537323 w 636055"/>
                  <a:gd name="connsiteY92" fmla="*/ 503839 h 607728"/>
                  <a:gd name="connsiteX93" fmla="*/ 544513 w 636055"/>
                  <a:gd name="connsiteY93" fmla="*/ 509236 h 607728"/>
                  <a:gd name="connsiteX94" fmla="*/ 577699 w 636055"/>
                  <a:gd name="connsiteY94" fmla="*/ 521110 h 607728"/>
                  <a:gd name="connsiteX95" fmla="*/ 582676 w 636055"/>
                  <a:gd name="connsiteY95" fmla="*/ 522189 h 607728"/>
                  <a:gd name="connsiteX96" fmla="*/ 582676 w 636055"/>
                  <a:gd name="connsiteY96" fmla="*/ 514633 h 607728"/>
                  <a:gd name="connsiteX97" fmla="*/ 572168 w 636055"/>
                  <a:gd name="connsiteY97" fmla="*/ 482790 h 607728"/>
                  <a:gd name="connsiteX98" fmla="*/ 570508 w 636055"/>
                  <a:gd name="connsiteY98" fmla="*/ 446088 h 607728"/>
                  <a:gd name="connsiteX99" fmla="*/ 571615 w 636055"/>
                  <a:gd name="connsiteY99" fmla="*/ 427738 h 607728"/>
                  <a:gd name="connsiteX100" fmla="*/ 572721 w 636055"/>
                  <a:gd name="connsiteY100" fmla="*/ 422880 h 60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636055" h="607728">
                    <a:moveTo>
                      <a:pt x="572721" y="422880"/>
                    </a:moveTo>
                    <a:lnTo>
                      <a:pt x="580464" y="412086"/>
                    </a:lnTo>
                    <a:lnTo>
                      <a:pt x="620840" y="384560"/>
                    </a:lnTo>
                    <a:lnTo>
                      <a:pt x="616415" y="364050"/>
                    </a:lnTo>
                    <a:lnTo>
                      <a:pt x="603694" y="353256"/>
                    </a:lnTo>
                    <a:lnTo>
                      <a:pt x="593185" y="330588"/>
                    </a:lnTo>
                    <a:lnTo>
                      <a:pt x="589867" y="299284"/>
                    </a:lnTo>
                    <a:lnTo>
                      <a:pt x="577699" y="279854"/>
                    </a:lnTo>
                    <a:lnTo>
                      <a:pt x="575486" y="265281"/>
                    </a:lnTo>
                    <a:lnTo>
                      <a:pt x="593738" y="255566"/>
                    </a:lnTo>
                    <a:lnTo>
                      <a:pt x="614756" y="252867"/>
                    </a:lnTo>
                    <a:lnTo>
                      <a:pt x="629136" y="244232"/>
                    </a:lnTo>
                    <a:lnTo>
                      <a:pt x="635220" y="216166"/>
                    </a:lnTo>
                    <a:lnTo>
                      <a:pt x="610331" y="187021"/>
                    </a:lnTo>
                    <a:lnTo>
                      <a:pt x="595398" y="189720"/>
                    </a:lnTo>
                    <a:lnTo>
                      <a:pt x="590420" y="199435"/>
                    </a:lnTo>
                    <a:lnTo>
                      <a:pt x="568849" y="213468"/>
                    </a:lnTo>
                    <a:lnTo>
                      <a:pt x="556128" y="201054"/>
                    </a:lnTo>
                    <a:cubicBezTo>
                      <a:pt x="551703" y="193498"/>
                      <a:pt x="553363" y="178925"/>
                      <a:pt x="556128" y="171369"/>
                    </a:cubicBezTo>
                    <a:cubicBezTo>
                      <a:pt x="556681" y="169750"/>
                      <a:pt x="558340" y="168131"/>
                      <a:pt x="559447" y="167051"/>
                    </a:cubicBezTo>
                    <a:lnTo>
                      <a:pt x="521836" y="155178"/>
                    </a:lnTo>
                    <a:lnTo>
                      <a:pt x="505244" y="138986"/>
                    </a:lnTo>
                    <a:lnTo>
                      <a:pt x="490310" y="108222"/>
                    </a:lnTo>
                    <a:lnTo>
                      <a:pt x="469846" y="102285"/>
                    </a:lnTo>
                    <a:lnTo>
                      <a:pt x="460443" y="95808"/>
                    </a:lnTo>
                    <a:lnTo>
                      <a:pt x="457678" y="87172"/>
                    </a:lnTo>
                    <a:lnTo>
                      <a:pt x="458231" y="64504"/>
                    </a:lnTo>
                    <a:lnTo>
                      <a:pt x="439426" y="47233"/>
                    </a:lnTo>
                    <a:lnTo>
                      <a:pt x="432789" y="10532"/>
                    </a:lnTo>
                    <a:lnTo>
                      <a:pt x="381351" y="1356"/>
                    </a:lnTo>
                    <a:lnTo>
                      <a:pt x="363099" y="8373"/>
                    </a:lnTo>
                    <a:lnTo>
                      <a:pt x="342081" y="33200"/>
                    </a:lnTo>
                    <a:lnTo>
                      <a:pt x="333232" y="30501"/>
                    </a:lnTo>
                    <a:lnTo>
                      <a:pt x="332679" y="4055"/>
                    </a:lnTo>
                    <a:lnTo>
                      <a:pt x="303918" y="3515"/>
                    </a:lnTo>
                    <a:lnTo>
                      <a:pt x="290644" y="15389"/>
                    </a:lnTo>
                    <a:lnTo>
                      <a:pt x="281241" y="-263"/>
                    </a:lnTo>
                    <a:lnTo>
                      <a:pt x="266308" y="5134"/>
                    </a:lnTo>
                    <a:lnTo>
                      <a:pt x="260777" y="16469"/>
                    </a:lnTo>
                    <a:lnTo>
                      <a:pt x="243078" y="10532"/>
                    </a:lnTo>
                    <a:lnTo>
                      <a:pt x="215423" y="34819"/>
                    </a:lnTo>
                    <a:lnTo>
                      <a:pt x="219295" y="53170"/>
                    </a:lnTo>
                    <a:cubicBezTo>
                      <a:pt x="217636" y="54249"/>
                      <a:pt x="214870" y="57488"/>
                      <a:pt x="212658" y="57488"/>
                    </a:cubicBezTo>
                    <a:cubicBezTo>
                      <a:pt x="208233" y="57488"/>
                      <a:pt x="200490" y="55329"/>
                      <a:pt x="196065" y="54249"/>
                    </a:cubicBezTo>
                    <a:lnTo>
                      <a:pt x="155689" y="94189"/>
                    </a:lnTo>
                    <a:lnTo>
                      <a:pt x="165092" y="107682"/>
                    </a:lnTo>
                    <a:lnTo>
                      <a:pt x="167857" y="128731"/>
                    </a:lnTo>
                    <a:lnTo>
                      <a:pt x="183897" y="133049"/>
                    </a:lnTo>
                    <a:lnTo>
                      <a:pt x="145734" y="174608"/>
                    </a:lnTo>
                    <a:lnTo>
                      <a:pt x="134672" y="194038"/>
                    </a:lnTo>
                    <a:lnTo>
                      <a:pt x="133013" y="249629"/>
                    </a:lnTo>
                    <a:lnTo>
                      <a:pt x="151265" y="265821"/>
                    </a:lnTo>
                    <a:lnTo>
                      <a:pt x="147393" y="277155"/>
                    </a:lnTo>
                    <a:lnTo>
                      <a:pt x="132460" y="292267"/>
                    </a:lnTo>
                    <a:lnTo>
                      <a:pt x="126929" y="287949"/>
                    </a:lnTo>
                    <a:lnTo>
                      <a:pt x="120292" y="276076"/>
                    </a:lnTo>
                    <a:lnTo>
                      <a:pt x="113654" y="274996"/>
                    </a:lnTo>
                    <a:lnTo>
                      <a:pt x="72173" y="328429"/>
                    </a:lnTo>
                    <a:lnTo>
                      <a:pt x="63323" y="332747"/>
                    </a:lnTo>
                    <a:lnTo>
                      <a:pt x="29584" y="326270"/>
                    </a:lnTo>
                    <a:lnTo>
                      <a:pt x="17416" y="339763"/>
                    </a:lnTo>
                    <a:lnTo>
                      <a:pt x="-836" y="344081"/>
                    </a:lnTo>
                    <a:lnTo>
                      <a:pt x="4695" y="361892"/>
                    </a:lnTo>
                    <a:lnTo>
                      <a:pt x="32903" y="402911"/>
                    </a:lnTo>
                    <a:lnTo>
                      <a:pt x="45071" y="414245"/>
                    </a:lnTo>
                    <a:lnTo>
                      <a:pt x="62770" y="470376"/>
                    </a:lnTo>
                    <a:lnTo>
                      <a:pt x="61111" y="478472"/>
                    </a:lnTo>
                    <a:lnTo>
                      <a:pt x="28478" y="511935"/>
                    </a:lnTo>
                    <a:lnTo>
                      <a:pt x="26819" y="532984"/>
                    </a:lnTo>
                    <a:cubicBezTo>
                      <a:pt x="42859" y="535682"/>
                      <a:pt x="56686" y="532984"/>
                      <a:pt x="60558" y="551874"/>
                    </a:cubicBezTo>
                    <a:cubicBezTo>
                      <a:pt x="61664" y="557811"/>
                      <a:pt x="62770" y="565367"/>
                      <a:pt x="62770" y="571304"/>
                    </a:cubicBezTo>
                    <a:cubicBezTo>
                      <a:pt x="62217" y="576162"/>
                      <a:pt x="60558" y="581559"/>
                      <a:pt x="60558" y="586956"/>
                    </a:cubicBezTo>
                    <a:cubicBezTo>
                      <a:pt x="61111" y="591814"/>
                      <a:pt x="68301" y="598830"/>
                      <a:pt x="70513" y="603148"/>
                    </a:cubicBezTo>
                    <a:cubicBezTo>
                      <a:pt x="71066" y="604227"/>
                      <a:pt x="71066" y="605847"/>
                      <a:pt x="71066" y="607466"/>
                    </a:cubicBezTo>
                    <a:lnTo>
                      <a:pt x="97062" y="599370"/>
                    </a:lnTo>
                    <a:lnTo>
                      <a:pt x="113654" y="586956"/>
                    </a:lnTo>
                    <a:lnTo>
                      <a:pt x="127482" y="561589"/>
                    </a:lnTo>
                    <a:lnTo>
                      <a:pt x="187769" y="527587"/>
                    </a:lnTo>
                    <a:lnTo>
                      <a:pt x="275157" y="536222"/>
                    </a:lnTo>
                    <a:lnTo>
                      <a:pt x="288432" y="534603"/>
                    </a:lnTo>
                    <a:lnTo>
                      <a:pt x="313874" y="522189"/>
                    </a:lnTo>
                    <a:lnTo>
                      <a:pt x="329360" y="547556"/>
                    </a:lnTo>
                    <a:lnTo>
                      <a:pt x="351484" y="538921"/>
                    </a:lnTo>
                    <a:lnTo>
                      <a:pt x="368077" y="553493"/>
                    </a:lnTo>
                    <a:lnTo>
                      <a:pt x="372502" y="548096"/>
                    </a:lnTo>
                    <a:lnTo>
                      <a:pt x="375820" y="537302"/>
                    </a:lnTo>
                    <a:lnTo>
                      <a:pt x="404028" y="524348"/>
                    </a:lnTo>
                    <a:lnTo>
                      <a:pt x="448275" y="529206"/>
                    </a:lnTo>
                    <a:lnTo>
                      <a:pt x="451041" y="515173"/>
                    </a:lnTo>
                    <a:lnTo>
                      <a:pt x="468740" y="501140"/>
                    </a:lnTo>
                    <a:lnTo>
                      <a:pt x="479248" y="524888"/>
                    </a:lnTo>
                    <a:lnTo>
                      <a:pt x="489204" y="530285"/>
                    </a:lnTo>
                    <a:lnTo>
                      <a:pt x="537323" y="503839"/>
                    </a:lnTo>
                    <a:cubicBezTo>
                      <a:pt x="539535" y="505458"/>
                      <a:pt x="541748" y="507617"/>
                      <a:pt x="544513" y="509236"/>
                    </a:cubicBezTo>
                    <a:cubicBezTo>
                      <a:pt x="557787" y="517872"/>
                      <a:pt x="562212" y="518411"/>
                      <a:pt x="577699" y="521110"/>
                    </a:cubicBezTo>
                    <a:lnTo>
                      <a:pt x="582676" y="522189"/>
                    </a:lnTo>
                    <a:lnTo>
                      <a:pt x="582676" y="514633"/>
                    </a:lnTo>
                    <a:cubicBezTo>
                      <a:pt x="581017" y="496822"/>
                      <a:pt x="577699" y="497902"/>
                      <a:pt x="572168" y="482790"/>
                    </a:cubicBezTo>
                    <a:cubicBezTo>
                      <a:pt x="567190" y="470916"/>
                      <a:pt x="569955" y="457962"/>
                      <a:pt x="570508" y="446088"/>
                    </a:cubicBezTo>
                    <a:cubicBezTo>
                      <a:pt x="571062" y="440151"/>
                      <a:pt x="571062" y="433675"/>
                      <a:pt x="571615" y="427738"/>
                    </a:cubicBezTo>
                    <a:cubicBezTo>
                      <a:pt x="571615" y="426658"/>
                      <a:pt x="573274" y="423960"/>
                      <a:pt x="572721" y="422880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2" name="Freeform 1094">
                <a:extLst>
                  <a:ext uri="{FF2B5EF4-FFF2-40B4-BE49-F238E27FC236}">
                    <a16:creationId xmlns:a16="http://schemas.microsoft.com/office/drawing/2014/main" id="{46EDE18B-FB61-4CF5-8EE6-80F9DBFF0204}"/>
                  </a:ext>
                </a:extLst>
              </p:cNvPr>
              <p:cNvSpPr/>
              <p:nvPr/>
            </p:nvSpPr>
            <p:spPr>
              <a:xfrm>
                <a:off x="6885821" y="4437615"/>
                <a:ext cx="324111" cy="302297"/>
              </a:xfrm>
              <a:custGeom>
                <a:avLst/>
                <a:gdLst>
                  <a:gd name="connsiteX0" fmla="*/ 299565 w 324111"/>
                  <a:gd name="connsiteY0" fmla="*/ 140493 h 302297"/>
                  <a:gd name="connsiteX1" fmla="*/ 310627 w 324111"/>
                  <a:gd name="connsiteY1" fmla="*/ 151287 h 302297"/>
                  <a:gd name="connsiteX2" fmla="*/ 287950 w 324111"/>
                  <a:gd name="connsiteY2" fmla="*/ 161002 h 302297"/>
                  <a:gd name="connsiteX3" fmla="*/ 310073 w 324111"/>
                  <a:gd name="connsiteY3" fmla="*/ 177734 h 302297"/>
                  <a:gd name="connsiteX4" fmla="*/ 307308 w 324111"/>
                  <a:gd name="connsiteY4" fmla="*/ 181512 h 302297"/>
                  <a:gd name="connsiteX5" fmla="*/ 276335 w 324111"/>
                  <a:gd name="connsiteY5" fmla="*/ 167479 h 302297"/>
                  <a:gd name="connsiteX6" fmla="*/ 253105 w 324111"/>
                  <a:gd name="connsiteY6" fmla="*/ 176654 h 302297"/>
                  <a:gd name="connsiteX7" fmla="*/ 256424 w 324111"/>
                  <a:gd name="connsiteY7" fmla="*/ 197164 h 302297"/>
                  <a:gd name="connsiteX8" fmla="*/ 263061 w 324111"/>
                  <a:gd name="connsiteY8" fmla="*/ 212276 h 302297"/>
                  <a:gd name="connsiteX9" fmla="*/ 278547 w 324111"/>
                  <a:gd name="connsiteY9" fmla="*/ 231166 h 302297"/>
                  <a:gd name="connsiteX10" fmla="*/ 268038 w 324111"/>
                  <a:gd name="connsiteY10" fmla="*/ 243040 h 302297"/>
                  <a:gd name="connsiteX11" fmla="*/ 266932 w 324111"/>
                  <a:gd name="connsiteY11" fmla="*/ 255454 h 302297"/>
                  <a:gd name="connsiteX12" fmla="*/ 270804 w 324111"/>
                  <a:gd name="connsiteY12" fmla="*/ 278122 h 302297"/>
                  <a:gd name="connsiteX13" fmla="*/ 259742 w 324111"/>
                  <a:gd name="connsiteY13" fmla="*/ 290536 h 302297"/>
                  <a:gd name="connsiteX14" fmla="*/ 255317 w 324111"/>
                  <a:gd name="connsiteY14" fmla="*/ 301870 h 302297"/>
                  <a:gd name="connsiteX15" fmla="*/ 240384 w 324111"/>
                  <a:gd name="connsiteY15" fmla="*/ 285678 h 302297"/>
                  <a:gd name="connsiteX16" fmla="*/ 193924 w 324111"/>
                  <a:gd name="connsiteY16" fmla="*/ 263550 h 302297"/>
                  <a:gd name="connsiteX17" fmla="*/ 177331 w 324111"/>
                  <a:gd name="connsiteY17" fmla="*/ 268947 h 302297"/>
                  <a:gd name="connsiteX18" fmla="*/ 169588 w 324111"/>
                  <a:gd name="connsiteY18" fmla="*/ 261930 h 302297"/>
                  <a:gd name="connsiteX19" fmla="*/ 177884 w 324111"/>
                  <a:gd name="connsiteY19" fmla="*/ 255993 h 302297"/>
                  <a:gd name="connsiteX20" fmla="*/ 180097 w 324111"/>
                  <a:gd name="connsiteY20" fmla="*/ 243580 h 302297"/>
                  <a:gd name="connsiteX21" fmla="*/ 149677 w 324111"/>
                  <a:gd name="connsiteY21" fmla="*/ 206339 h 302297"/>
                  <a:gd name="connsiteX22" fmla="*/ 121469 w 324111"/>
                  <a:gd name="connsiteY22" fmla="*/ 197164 h 302297"/>
                  <a:gd name="connsiteX23" fmla="*/ 80540 w 324111"/>
                  <a:gd name="connsiteY23" fmla="*/ 152367 h 302297"/>
                  <a:gd name="connsiteX24" fmla="*/ 54545 w 324111"/>
                  <a:gd name="connsiteY24" fmla="*/ 134556 h 302297"/>
                  <a:gd name="connsiteX25" fmla="*/ -764 w 324111"/>
                  <a:gd name="connsiteY25" fmla="*/ 51438 h 302297"/>
                  <a:gd name="connsiteX26" fmla="*/ 7532 w 324111"/>
                  <a:gd name="connsiteY26" fmla="*/ 12578 h 302297"/>
                  <a:gd name="connsiteX27" fmla="*/ 20806 w 324111"/>
                  <a:gd name="connsiteY27" fmla="*/ 14737 h 302297"/>
                  <a:gd name="connsiteX28" fmla="*/ 26337 w 324111"/>
                  <a:gd name="connsiteY28" fmla="*/ 26071 h 302297"/>
                  <a:gd name="connsiteX29" fmla="*/ 37399 w 324111"/>
                  <a:gd name="connsiteY29" fmla="*/ 29310 h 302297"/>
                  <a:gd name="connsiteX30" fmla="*/ 48461 w 324111"/>
                  <a:gd name="connsiteY30" fmla="*/ 13118 h 302297"/>
                  <a:gd name="connsiteX31" fmla="*/ 86071 w 324111"/>
                  <a:gd name="connsiteY31" fmla="*/ 1244 h 302297"/>
                  <a:gd name="connsiteX32" fmla="*/ 138615 w 324111"/>
                  <a:gd name="connsiteY32" fmla="*/ 9880 h 302297"/>
                  <a:gd name="connsiteX33" fmla="*/ 150230 w 324111"/>
                  <a:gd name="connsiteY33" fmla="*/ 8800 h 302297"/>
                  <a:gd name="connsiteX34" fmla="*/ 164610 w 324111"/>
                  <a:gd name="connsiteY34" fmla="*/ 11499 h 302297"/>
                  <a:gd name="connsiteX35" fmla="*/ 177331 w 324111"/>
                  <a:gd name="connsiteY35" fmla="*/ 2863 h 302297"/>
                  <a:gd name="connsiteX36" fmla="*/ 188393 w 324111"/>
                  <a:gd name="connsiteY36" fmla="*/ 5022 h 302297"/>
                  <a:gd name="connsiteX37" fmla="*/ 197796 w 324111"/>
                  <a:gd name="connsiteY37" fmla="*/ -375 h 302297"/>
                  <a:gd name="connsiteX38" fmla="*/ 216601 w 324111"/>
                  <a:gd name="connsiteY38" fmla="*/ 2324 h 302297"/>
                  <a:gd name="connsiteX39" fmla="*/ 237618 w 324111"/>
                  <a:gd name="connsiteY39" fmla="*/ 3943 h 302297"/>
                  <a:gd name="connsiteX40" fmla="*/ 249786 w 324111"/>
                  <a:gd name="connsiteY40" fmla="*/ 21754 h 302297"/>
                  <a:gd name="connsiteX41" fmla="*/ 279100 w 324111"/>
                  <a:gd name="connsiteY41" fmla="*/ 12578 h 302297"/>
                  <a:gd name="connsiteX42" fmla="*/ 293481 w 324111"/>
                  <a:gd name="connsiteY42" fmla="*/ 12039 h 302297"/>
                  <a:gd name="connsiteX43" fmla="*/ 282972 w 324111"/>
                  <a:gd name="connsiteY43" fmla="*/ 68709 h 302297"/>
                  <a:gd name="connsiteX44" fmla="*/ 286291 w 324111"/>
                  <a:gd name="connsiteY44" fmla="*/ 74646 h 302297"/>
                  <a:gd name="connsiteX45" fmla="*/ 321135 w 324111"/>
                  <a:gd name="connsiteY45" fmla="*/ 97855 h 302297"/>
                  <a:gd name="connsiteX46" fmla="*/ 323348 w 324111"/>
                  <a:gd name="connsiteY46" fmla="*/ 108109 h 302297"/>
                  <a:gd name="connsiteX47" fmla="*/ 313392 w 324111"/>
                  <a:gd name="connsiteY47" fmla="*/ 122142 h 302297"/>
                  <a:gd name="connsiteX48" fmla="*/ 309520 w 324111"/>
                  <a:gd name="connsiteY48" fmla="*/ 121063 h 302297"/>
                  <a:gd name="connsiteX49" fmla="*/ 297905 w 324111"/>
                  <a:gd name="connsiteY49" fmla="*/ 115126 h 302297"/>
                  <a:gd name="connsiteX50" fmla="*/ 293481 w 324111"/>
                  <a:gd name="connsiteY50" fmla="*/ 117824 h 302297"/>
                  <a:gd name="connsiteX51" fmla="*/ 299565 w 324111"/>
                  <a:gd name="connsiteY51" fmla="*/ 140493 h 302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324111" h="302297">
                    <a:moveTo>
                      <a:pt x="299565" y="140493"/>
                    </a:moveTo>
                    <a:lnTo>
                      <a:pt x="310627" y="151287"/>
                    </a:lnTo>
                    <a:lnTo>
                      <a:pt x="287950" y="161002"/>
                    </a:lnTo>
                    <a:lnTo>
                      <a:pt x="310073" y="177734"/>
                    </a:lnTo>
                    <a:lnTo>
                      <a:pt x="307308" y="181512"/>
                    </a:lnTo>
                    <a:cubicBezTo>
                      <a:pt x="303436" y="178273"/>
                      <a:pt x="282419" y="170177"/>
                      <a:pt x="276335" y="167479"/>
                    </a:cubicBezTo>
                    <a:lnTo>
                      <a:pt x="253105" y="176654"/>
                    </a:lnTo>
                    <a:lnTo>
                      <a:pt x="256424" y="197164"/>
                    </a:lnTo>
                    <a:lnTo>
                      <a:pt x="263061" y="212276"/>
                    </a:lnTo>
                    <a:lnTo>
                      <a:pt x="278547" y="231166"/>
                    </a:lnTo>
                    <a:lnTo>
                      <a:pt x="268038" y="243040"/>
                    </a:lnTo>
                    <a:lnTo>
                      <a:pt x="266932" y="255454"/>
                    </a:lnTo>
                    <a:lnTo>
                      <a:pt x="270804" y="278122"/>
                    </a:lnTo>
                    <a:lnTo>
                      <a:pt x="259742" y="290536"/>
                    </a:lnTo>
                    <a:lnTo>
                      <a:pt x="255317" y="301870"/>
                    </a:lnTo>
                    <a:lnTo>
                      <a:pt x="240384" y="285678"/>
                    </a:lnTo>
                    <a:lnTo>
                      <a:pt x="193924" y="263550"/>
                    </a:lnTo>
                    <a:lnTo>
                      <a:pt x="177331" y="268947"/>
                    </a:lnTo>
                    <a:cubicBezTo>
                      <a:pt x="176225" y="264629"/>
                      <a:pt x="172907" y="264089"/>
                      <a:pt x="169588" y="261930"/>
                    </a:cubicBezTo>
                    <a:lnTo>
                      <a:pt x="177884" y="255993"/>
                    </a:lnTo>
                    <a:lnTo>
                      <a:pt x="180097" y="243580"/>
                    </a:lnTo>
                    <a:lnTo>
                      <a:pt x="149677" y="206339"/>
                    </a:lnTo>
                    <a:lnTo>
                      <a:pt x="121469" y="197164"/>
                    </a:lnTo>
                    <a:lnTo>
                      <a:pt x="80540" y="152367"/>
                    </a:lnTo>
                    <a:lnTo>
                      <a:pt x="54545" y="134556"/>
                    </a:lnTo>
                    <a:lnTo>
                      <a:pt x="-764" y="51438"/>
                    </a:lnTo>
                    <a:lnTo>
                      <a:pt x="7532" y="12578"/>
                    </a:lnTo>
                    <a:lnTo>
                      <a:pt x="20806" y="14737"/>
                    </a:lnTo>
                    <a:lnTo>
                      <a:pt x="26337" y="26071"/>
                    </a:lnTo>
                    <a:lnTo>
                      <a:pt x="37399" y="29310"/>
                    </a:lnTo>
                    <a:lnTo>
                      <a:pt x="48461" y="13118"/>
                    </a:lnTo>
                    <a:lnTo>
                      <a:pt x="86071" y="1244"/>
                    </a:lnTo>
                    <a:cubicBezTo>
                      <a:pt x="91602" y="3403"/>
                      <a:pt x="130872" y="9340"/>
                      <a:pt x="138615" y="9880"/>
                    </a:cubicBezTo>
                    <a:cubicBezTo>
                      <a:pt x="142487" y="10419"/>
                      <a:pt x="146358" y="8800"/>
                      <a:pt x="150230" y="8800"/>
                    </a:cubicBezTo>
                    <a:cubicBezTo>
                      <a:pt x="154655" y="8800"/>
                      <a:pt x="159632" y="11499"/>
                      <a:pt x="164610" y="11499"/>
                    </a:cubicBezTo>
                    <a:cubicBezTo>
                      <a:pt x="169035" y="11499"/>
                      <a:pt x="172354" y="3943"/>
                      <a:pt x="177331" y="2863"/>
                    </a:cubicBezTo>
                    <a:cubicBezTo>
                      <a:pt x="180650" y="1784"/>
                      <a:pt x="185075" y="5562"/>
                      <a:pt x="188393" y="5022"/>
                    </a:cubicBezTo>
                    <a:cubicBezTo>
                      <a:pt x="191712" y="4482"/>
                      <a:pt x="194477" y="165"/>
                      <a:pt x="197796" y="-375"/>
                    </a:cubicBezTo>
                    <a:cubicBezTo>
                      <a:pt x="203880" y="-915"/>
                      <a:pt x="209964" y="2863"/>
                      <a:pt x="216601" y="2324"/>
                    </a:cubicBezTo>
                    <a:cubicBezTo>
                      <a:pt x="222132" y="1784"/>
                      <a:pt x="233747" y="704"/>
                      <a:pt x="237618" y="3943"/>
                    </a:cubicBezTo>
                    <a:cubicBezTo>
                      <a:pt x="243149" y="8260"/>
                      <a:pt x="244256" y="16896"/>
                      <a:pt x="249786" y="21754"/>
                    </a:cubicBezTo>
                    <a:cubicBezTo>
                      <a:pt x="258083" y="28230"/>
                      <a:pt x="271357" y="15277"/>
                      <a:pt x="279100" y="12578"/>
                    </a:cubicBezTo>
                    <a:cubicBezTo>
                      <a:pt x="283525" y="11499"/>
                      <a:pt x="288503" y="13118"/>
                      <a:pt x="293481" y="12039"/>
                    </a:cubicBezTo>
                    <a:cubicBezTo>
                      <a:pt x="303989" y="29849"/>
                      <a:pt x="280207" y="49279"/>
                      <a:pt x="282972" y="68709"/>
                    </a:cubicBezTo>
                    <a:cubicBezTo>
                      <a:pt x="283525" y="70868"/>
                      <a:pt x="284631" y="73567"/>
                      <a:pt x="286291" y="74646"/>
                    </a:cubicBezTo>
                    <a:cubicBezTo>
                      <a:pt x="297352" y="82203"/>
                      <a:pt x="310073" y="81663"/>
                      <a:pt x="321135" y="97855"/>
                    </a:cubicBezTo>
                    <a:cubicBezTo>
                      <a:pt x="323348" y="100013"/>
                      <a:pt x="323348" y="104871"/>
                      <a:pt x="323348" y="108109"/>
                    </a:cubicBezTo>
                    <a:cubicBezTo>
                      <a:pt x="323348" y="115126"/>
                      <a:pt x="321688" y="122142"/>
                      <a:pt x="313392" y="122142"/>
                    </a:cubicBezTo>
                    <a:cubicBezTo>
                      <a:pt x="312286" y="122142"/>
                      <a:pt x="310627" y="122142"/>
                      <a:pt x="309520" y="121063"/>
                    </a:cubicBezTo>
                    <a:cubicBezTo>
                      <a:pt x="305096" y="118904"/>
                      <a:pt x="304543" y="114046"/>
                      <a:pt x="297905" y="115126"/>
                    </a:cubicBezTo>
                    <a:cubicBezTo>
                      <a:pt x="296246" y="115126"/>
                      <a:pt x="294034" y="116205"/>
                      <a:pt x="293481" y="117824"/>
                    </a:cubicBezTo>
                    <a:cubicBezTo>
                      <a:pt x="290715" y="123222"/>
                      <a:pt x="301777" y="131317"/>
                      <a:pt x="299565" y="140493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3" name="Freeform 1095">
                <a:extLst>
                  <a:ext uri="{FF2B5EF4-FFF2-40B4-BE49-F238E27FC236}">
                    <a16:creationId xmlns:a16="http://schemas.microsoft.com/office/drawing/2014/main" id="{A6F348AD-76A1-4727-8050-143062A398FB}"/>
                  </a:ext>
                </a:extLst>
              </p:cNvPr>
              <p:cNvSpPr/>
              <p:nvPr/>
            </p:nvSpPr>
            <p:spPr>
              <a:xfrm>
                <a:off x="7461037" y="4400427"/>
                <a:ext cx="530259" cy="418285"/>
              </a:xfrm>
              <a:custGeom>
                <a:avLst/>
                <a:gdLst>
                  <a:gd name="connsiteX0" fmla="*/ 8000 w 530259"/>
                  <a:gd name="connsiteY0" fmla="*/ 74591 h 418285"/>
                  <a:gd name="connsiteX1" fmla="*/ 42292 w 530259"/>
                  <a:gd name="connsiteY1" fmla="*/ 85925 h 418285"/>
                  <a:gd name="connsiteX2" fmla="*/ 40080 w 530259"/>
                  <a:gd name="connsiteY2" fmla="*/ 110752 h 418285"/>
                  <a:gd name="connsiteX3" fmla="*/ 51695 w 530259"/>
                  <a:gd name="connsiteY3" fmla="*/ 113451 h 418285"/>
                  <a:gd name="connsiteX4" fmla="*/ 57779 w 530259"/>
                  <a:gd name="connsiteY4" fmla="*/ 110213 h 418285"/>
                  <a:gd name="connsiteX5" fmla="*/ 66628 w 530259"/>
                  <a:gd name="connsiteY5" fmla="*/ 109673 h 418285"/>
                  <a:gd name="connsiteX6" fmla="*/ 78796 w 530259"/>
                  <a:gd name="connsiteY6" fmla="*/ 109133 h 418285"/>
                  <a:gd name="connsiteX7" fmla="*/ 94283 w 530259"/>
                  <a:gd name="connsiteY7" fmla="*/ 105895 h 418285"/>
                  <a:gd name="connsiteX8" fmla="*/ 157335 w 530259"/>
                  <a:gd name="connsiteY8" fmla="*/ 111292 h 418285"/>
                  <a:gd name="connsiteX9" fmla="*/ 172822 w 530259"/>
                  <a:gd name="connsiteY9" fmla="*/ 104276 h 418285"/>
                  <a:gd name="connsiteX10" fmla="*/ 200477 w 530259"/>
                  <a:gd name="connsiteY10" fmla="*/ 98878 h 418285"/>
                  <a:gd name="connsiteX11" fmla="*/ 207667 w 530259"/>
                  <a:gd name="connsiteY11" fmla="*/ 98878 h 418285"/>
                  <a:gd name="connsiteX12" fmla="*/ 219282 w 530259"/>
                  <a:gd name="connsiteY12" fmla="*/ 96719 h 418285"/>
                  <a:gd name="connsiteX13" fmla="*/ 249149 w 530259"/>
                  <a:gd name="connsiteY13" fmla="*/ 100498 h 418285"/>
                  <a:gd name="connsiteX14" fmla="*/ 262976 w 530259"/>
                  <a:gd name="connsiteY14" fmla="*/ 98339 h 418285"/>
                  <a:gd name="connsiteX15" fmla="*/ 302799 w 530259"/>
                  <a:gd name="connsiteY15" fmla="*/ 48144 h 418285"/>
                  <a:gd name="connsiteX16" fmla="*/ 309436 w 530259"/>
                  <a:gd name="connsiteY16" fmla="*/ 40588 h 418285"/>
                  <a:gd name="connsiteX17" fmla="*/ 345940 w 530259"/>
                  <a:gd name="connsiteY17" fmla="*/ 20619 h 418285"/>
                  <a:gd name="connsiteX18" fmla="*/ 376913 w 530259"/>
                  <a:gd name="connsiteY18" fmla="*/ 3347 h 418285"/>
                  <a:gd name="connsiteX19" fmla="*/ 394612 w 530259"/>
                  <a:gd name="connsiteY19" fmla="*/ -431 h 418285"/>
                  <a:gd name="connsiteX20" fmla="*/ 411205 w 530259"/>
                  <a:gd name="connsiteY20" fmla="*/ 11983 h 418285"/>
                  <a:gd name="connsiteX21" fmla="*/ 431116 w 530259"/>
                  <a:gd name="connsiteY21" fmla="*/ 4967 h 418285"/>
                  <a:gd name="connsiteX22" fmla="*/ 446602 w 530259"/>
                  <a:gd name="connsiteY22" fmla="*/ 14142 h 418285"/>
                  <a:gd name="connsiteX23" fmla="*/ 459324 w 530259"/>
                  <a:gd name="connsiteY23" fmla="*/ 4967 h 418285"/>
                  <a:gd name="connsiteX24" fmla="*/ 467067 w 530259"/>
                  <a:gd name="connsiteY24" fmla="*/ 16840 h 418285"/>
                  <a:gd name="connsiteX25" fmla="*/ 489744 w 530259"/>
                  <a:gd name="connsiteY25" fmla="*/ 24397 h 418285"/>
                  <a:gd name="connsiteX26" fmla="*/ 515186 w 530259"/>
                  <a:gd name="connsiteY26" fmla="*/ 20619 h 418285"/>
                  <a:gd name="connsiteX27" fmla="*/ 520164 w 530259"/>
                  <a:gd name="connsiteY27" fmla="*/ 18999 h 418285"/>
                  <a:gd name="connsiteX28" fmla="*/ 524588 w 530259"/>
                  <a:gd name="connsiteY28" fmla="*/ 57859 h 418285"/>
                  <a:gd name="connsiteX29" fmla="*/ 522929 w 530259"/>
                  <a:gd name="connsiteY29" fmla="*/ 58939 h 418285"/>
                  <a:gd name="connsiteX30" fmla="*/ 511867 w 530259"/>
                  <a:gd name="connsiteY30" fmla="*/ 56780 h 418285"/>
                  <a:gd name="connsiteX31" fmla="*/ 495828 w 530259"/>
                  <a:gd name="connsiteY31" fmla="*/ 64336 h 418285"/>
                  <a:gd name="connsiteX32" fmla="*/ 482553 w 530259"/>
                  <a:gd name="connsiteY32" fmla="*/ 92402 h 418285"/>
                  <a:gd name="connsiteX33" fmla="*/ 489191 w 530259"/>
                  <a:gd name="connsiteY33" fmla="*/ 143136 h 418285"/>
                  <a:gd name="connsiteX34" fmla="*/ 490297 w 530259"/>
                  <a:gd name="connsiteY34" fmla="*/ 150692 h 418285"/>
                  <a:gd name="connsiteX35" fmla="*/ 481447 w 530259"/>
                  <a:gd name="connsiteY35" fmla="*/ 157708 h 418285"/>
                  <a:gd name="connsiteX36" fmla="*/ 473704 w 530259"/>
                  <a:gd name="connsiteY36" fmla="*/ 174979 h 418285"/>
                  <a:gd name="connsiteX37" fmla="*/ 468173 w 530259"/>
                  <a:gd name="connsiteY37" fmla="*/ 183615 h 418285"/>
                  <a:gd name="connsiteX38" fmla="*/ 468726 w 530259"/>
                  <a:gd name="connsiteY38" fmla="*/ 192251 h 418285"/>
                  <a:gd name="connsiteX39" fmla="*/ 488637 w 530259"/>
                  <a:gd name="connsiteY39" fmla="*/ 194949 h 418285"/>
                  <a:gd name="connsiteX40" fmla="*/ 499699 w 530259"/>
                  <a:gd name="connsiteY40" fmla="*/ 208442 h 418285"/>
                  <a:gd name="connsiteX41" fmla="*/ 513527 w 530259"/>
                  <a:gd name="connsiteY41" fmla="*/ 219776 h 418285"/>
                  <a:gd name="connsiteX42" fmla="*/ 524588 w 530259"/>
                  <a:gd name="connsiteY42" fmla="*/ 235428 h 418285"/>
                  <a:gd name="connsiteX43" fmla="*/ 513527 w 530259"/>
                  <a:gd name="connsiteY43" fmla="*/ 234889 h 418285"/>
                  <a:gd name="connsiteX44" fmla="*/ 512420 w 530259"/>
                  <a:gd name="connsiteY44" fmla="*/ 241905 h 418285"/>
                  <a:gd name="connsiteX45" fmla="*/ 499699 w 530259"/>
                  <a:gd name="connsiteY45" fmla="*/ 244064 h 418285"/>
                  <a:gd name="connsiteX46" fmla="*/ 493062 w 530259"/>
                  <a:gd name="connsiteY46" fmla="*/ 253239 h 418285"/>
                  <a:gd name="connsiteX47" fmla="*/ 461536 w 530259"/>
                  <a:gd name="connsiteY47" fmla="*/ 239746 h 418285"/>
                  <a:gd name="connsiteX48" fmla="*/ 454899 w 530259"/>
                  <a:gd name="connsiteY48" fmla="*/ 245683 h 418285"/>
                  <a:gd name="connsiteX49" fmla="*/ 441625 w 530259"/>
                  <a:gd name="connsiteY49" fmla="*/ 247302 h 418285"/>
                  <a:gd name="connsiteX50" fmla="*/ 428350 w 530259"/>
                  <a:gd name="connsiteY50" fmla="*/ 264573 h 418285"/>
                  <a:gd name="connsiteX51" fmla="*/ 409545 w 530259"/>
                  <a:gd name="connsiteY51" fmla="*/ 268352 h 418285"/>
                  <a:gd name="connsiteX52" fmla="*/ 406780 w 530259"/>
                  <a:gd name="connsiteY52" fmla="*/ 283464 h 418285"/>
                  <a:gd name="connsiteX53" fmla="*/ 390740 w 530259"/>
                  <a:gd name="connsiteY53" fmla="*/ 293179 h 418285"/>
                  <a:gd name="connsiteX54" fmla="*/ 387422 w 530259"/>
                  <a:gd name="connsiteY54" fmla="*/ 302354 h 418285"/>
                  <a:gd name="connsiteX55" fmla="*/ 370829 w 530259"/>
                  <a:gd name="connsiteY55" fmla="*/ 309910 h 418285"/>
                  <a:gd name="connsiteX56" fmla="*/ 370276 w 530259"/>
                  <a:gd name="connsiteY56" fmla="*/ 315847 h 418285"/>
                  <a:gd name="connsiteX57" fmla="*/ 378572 w 530259"/>
                  <a:gd name="connsiteY57" fmla="*/ 332039 h 418285"/>
                  <a:gd name="connsiteX58" fmla="*/ 371935 w 530259"/>
                  <a:gd name="connsiteY58" fmla="*/ 350389 h 418285"/>
                  <a:gd name="connsiteX59" fmla="*/ 360320 w 530259"/>
                  <a:gd name="connsiteY59" fmla="*/ 361184 h 418285"/>
                  <a:gd name="connsiteX60" fmla="*/ 352577 w 530259"/>
                  <a:gd name="connsiteY60" fmla="*/ 361184 h 418285"/>
                  <a:gd name="connsiteX61" fmla="*/ 312754 w 530259"/>
                  <a:gd name="connsiteY61" fmla="*/ 381154 h 418285"/>
                  <a:gd name="connsiteX62" fmla="*/ 276250 w 530259"/>
                  <a:gd name="connsiteY62" fmla="*/ 370899 h 418285"/>
                  <a:gd name="connsiteX63" fmla="*/ 263529 w 530259"/>
                  <a:gd name="connsiteY63" fmla="*/ 376836 h 418285"/>
                  <a:gd name="connsiteX64" fmla="*/ 244724 w 530259"/>
                  <a:gd name="connsiteY64" fmla="*/ 372518 h 418285"/>
                  <a:gd name="connsiteX65" fmla="*/ 235321 w 530259"/>
                  <a:gd name="connsiteY65" fmla="*/ 361184 h 418285"/>
                  <a:gd name="connsiteX66" fmla="*/ 224813 w 530259"/>
                  <a:gd name="connsiteY66" fmla="*/ 367661 h 418285"/>
                  <a:gd name="connsiteX67" fmla="*/ 212645 w 530259"/>
                  <a:gd name="connsiteY67" fmla="*/ 363883 h 418285"/>
                  <a:gd name="connsiteX68" fmla="*/ 195499 w 530259"/>
                  <a:gd name="connsiteY68" fmla="*/ 380614 h 418285"/>
                  <a:gd name="connsiteX69" fmla="*/ 165079 w 530259"/>
                  <a:gd name="connsiteY69" fmla="*/ 396806 h 418285"/>
                  <a:gd name="connsiteX70" fmla="*/ 157888 w 530259"/>
                  <a:gd name="connsiteY70" fmla="*/ 400584 h 418285"/>
                  <a:gd name="connsiteX71" fmla="*/ 138530 w 530259"/>
                  <a:gd name="connsiteY71" fmla="*/ 402203 h 418285"/>
                  <a:gd name="connsiteX72" fmla="*/ 116407 w 530259"/>
                  <a:gd name="connsiteY72" fmla="*/ 416236 h 418285"/>
                  <a:gd name="connsiteX73" fmla="*/ 107557 w 530259"/>
                  <a:gd name="connsiteY73" fmla="*/ 417855 h 418285"/>
                  <a:gd name="connsiteX74" fmla="*/ 99261 w 530259"/>
                  <a:gd name="connsiteY74" fmla="*/ 371439 h 418285"/>
                  <a:gd name="connsiteX75" fmla="*/ 79349 w 530259"/>
                  <a:gd name="connsiteY75" fmla="*/ 337976 h 418285"/>
                  <a:gd name="connsiteX76" fmla="*/ 44505 w 530259"/>
                  <a:gd name="connsiteY76" fmla="*/ 325562 h 418285"/>
                  <a:gd name="connsiteX77" fmla="*/ 37867 w 530259"/>
                  <a:gd name="connsiteY77" fmla="*/ 321244 h 418285"/>
                  <a:gd name="connsiteX78" fmla="*/ 33443 w 530259"/>
                  <a:gd name="connsiteY78" fmla="*/ 309370 h 418285"/>
                  <a:gd name="connsiteX79" fmla="*/ 35655 w 530259"/>
                  <a:gd name="connsiteY79" fmla="*/ 307751 h 418285"/>
                  <a:gd name="connsiteX80" fmla="*/ 43951 w 530259"/>
                  <a:gd name="connsiteY80" fmla="*/ 291020 h 418285"/>
                  <a:gd name="connsiteX81" fmla="*/ 31230 w 530259"/>
                  <a:gd name="connsiteY81" fmla="*/ 278067 h 418285"/>
                  <a:gd name="connsiteX82" fmla="*/ 31783 w 530259"/>
                  <a:gd name="connsiteY82" fmla="*/ 257017 h 418285"/>
                  <a:gd name="connsiteX83" fmla="*/ 27912 w 530259"/>
                  <a:gd name="connsiteY83" fmla="*/ 245683 h 418285"/>
                  <a:gd name="connsiteX84" fmla="*/ 34549 w 530259"/>
                  <a:gd name="connsiteY84" fmla="*/ 238667 h 418285"/>
                  <a:gd name="connsiteX85" fmla="*/ 43951 w 530259"/>
                  <a:gd name="connsiteY85" fmla="*/ 237048 h 418285"/>
                  <a:gd name="connsiteX86" fmla="*/ 68841 w 530259"/>
                  <a:gd name="connsiteY86" fmla="*/ 196568 h 418285"/>
                  <a:gd name="connsiteX87" fmla="*/ 50589 w 530259"/>
                  <a:gd name="connsiteY87" fmla="*/ 188472 h 418285"/>
                  <a:gd name="connsiteX88" fmla="*/ 44505 w 530259"/>
                  <a:gd name="connsiteY88" fmla="*/ 177678 h 418285"/>
                  <a:gd name="connsiteX89" fmla="*/ 22934 w 530259"/>
                  <a:gd name="connsiteY89" fmla="*/ 173360 h 418285"/>
                  <a:gd name="connsiteX90" fmla="*/ 12978 w 530259"/>
                  <a:gd name="connsiteY90" fmla="*/ 148533 h 418285"/>
                  <a:gd name="connsiteX91" fmla="*/ -849 w 530259"/>
                  <a:gd name="connsiteY91" fmla="*/ 138818 h 418285"/>
                  <a:gd name="connsiteX92" fmla="*/ 257 w 530259"/>
                  <a:gd name="connsiteY92" fmla="*/ 112371 h 418285"/>
                  <a:gd name="connsiteX93" fmla="*/ 12425 w 530259"/>
                  <a:gd name="connsiteY93" fmla="*/ 101037 h 418285"/>
                  <a:gd name="connsiteX94" fmla="*/ 12425 w 530259"/>
                  <a:gd name="connsiteY94" fmla="*/ 84846 h 418285"/>
                  <a:gd name="connsiteX95" fmla="*/ 8000 w 530259"/>
                  <a:gd name="connsiteY95" fmla="*/ 74591 h 418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530259" h="418285">
                    <a:moveTo>
                      <a:pt x="8000" y="74591"/>
                    </a:moveTo>
                    <a:cubicBezTo>
                      <a:pt x="16850" y="75670"/>
                      <a:pt x="38974" y="76750"/>
                      <a:pt x="42292" y="85925"/>
                    </a:cubicBezTo>
                    <a:cubicBezTo>
                      <a:pt x="45058" y="92941"/>
                      <a:pt x="32890" y="107514"/>
                      <a:pt x="40080" y="110752"/>
                    </a:cubicBezTo>
                    <a:cubicBezTo>
                      <a:pt x="42845" y="111832"/>
                      <a:pt x="48929" y="113451"/>
                      <a:pt x="51695" y="113451"/>
                    </a:cubicBezTo>
                    <a:cubicBezTo>
                      <a:pt x="53907" y="113451"/>
                      <a:pt x="55566" y="111292"/>
                      <a:pt x="57779" y="110213"/>
                    </a:cubicBezTo>
                    <a:cubicBezTo>
                      <a:pt x="60544" y="109673"/>
                      <a:pt x="63863" y="109673"/>
                      <a:pt x="66628" y="109673"/>
                    </a:cubicBezTo>
                    <a:cubicBezTo>
                      <a:pt x="70500" y="109133"/>
                      <a:pt x="74925" y="109673"/>
                      <a:pt x="78796" y="109133"/>
                    </a:cubicBezTo>
                    <a:cubicBezTo>
                      <a:pt x="84327" y="108593"/>
                      <a:pt x="89305" y="105895"/>
                      <a:pt x="94283" y="105895"/>
                    </a:cubicBezTo>
                    <a:cubicBezTo>
                      <a:pt x="115300" y="106435"/>
                      <a:pt x="136318" y="110213"/>
                      <a:pt x="157335" y="111292"/>
                    </a:cubicBezTo>
                    <a:cubicBezTo>
                      <a:pt x="164526" y="111832"/>
                      <a:pt x="166738" y="106435"/>
                      <a:pt x="172822" y="104276"/>
                    </a:cubicBezTo>
                    <a:cubicBezTo>
                      <a:pt x="178906" y="102117"/>
                      <a:pt x="194393" y="98339"/>
                      <a:pt x="200477" y="98878"/>
                    </a:cubicBezTo>
                    <a:cubicBezTo>
                      <a:pt x="202136" y="98878"/>
                      <a:pt x="206007" y="99418"/>
                      <a:pt x="207667" y="98878"/>
                    </a:cubicBezTo>
                    <a:cubicBezTo>
                      <a:pt x="212091" y="97799"/>
                      <a:pt x="214304" y="96180"/>
                      <a:pt x="219282" y="96719"/>
                    </a:cubicBezTo>
                    <a:cubicBezTo>
                      <a:pt x="229237" y="97259"/>
                      <a:pt x="239193" y="99958"/>
                      <a:pt x="249149" y="100498"/>
                    </a:cubicBezTo>
                    <a:cubicBezTo>
                      <a:pt x="253573" y="100498"/>
                      <a:pt x="259104" y="99418"/>
                      <a:pt x="262976" y="98339"/>
                    </a:cubicBezTo>
                    <a:cubicBezTo>
                      <a:pt x="291737" y="90243"/>
                      <a:pt x="291184" y="70273"/>
                      <a:pt x="302799" y="48144"/>
                    </a:cubicBezTo>
                    <a:cubicBezTo>
                      <a:pt x="304458" y="45446"/>
                      <a:pt x="306670" y="42747"/>
                      <a:pt x="309436" y="40588"/>
                    </a:cubicBezTo>
                    <a:cubicBezTo>
                      <a:pt x="320497" y="31413"/>
                      <a:pt x="333219" y="27095"/>
                      <a:pt x="345940" y="20619"/>
                    </a:cubicBezTo>
                    <a:cubicBezTo>
                      <a:pt x="349811" y="18460"/>
                      <a:pt x="376360" y="3887"/>
                      <a:pt x="376913" y="3347"/>
                    </a:cubicBezTo>
                    <a:cubicBezTo>
                      <a:pt x="382997" y="2808"/>
                      <a:pt x="388528" y="649"/>
                      <a:pt x="394612" y="-431"/>
                    </a:cubicBezTo>
                    <a:lnTo>
                      <a:pt x="411205" y="11983"/>
                    </a:lnTo>
                    <a:lnTo>
                      <a:pt x="431116" y="4967"/>
                    </a:lnTo>
                    <a:lnTo>
                      <a:pt x="446602" y="14142"/>
                    </a:lnTo>
                    <a:lnTo>
                      <a:pt x="459324" y="4967"/>
                    </a:lnTo>
                    <a:lnTo>
                      <a:pt x="467067" y="16840"/>
                    </a:lnTo>
                    <a:lnTo>
                      <a:pt x="489744" y="24397"/>
                    </a:lnTo>
                    <a:lnTo>
                      <a:pt x="515186" y="20619"/>
                    </a:lnTo>
                    <a:lnTo>
                      <a:pt x="520164" y="18999"/>
                    </a:lnTo>
                    <a:cubicBezTo>
                      <a:pt x="530672" y="34651"/>
                      <a:pt x="532332" y="40588"/>
                      <a:pt x="524588" y="57859"/>
                    </a:cubicBezTo>
                    <a:lnTo>
                      <a:pt x="522929" y="58939"/>
                    </a:lnTo>
                    <a:cubicBezTo>
                      <a:pt x="519611" y="58399"/>
                      <a:pt x="515739" y="56780"/>
                      <a:pt x="511867" y="56780"/>
                    </a:cubicBezTo>
                    <a:cubicBezTo>
                      <a:pt x="507996" y="57320"/>
                      <a:pt x="499146" y="61637"/>
                      <a:pt x="495828" y="64336"/>
                    </a:cubicBezTo>
                    <a:cubicBezTo>
                      <a:pt x="488637" y="71353"/>
                      <a:pt x="482553" y="82147"/>
                      <a:pt x="482553" y="92402"/>
                    </a:cubicBezTo>
                    <a:cubicBezTo>
                      <a:pt x="482553" y="105355"/>
                      <a:pt x="486425" y="130182"/>
                      <a:pt x="489191" y="143136"/>
                    </a:cubicBezTo>
                    <a:cubicBezTo>
                      <a:pt x="489744" y="146374"/>
                      <a:pt x="491403" y="146914"/>
                      <a:pt x="490297" y="150692"/>
                    </a:cubicBezTo>
                    <a:cubicBezTo>
                      <a:pt x="488084" y="152851"/>
                      <a:pt x="483660" y="154470"/>
                      <a:pt x="481447" y="157708"/>
                    </a:cubicBezTo>
                    <a:cubicBezTo>
                      <a:pt x="478129" y="162566"/>
                      <a:pt x="476469" y="169582"/>
                      <a:pt x="473704" y="174979"/>
                    </a:cubicBezTo>
                    <a:cubicBezTo>
                      <a:pt x="472598" y="178218"/>
                      <a:pt x="469279" y="180916"/>
                      <a:pt x="468173" y="183615"/>
                    </a:cubicBezTo>
                    <a:cubicBezTo>
                      <a:pt x="467620" y="185774"/>
                      <a:pt x="467620" y="190631"/>
                      <a:pt x="468726" y="192251"/>
                    </a:cubicBezTo>
                    <a:cubicBezTo>
                      <a:pt x="475363" y="195489"/>
                      <a:pt x="479788" y="187933"/>
                      <a:pt x="488637" y="194949"/>
                    </a:cubicBezTo>
                    <a:cubicBezTo>
                      <a:pt x="493062" y="198727"/>
                      <a:pt x="495828" y="204664"/>
                      <a:pt x="499699" y="208442"/>
                    </a:cubicBezTo>
                    <a:cubicBezTo>
                      <a:pt x="503571" y="212760"/>
                      <a:pt x="509655" y="215459"/>
                      <a:pt x="513527" y="219776"/>
                    </a:cubicBezTo>
                    <a:cubicBezTo>
                      <a:pt x="517951" y="224094"/>
                      <a:pt x="521823" y="230571"/>
                      <a:pt x="524588" y="235428"/>
                    </a:cubicBezTo>
                    <a:lnTo>
                      <a:pt x="513527" y="234889"/>
                    </a:lnTo>
                    <a:lnTo>
                      <a:pt x="512420" y="241905"/>
                    </a:lnTo>
                    <a:lnTo>
                      <a:pt x="499699" y="244064"/>
                    </a:lnTo>
                    <a:lnTo>
                      <a:pt x="493062" y="253239"/>
                    </a:lnTo>
                    <a:lnTo>
                      <a:pt x="461536" y="239746"/>
                    </a:lnTo>
                    <a:lnTo>
                      <a:pt x="454899" y="245683"/>
                    </a:lnTo>
                    <a:lnTo>
                      <a:pt x="441625" y="247302"/>
                    </a:lnTo>
                    <a:lnTo>
                      <a:pt x="428350" y="264573"/>
                    </a:lnTo>
                    <a:lnTo>
                      <a:pt x="409545" y="268352"/>
                    </a:lnTo>
                    <a:lnTo>
                      <a:pt x="406780" y="283464"/>
                    </a:lnTo>
                    <a:lnTo>
                      <a:pt x="390740" y="293179"/>
                    </a:lnTo>
                    <a:lnTo>
                      <a:pt x="387422" y="302354"/>
                    </a:lnTo>
                    <a:lnTo>
                      <a:pt x="370829" y="309910"/>
                    </a:lnTo>
                    <a:lnTo>
                      <a:pt x="370276" y="315847"/>
                    </a:lnTo>
                    <a:lnTo>
                      <a:pt x="378572" y="332039"/>
                    </a:lnTo>
                    <a:lnTo>
                      <a:pt x="371935" y="350389"/>
                    </a:lnTo>
                    <a:lnTo>
                      <a:pt x="360320" y="361184"/>
                    </a:lnTo>
                    <a:lnTo>
                      <a:pt x="352577" y="361184"/>
                    </a:lnTo>
                    <a:lnTo>
                      <a:pt x="312754" y="381154"/>
                    </a:lnTo>
                    <a:lnTo>
                      <a:pt x="276250" y="370899"/>
                    </a:lnTo>
                    <a:lnTo>
                      <a:pt x="263529" y="376836"/>
                    </a:lnTo>
                    <a:lnTo>
                      <a:pt x="244724" y="372518"/>
                    </a:lnTo>
                    <a:lnTo>
                      <a:pt x="235321" y="361184"/>
                    </a:lnTo>
                    <a:lnTo>
                      <a:pt x="224813" y="367661"/>
                    </a:lnTo>
                    <a:lnTo>
                      <a:pt x="212645" y="363883"/>
                    </a:lnTo>
                    <a:lnTo>
                      <a:pt x="195499" y="380614"/>
                    </a:lnTo>
                    <a:lnTo>
                      <a:pt x="165079" y="396806"/>
                    </a:lnTo>
                    <a:lnTo>
                      <a:pt x="157888" y="400584"/>
                    </a:lnTo>
                    <a:lnTo>
                      <a:pt x="138530" y="402203"/>
                    </a:lnTo>
                    <a:lnTo>
                      <a:pt x="116407" y="416236"/>
                    </a:lnTo>
                    <a:lnTo>
                      <a:pt x="107557" y="417855"/>
                    </a:lnTo>
                    <a:lnTo>
                      <a:pt x="99261" y="371439"/>
                    </a:lnTo>
                    <a:lnTo>
                      <a:pt x="79349" y="337976"/>
                    </a:lnTo>
                    <a:lnTo>
                      <a:pt x="44505" y="325562"/>
                    </a:lnTo>
                    <a:lnTo>
                      <a:pt x="37867" y="321244"/>
                    </a:lnTo>
                    <a:lnTo>
                      <a:pt x="33443" y="309370"/>
                    </a:lnTo>
                    <a:lnTo>
                      <a:pt x="35655" y="307751"/>
                    </a:lnTo>
                    <a:lnTo>
                      <a:pt x="43951" y="291020"/>
                    </a:lnTo>
                    <a:lnTo>
                      <a:pt x="31230" y="278067"/>
                    </a:lnTo>
                    <a:lnTo>
                      <a:pt x="31783" y="257017"/>
                    </a:lnTo>
                    <a:lnTo>
                      <a:pt x="27912" y="245683"/>
                    </a:lnTo>
                    <a:lnTo>
                      <a:pt x="34549" y="238667"/>
                    </a:lnTo>
                    <a:lnTo>
                      <a:pt x="43951" y="237048"/>
                    </a:lnTo>
                    <a:lnTo>
                      <a:pt x="68841" y="196568"/>
                    </a:lnTo>
                    <a:lnTo>
                      <a:pt x="50589" y="188472"/>
                    </a:lnTo>
                    <a:lnTo>
                      <a:pt x="44505" y="177678"/>
                    </a:lnTo>
                    <a:lnTo>
                      <a:pt x="22934" y="173360"/>
                    </a:lnTo>
                    <a:lnTo>
                      <a:pt x="12978" y="148533"/>
                    </a:lnTo>
                    <a:lnTo>
                      <a:pt x="-849" y="138818"/>
                    </a:lnTo>
                    <a:lnTo>
                      <a:pt x="257" y="112371"/>
                    </a:lnTo>
                    <a:lnTo>
                      <a:pt x="12425" y="101037"/>
                    </a:lnTo>
                    <a:lnTo>
                      <a:pt x="12425" y="84846"/>
                    </a:lnTo>
                    <a:lnTo>
                      <a:pt x="8000" y="74591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4" name="Freeform 1096">
                <a:extLst>
                  <a:ext uri="{FF2B5EF4-FFF2-40B4-BE49-F238E27FC236}">
                    <a16:creationId xmlns:a16="http://schemas.microsoft.com/office/drawing/2014/main" id="{1B0E5CC4-5F55-4A0B-8E24-321CABDBFE9C}"/>
                  </a:ext>
                </a:extLst>
              </p:cNvPr>
              <p:cNvSpPr/>
              <p:nvPr/>
            </p:nvSpPr>
            <p:spPr>
              <a:xfrm>
                <a:off x="5794570" y="3750600"/>
                <a:ext cx="293691" cy="230461"/>
              </a:xfrm>
              <a:custGeom>
                <a:avLst/>
                <a:gdLst>
                  <a:gd name="connsiteX0" fmla="*/ 241628 w 293691"/>
                  <a:gd name="connsiteY0" fmla="*/ 80083 h 230461"/>
                  <a:gd name="connsiteX1" fmla="*/ 264305 w 293691"/>
                  <a:gd name="connsiteY1" fmla="*/ 86020 h 230461"/>
                  <a:gd name="connsiteX2" fmla="*/ 269283 w 293691"/>
                  <a:gd name="connsiteY2" fmla="*/ 93576 h 230461"/>
                  <a:gd name="connsiteX3" fmla="*/ 277026 w 293691"/>
                  <a:gd name="connsiteY3" fmla="*/ 97354 h 230461"/>
                  <a:gd name="connsiteX4" fmla="*/ 283663 w 293691"/>
                  <a:gd name="connsiteY4" fmla="*/ 106530 h 230461"/>
                  <a:gd name="connsiteX5" fmla="*/ 274261 w 293691"/>
                  <a:gd name="connsiteY5" fmla="*/ 111387 h 230461"/>
                  <a:gd name="connsiteX6" fmla="*/ 277579 w 293691"/>
                  <a:gd name="connsiteY6" fmla="*/ 118404 h 230461"/>
                  <a:gd name="connsiteX7" fmla="*/ 289747 w 293691"/>
                  <a:gd name="connsiteY7" fmla="*/ 122721 h 230461"/>
                  <a:gd name="connsiteX8" fmla="*/ 291407 w 293691"/>
                  <a:gd name="connsiteY8" fmla="*/ 129738 h 230461"/>
                  <a:gd name="connsiteX9" fmla="*/ 293066 w 293691"/>
                  <a:gd name="connsiteY9" fmla="*/ 135135 h 230461"/>
                  <a:gd name="connsiteX10" fmla="*/ 291960 w 293691"/>
                  <a:gd name="connsiteY10" fmla="*/ 139993 h 230461"/>
                  <a:gd name="connsiteX11" fmla="*/ 290853 w 293691"/>
                  <a:gd name="connsiteY11" fmla="*/ 141072 h 230461"/>
                  <a:gd name="connsiteX12" fmla="*/ 281451 w 293691"/>
                  <a:gd name="connsiteY12" fmla="*/ 144850 h 230461"/>
                  <a:gd name="connsiteX13" fmla="*/ 276473 w 293691"/>
                  <a:gd name="connsiteY13" fmla="*/ 148628 h 230461"/>
                  <a:gd name="connsiteX14" fmla="*/ 272048 w 293691"/>
                  <a:gd name="connsiteY14" fmla="*/ 158883 h 230461"/>
                  <a:gd name="connsiteX15" fmla="*/ 263752 w 293691"/>
                  <a:gd name="connsiteY15" fmla="*/ 155645 h 230461"/>
                  <a:gd name="connsiteX16" fmla="*/ 262093 w 293691"/>
                  <a:gd name="connsiteY16" fmla="*/ 155105 h 230461"/>
                  <a:gd name="connsiteX17" fmla="*/ 256562 w 293691"/>
                  <a:gd name="connsiteY17" fmla="*/ 159423 h 230461"/>
                  <a:gd name="connsiteX18" fmla="*/ 238863 w 293691"/>
                  <a:gd name="connsiteY18" fmla="*/ 196124 h 230461"/>
                  <a:gd name="connsiteX19" fmla="*/ 251031 w 293691"/>
                  <a:gd name="connsiteY19" fmla="*/ 215014 h 230461"/>
                  <a:gd name="connsiteX20" fmla="*/ 243841 w 293691"/>
                  <a:gd name="connsiteY20" fmla="*/ 227428 h 230461"/>
                  <a:gd name="connsiteX21" fmla="*/ 218398 w 293691"/>
                  <a:gd name="connsiteY21" fmla="*/ 230126 h 230461"/>
                  <a:gd name="connsiteX22" fmla="*/ 215633 w 293691"/>
                  <a:gd name="connsiteY22" fmla="*/ 224189 h 230461"/>
                  <a:gd name="connsiteX23" fmla="*/ 210102 w 293691"/>
                  <a:gd name="connsiteY23" fmla="*/ 218252 h 230461"/>
                  <a:gd name="connsiteX24" fmla="*/ 201806 w 293691"/>
                  <a:gd name="connsiteY24" fmla="*/ 209077 h 230461"/>
                  <a:gd name="connsiteX25" fmla="*/ 183554 w 293691"/>
                  <a:gd name="connsiteY25" fmla="*/ 200442 h 230461"/>
                  <a:gd name="connsiteX26" fmla="*/ 171939 w 293691"/>
                  <a:gd name="connsiteY26" fmla="*/ 196124 h 230461"/>
                  <a:gd name="connsiteX27" fmla="*/ 168620 w 293691"/>
                  <a:gd name="connsiteY27" fmla="*/ 177233 h 230461"/>
                  <a:gd name="connsiteX28" fmla="*/ 173045 w 293691"/>
                  <a:gd name="connsiteY28" fmla="*/ 157803 h 230461"/>
                  <a:gd name="connsiteX29" fmla="*/ 170832 w 293691"/>
                  <a:gd name="connsiteY29" fmla="*/ 154565 h 230461"/>
                  <a:gd name="connsiteX30" fmla="*/ 166408 w 293691"/>
                  <a:gd name="connsiteY30" fmla="*/ 155645 h 230461"/>
                  <a:gd name="connsiteX31" fmla="*/ 157558 w 293691"/>
                  <a:gd name="connsiteY31" fmla="*/ 170757 h 230461"/>
                  <a:gd name="connsiteX32" fmla="*/ 148709 w 293691"/>
                  <a:gd name="connsiteY32" fmla="*/ 178313 h 230461"/>
                  <a:gd name="connsiteX33" fmla="*/ 139859 w 293691"/>
                  <a:gd name="connsiteY33" fmla="*/ 176694 h 230461"/>
                  <a:gd name="connsiteX34" fmla="*/ 120501 w 293691"/>
                  <a:gd name="connsiteY34" fmla="*/ 172376 h 230461"/>
                  <a:gd name="connsiteX35" fmla="*/ 119948 w 293691"/>
                  <a:gd name="connsiteY35" fmla="*/ 150787 h 230461"/>
                  <a:gd name="connsiteX36" fmla="*/ 116629 w 293691"/>
                  <a:gd name="connsiteY36" fmla="*/ 141612 h 230461"/>
                  <a:gd name="connsiteX37" fmla="*/ 106674 w 293691"/>
                  <a:gd name="connsiteY37" fmla="*/ 130817 h 230461"/>
                  <a:gd name="connsiteX38" fmla="*/ 90634 w 293691"/>
                  <a:gd name="connsiteY38" fmla="*/ 129738 h 230461"/>
                  <a:gd name="connsiteX39" fmla="*/ 82891 w 293691"/>
                  <a:gd name="connsiteY39" fmla="*/ 132436 h 230461"/>
                  <a:gd name="connsiteX40" fmla="*/ 72935 w 293691"/>
                  <a:gd name="connsiteY40" fmla="*/ 113546 h 230461"/>
                  <a:gd name="connsiteX41" fmla="*/ 52471 w 293691"/>
                  <a:gd name="connsiteY41" fmla="*/ 105990 h 230461"/>
                  <a:gd name="connsiteX42" fmla="*/ 43621 w 293691"/>
                  <a:gd name="connsiteY42" fmla="*/ 72527 h 230461"/>
                  <a:gd name="connsiteX43" fmla="*/ 30347 w 293691"/>
                  <a:gd name="connsiteY43" fmla="*/ 77385 h 230461"/>
                  <a:gd name="connsiteX44" fmla="*/ 27029 w 293691"/>
                  <a:gd name="connsiteY44" fmla="*/ 83322 h 230461"/>
                  <a:gd name="connsiteX45" fmla="*/ 4352 w 293691"/>
                  <a:gd name="connsiteY45" fmla="*/ 64431 h 230461"/>
                  <a:gd name="connsiteX46" fmla="*/ 5458 w 293691"/>
                  <a:gd name="connsiteY46" fmla="*/ 46081 h 230461"/>
                  <a:gd name="connsiteX47" fmla="*/ -626 w 293691"/>
                  <a:gd name="connsiteY47" fmla="*/ 31508 h 230461"/>
                  <a:gd name="connsiteX48" fmla="*/ 22604 w 293691"/>
                  <a:gd name="connsiteY48" fmla="*/ 22333 h 230461"/>
                  <a:gd name="connsiteX49" fmla="*/ 60214 w 293691"/>
                  <a:gd name="connsiteY49" fmla="*/ 3982 h 230461"/>
                  <a:gd name="connsiteX50" fmla="*/ 67957 w 293691"/>
                  <a:gd name="connsiteY50" fmla="*/ 13697 h 230461"/>
                  <a:gd name="connsiteX51" fmla="*/ 71829 w 293691"/>
                  <a:gd name="connsiteY51" fmla="*/ 18555 h 230461"/>
                  <a:gd name="connsiteX52" fmla="*/ 77360 w 293691"/>
                  <a:gd name="connsiteY52" fmla="*/ 19634 h 230461"/>
                  <a:gd name="connsiteX53" fmla="*/ 82891 w 293691"/>
                  <a:gd name="connsiteY53" fmla="*/ 17475 h 230461"/>
                  <a:gd name="connsiteX54" fmla="*/ 93400 w 293691"/>
                  <a:gd name="connsiteY54" fmla="*/ 20714 h 230461"/>
                  <a:gd name="connsiteX55" fmla="*/ 103908 w 293691"/>
                  <a:gd name="connsiteY55" fmla="*/ 28810 h 230461"/>
                  <a:gd name="connsiteX56" fmla="*/ 138753 w 293691"/>
                  <a:gd name="connsiteY56" fmla="*/ 20714 h 230461"/>
                  <a:gd name="connsiteX57" fmla="*/ 147603 w 293691"/>
                  <a:gd name="connsiteY57" fmla="*/ 22333 h 230461"/>
                  <a:gd name="connsiteX58" fmla="*/ 146496 w 293691"/>
                  <a:gd name="connsiteY58" fmla="*/ 744 h 230461"/>
                  <a:gd name="connsiteX59" fmla="*/ 157558 w 293691"/>
                  <a:gd name="connsiteY59" fmla="*/ -335 h 230461"/>
                  <a:gd name="connsiteX60" fmla="*/ 164748 w 293691"/>
                  <a:gd name="connsiteY60" fmla="*/ 2903 h 230461"/>
                  <a:gd name="connsiteX61" fmla="*/ 176363 w 293691"/>
                  <a:gd name="connsiteY61" fmla="*/ 744 h 230461"/>
                  <a:gd name="connsiteX62" fmla="*/ 180788 w 293691"/>
                  <a:gd name="connsiteY62" fmla="*/ 6141 h 230461"/>
                  <a:gd name="connsiteX63" fmla="*/ 197934 w 293691"/>
                  <a:gd name="connsiteY63" fmla="*/ 10459 h 230461"/>
                  <a:gd name="connsiteX64" fmla="*/ 207890 w 293691"/>
                  <a:gd name="connsiteY64" fmla="*/ 23412 h 230461"/>
                  <a:gd name="connsiteX65" fmla="*/ 212314 w 293691"/>
                  <a:gd name="connsiteY65" fmla="*/ 23952 h 230461"/>
                  <a:gd name="connsiteX66" fmla="*/ 231120 w 293691"/>
                  <a:gd name="connsiteY66" fmla="*/ 19095 h 230461"/>
                  <a:gd name="connsiteX67" fmla="*/ 234991 w 293691"/>
                  <a:gd name="connsiteY67" fmla="*/ 26111 h 230461"/>
                  <a:gd name="connsiteX68" fmla="*/ 236650 w 293691"/>
                  <a:gd name="connsiteY68" fmla="*/ 30429 h 230461"/>
                  <a:gd name="connsiteX69" fmla="*/ 248265 w 293691"/>
                  <a:gd name="connsiteY69" fmla="*/ 35826 h 230461"/>
                  <a:gd name="connsiteX70" fmla="*/ 247712 w 293691"/>
                  <a:gd name="connsiteY70" fmla="*/ 40144 h 230461"/>
                  <a:gd name="connsiteX71" fmla="*/ 241628 w 293691"/>
                  <a:gd name="connsiteY71" fmla="*/ 80083 h 23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293691" h="230461">
                    <a:moveTo>
                      <a:pt x="241628" y="80083"/>
                    </a:moveTo>
                    <a:lnTo>
                      <a:pt x="264305" y="86020"/>
                    </a:lnTo>
                    <a:lnTo>
                      <a:pt x="269283" y="93576"/>
                    </a:lnTo>
                    <a:lnTo>
                      <a:pt x="277026" y="97354"/>
                    </a:lnTo>
                    <a:lnTo>
                      <a:pt x="283663" y="106530"/>
                    </a:lnTo>
                    <a:lnTo>
                      <a:pt x="274261" y="111387"/>
                    </a:lnTo>
                    <a:lnTo>
                      <a:pt x="277579" y="118404"/>
                    </a:lnTo>
                    <a:lnTo>
                      <a:pt x="289747" y="122721"/>
                    </a:lnTo>
                    <a:lnTo>
                      <a:pt x="291407" y="129738"/>
                    </a:lnTo>
                    <a:lnTo>
                      <a:pt x="293066" y="135135"/>
                    </a:lnTo>
                    <a:lnTo>
                      <a:pt x="291960" y="139993"/>
                    </a:lnTo>
                    <a:lnTo>
                      <a:pt x="290853" y="141072"/>
                    </a:lnTo>
                    <a:lnTo>
                      <a:pt x="281451" y="144850"/>
                    </a:lnTo>
                    <a:lnTo>
                      <a:pt x="276473" y="148628"/>
                    </a:lnTo>
                    <a:lnTo>
                      <a:pt x="272048" y="158883"/>
                    </a:lnTo>
                    <a:lnTo>
                      <a:pt x="263752" y="155645"/>
                    </a:lnTo>
                    <a:lnTo>
                      <a:pt x="262093" y="155105"/>
                    </a:lnTo>
                    <a:lnTo>
                      <a:pt x="256562" y="159423"/>
                    </a:lnTo>
                    <a:lnTo>
                      <a:pt x="238863" y="196124"/>
                    </a:lnTo>
                    <a:lnTo>
                      <a:pt x="251031" y="215014"/>
                    </a:lnTo>
                    <a:lnTo>
                      <a:pt x="243841" y="227428"/>
                    </a:lnTo>
                    <a:lnTo>
                      <a:pt x="218398" y="230126"/>
                    </a:lnTo>
                    <a:lnTo>
                      <a:pt x="215633" y="224189"/>
                    </a:lnTo>
                    <a:lnTo>
                      <a:pt x="210102" y="218252"/>
                    </a:lnTo>
                    <a:lnTo>
                      <a:pt x="201806" y="209077"/>
                    </a:lnTo>
                    <a:lnTo>
                      <a:pt x="183554" y="200442"/>
                    </a:lnTo>
                    <a:lnTo>
                      <a:pt x="171939" y="196124"/>
                    </a:lnTo>
                    <a:lnTo>
                      <a:pt x="168620" y="177233"/>
                    </a:lnTo>
                    <a:lnTo>
                      <a:pt x="173045" y="157803"/>
                    </a:lnTo>
                    <a:lnTo>
                      <a:pt x="170832" y="154565"/>
                    </a:lnTo>
                    <a:lnTo>
                      <a:pt x="166408" y="155645"/>
                    </a:lnTo>
                    <a:cubicBezTo>
                      <a:pt x="162536" y="160502"/>
                      <a:pt x="158664" y="164280"/>
                      <a:pt x="157558" y="170757"/>
                    </a:cubicBezTo>
                    <a:lnTo>
                      <a:pt x="148709" y="178313"/>
                    </a:lnTo>
                    <a:lnTo>
                      <a:pt x="139859" y="176694"/>
                    </a:lnTo>
                    <a:lnTo>
                      <a:pt x="120501" y="172376"/>
                    </a:lnTo>
                    <a:lnTo>
                      <a:pt x="119948" y="150787"/>
                    </a:lnTo>
                    <a:lnTo>
                      <a:pt x="116629" y="141612"/>
                    </a:lnTo>
                    <a:lnTo>
                      <a:pt x="106674" y="130817"/>
                    </a:lnTo>
                    <a:lnTo>
                      <a:pt x="90634" y="129738"/>
                    </a:lnTo>
                    <a:lnTo>
                      <a:pt x="82891" y="132436"/>
                    </a:lnTo>
                    <a:lnTo>
                      <a:pt x="72935" y="113546"/>
                    </a:lnTo>
                    <a:lnTo>
                      <a:pt x="52471" y="105990"/>
                    </a:lnTo>
                    <a:lnTo>
                      <a:pt x="43621" y="72527"/>
                    </a:lnTo>
                    <a:lnTo>
                      <a:pt x="30347" y="77385"/>
                    </a:lnTo>
                    <a:lnTo>
                      <a:pt x="27029" y="83322"/>
                    </a:lnTo>
                    <a:lnTo>
                      <a:pt x="4352" y="64431"/>
                    </a:lnTo>
                    <a:lnTo>
                      <a:pt x="5458" y="46081"/>
                    </a:lnTo>
                    <a:lnTo>
                      <a:pt x="-626" y="31508"/>
                    </a:lnTo>
                    <a:cubicBezTo>
                      <a:pt x="2139" y="30429"/>
                      <a:pt x="21498" y="23412"/>
                      <a:pt x="22604" y="22333"/>
                    </a:cubicBezTo>
                    <a:cubicBezTo>
                      <a:pt x="32559" y="15316"/>
                      <a:pt x="48599" y="9380"/>
                      <a:pt x="60214" y="3982"/>
                    </a:cubicBezTo>
                    <a:lnTo>
                      <a:pt x="67957" y="13697"/>
                    </a:lnTo>
                    <a:lnTo>
                      <a:pt x="71829" y="18555"/>
                    </a:lnTo>
                    <a:lnTo>
                      <a:pt x="77360" y="19634"/>
                    </a:lnTo>
                    <a:lnTo>
                      <a:pt x="82891" y="17475"/>
                    </a:lnTo>
                    <a:lnTo>
                      <a:pt x="93400" y="20714"/>
                    </a:lnTo>
                    <a:lnTo>
                      <a:pt x="103908" y="28810"/>
                    </a:lnTo>
                    <a:lnTo>
                      <a:pt x="138753" y="20714"/>
                    </a:lnTo>
                    <a:lnTo>
                      <a:pt x="147603" y="22333"/>
                    </a:lnTo>
                    <a:lnTo>
                      <a:pt x="146496" y="744"/>
                    </a:lnTo>
                    <a:lnTo>
                      <a:pt x="157558" y="-335"/>
                    </a:lnTo>
                    <a:lnTo>
                      <a:pt x="164748" y="2903"/>
                    </a:lnTo>
                    <a:lnTo>
                      <a:pt x="176363" y="744"/>
                    </a:lnTo>
                    <a:lnTo>
                      <a:pt x="180788" y="6141"/>
                    </a:lnTo>
                    <a:lnTo>
                      <a:pt x="197934" y="10459"/>
                    </a:lnTo>
                    <a:lnTo>
                      <a:pt x="207890" y="23412"/>
                    </a:lnTo>
                    <a:lnTo>
                      <a:pt x="212314" y="23952"/>
                    </a:lnTo>
                    <a:lnTo>
                      <a:pt x="231120" y="19095"/>
                    </a:lnTo>
                    <a:lnTo>
                      <a:pt x="234991" y="26111"/>
                    </a:lnTo>
                    <a:lnTo>
                      <a:pt x="236650" y="30429"/>
                    </a:lnTo>
                    <a:lnTo>
                      <a:pt x="248265" y="35826"/>
                    </a:lnTo>
                    <a:lnTo>
                      <a:pt x="247712" y="40144"/>
                    </a:lnTo>
                    <a:cubicBezTo>
                      <a:pt x="242181" y="44462"/>
                      <a:pt x="241628" y="72527"/>
                      <a:pt x="241628" y="80083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5" name="Freeform 1097">
                <a:extLst>
                  <a:ext uri="{FF2B5EF4-FFF2-40B4-BE49-F238E27FC236}">
                    <a16:creationId xmlns:a16="http://schemas.microsoft.com/office/drawing/2014/main" id="{AA8D54B6-9556-4DD0-A1AF-3BEDC33A174C}"/>
                  </a:ext>
                </a:extLst>
              </p:cNvPr>
              <p:cNvSpPr/>
              <p:nvPr/>
            </p:nvSpPr>
            <p:spPr>
              <a:xfrm>
                <a:off x="9392987" y="3899564"/>
                <a:ext cx="471771" cy="470204"/>
              </a:xfrm>
              <a:custGeom>
                <a:avLst/>
                <a:gdLst>
                  <a:gd name="connsiteX0" fmla="*/ 62519 w 471771"/>
                  <a:gd name="connsiteY0" fmla="*/ 416836 h 470204"/>
                  <a:gd name="connsiteX1" fmla="*/ 85749 w 471771"/>
                  <a:gd name="connsiteY1" fmla="*/ 401184 h 470204"/>
                  <a:gd name="connsiteX2" fmla="*/ 94045 w 471771"/>
                  <a:gd name="connsiteY2" fmla="*/ 389310 h 470204"/>
                  <a:gd name="connsiteX3" fmla="*/ 128890 w 471771"/>
                  <a:gd name="connsiteY3" fmla="*/ 386612 h 470204"/>
                  <a:gd name="connsiteX4" fmla="*/ 141611 w 471771"/>
                  <a:gd name="connsiteY4" fmla="*/ 380135 h 470204"/>
                  <a:gd name="connsiteX5" fmla="*/ 155438 w 471771"/>
                  <a:gd name="connsiteY5" fmla="*/ 390929 h 470204"/>
                  <a:gd name="connsiteX6" fmla="*/ 169266 w 471771"/>
                  <a:gd name="connsiteY6" fmla="*/ 393088 h 470204"/>
                  <a:gd name="connsiteX7" fmla="*/ 193602 w 471771"/>
                  <a:gd name="connsiteY7" fmla="*/ 417916 h 470204"/>
                  <a:gd name="connsiteX8" fmla="*/ 233977 w 471771"/>
                  <a:gd name="connsiteY8" fmla="*/ 442203 h 470204"/>
                  <a:gd name="connsiteX9" fmla="*/ 188071 w 471771"/>
                  <a:gd name="connsiteY9" fmla="*/ 465411 h 470204"/>
                  <a:gd name="connsiteX10" fmla="*/ 172031 w 471771"/>
                  <a:gd name="connsiteY10" fmla="*/ 469729 h 470204"/>
                  <a:gd name="connsiteX11" fmla="*/ 154885 w 471771"/>
                  <a:gd name="connsiteY11" fmla="*/ 467030 h 470204"/>
                  <a:gd name="connsiteX12" fmla="*/ 134421 w 471771"/>
                  <a:gd name="connsiteY12" fmla="*/ 455696 h 470204"/>
                  <a:gd name="connsiteX13" fmla="*/ 113403 w 471771"/>
                  <a:gd name="connsiteY13" fmla="*/ 454077 h 470204"/>
                  <a:gd name="connsiteX14" fmla="*/ 94045 w 471771"/>
                  <a:gd name="connsiteY14" fmla="*/ 438965 h 470204"/>
                  <a:gd name="connsiteX15" fmla="*/ 73581 w 471771"/>
                  <a:gd name="connsiteY15" fmla="*/ 426012 h 470204"/>
                  <a:gd name="connsiteX16" fmla="*/ 62519 w 471771"/>
                  <a:gd name="connsiteY16" fmla="*/ 416836 h 470204"/>
                  <a:gd name="connsiteX17" fmla="*/ 308645 w 471771"/>
                  <a:gd name="connsiteY17" fmla="*/ 269492 h 470204"/>
                  <a:gd name="connsiteX18" fmla="*/ 289840 w 471771"/>
                  <a:gd name="connsiteY18" fmla="*/ 305653 h 470204"/>
                  <a:gd name="connsiteX19" fmla="*/ 278225 w 471771"/>
                  <a:gd name="connsiteY19" fmla="*/ 333719 h 470204"/>
                  <a:gd name="connsiteX20" fmla="*/ 270482 w 471771"/>
                  <a:gd name="connsiteY20" fmla="*/ 367182 h 470204"/>
                  <a:gd name="connsiteX21" fmla="*/ 268269 w 471771"/>
                  <a:gd name="connsiteY21" fmla="*/ 377976 h 470204"/>
                  <a:gd name="connsiteX22" fmla="*/ 254995 w 471771"/>
                  <a:gd name="connsiteY22" fmla="*/ 384993 h 470204"/>
                  <a:gd name="connsiteX23" fmla="*/ 241721 w 471771"/>
                  <a:gd name="connsiteY23" fmla="*/ 376897 h 470204"/>
                  <a:gd name="connsiteX24" fmla="*/ 231765 w 471771"/>
                  <a:gd name="connsiteY24" fmla="*/ 364483 h 470204"/>
                  <a:gd name="connsiteX25" fmla="*/ 231212 w 471771"/>
                  <a:gd name="connsiteY25" fmla="*/ 340196 h 470204"/>
                  <a:gd name="connsiteX26" fmla="*/ 215172 w 471771"/>
                  <a:gd name="connsiteY26" fmla="*/ 339116 h 470204"/>
                  <a:gd name="connsiteX27" fmla="*/ 197473 w 471771"/>
                  <a:gd name="connsiteY27" fmla="*/ 342894 h 470204"/>
                  <a:gd name="connsiteX28" fmla="*/ 158204 w 471771"/>
                  <a:gd name="connsiteY28" fmla="*/ 334798 h 470204"/>
                  <a:gd name="connsiteX29" fmla="*/ 151567 w 471771"/>
                  <a:gd name="connsiteY29" fmla="*/ 335878 h 470204"/>
                  <a:gd name="connsiteX30" fmla="*/ 133868 w 471771"/>
                  <a:gd name="connsiteY30" fmla="*/ 331020 h 470204"/>
                  <a:gd name="connsiteX31" fmla="*/ 126678 w 471771"/>
                  <a:gd name="connsiteY31" fmla="*/ 304034 h 470204"/>
                  <a:gd name="connsiteX32" fmla="*/ 70262 w 471771"/>
                  <a:gd name="connsiteY32" fmla="*/ 270031 h 470204"/>
                  <a:gd name="connsiteX33" fmla="*/ 70262 w 471771"/>
                  <a:gd name="connsiteY33" fmla="*/ 253300 h 470204"/>
                  <a:gd name="connsiteX34" fmla="*/ 65284 w 471771"/>
                  <a:gd name="connsiteY34" fmla="*/ 246823 h 470204"/>
                  <a:gd name="connsiteX35" fmla="*/ 56435 w 471771"/>
                  <a:gd name="connsiteY35" fmla="*/ 245204 h 470204"/>
                  <a:gd name="connsiteX36" fmla="*/ 40395 w 471771"/>
                  <a:gd name="connsiteY36" fmla="*/ 248982 h 470204"/>
                  <a:gd name="connsiteX37" fmla="*/ 28227 w 471771"/>
                  <a:gd name="connsiteY37" fmla="*/ 245744 h 470204"/>
                  <a:gd name="connsiteX38" fmla="*/ 23249 w 471771"/>
                  <a:gd name="connsiteY38" fmla="*/ 238188 h 470204"/>
                  <a:gd name="connsiteX39" fmla="*/ -1087 w 471771"/>
                  <a:gd name="connsiteY39" fmla="*/ 231711 h 470204"/>
                  <a:gd name="connsiteX40" fmla="*/ 15506 w 471771"/>
                  <a:gd name="connsiteY40" fmla="*/ 201487 h 470204"/>
                  <a:gd name="connsiteX41" fmla="*/ 21590 w 471771"/>
                  <a:gd name="connsiteY41" fmla="*/ 197169 h 470204"/>
                  <a:gd name="connsiteX42" fmla="*/ 39842 w 471771"/>
                  <a:gd name="connsiteY42" fmla="*/ 193391 h 470204"/>
                  <a:gd name="connsiteX43" fmla="*/ 89620 w 471771"/>
                  <a:gd name="connsiteY43" fmla="*/ 192851 h 470204"/>
                  <a:gd name="connsiteX44" fmla="*/ 132209 w 471771"/>
                  <a:gd name="connsiteY44" fmla="*/ 165325 h 470204"/>
                  <a:gd name="connsiteX45" fmla="*/ 139952 w 471771"/>
                  <a:gd name="connsiteY45" fmla="*/ 156150 h 470204"/>
                  <a:gd name="connsiteX46" fmla="*/ 96811 w 471771"/>
                  <a:gd name="connsiteY46" fmla="*/ 142657 h 470204"/>
                  <a:gd name="connsiteX47" fmla="*/ 61966 w 471771"/>
                  <a:gd name="connsiteY47" fmla="*/ 137260 h 470204"/>
                  <a:gd name="connsiteX48" fmla="*/ 66944 w 471771"/>
                  <a:gd name="connsiteY48" fmla="*/ 111893 h 470204"/>
                  <a:gd name="connsiteX49" fmla="*/ 98470 w 471771"/>
                  <a:gd name="connsiteY49" fmla="*/ 101098 h 470204"/>
                  <a:gd name="connsiteX50" fmla="*/ 138846 w 471771"/>
                  <a:gd name="connsiteY50" fmla="*/ 107575 h 470204"/>
                  <a:gd name="connsiteX51" fmla="*/ 151014 w 471771"/>
                  <a:gd name="connsiteY51" fmla="*/ 103257 h 470204"/>
                  <a:gd name="connsiteX52" fmla="*/ 162075 w 471771"/>
                  <a:gd name="connsiteY52" fmla="*/ 107575 h 470204"/>
                  <a:gd name="connsiteX53" fmla="*/ 172031 w 471771"/>
                  <a:gd name="connsiteY53" fmla="*/ 117829 h 470204"/>
                  <a:gd name="connsiteX54" fmla="*/ 195814 w 471771"/>
                  <a:gd name="connsiteY54" fmla="*/ 116750 h 470204"/>
                  <a:gd name="connsiteX55" fmla="*/ 216832 w 471771"/>
                  <a:gd name="connsiteY55" fmla="*/ 108114 h 470204"/>
                  <a:gd name="connsiteX56" fmla="*/ 224575 w 471771"/>
                  <a:gd name="connsiteY56" fmla="*/ 72493 h 470204"/>
                  <a:gd name="connsiteX57" fmla="*/ 242827 w 471771"/>
                  <a:gd name="connsiteY57" fmla="*/ 41189 h 470204"/>
                  <a:gd name="connsiteX58" fmla="*/ 242827 w 471771"/>
                  <a:gd name="connsiteY58" fmla="*/ -370 h 470204"/>
                  <a:gd name="connsiteX59" fmla="*/ 253336 w 471771"/>
                  <a:gd name="connsiteY59" fmla="*/ 1789 h 470204"/>
                  <a:gd name="connsiteX60" fmla="*/ 287627 w 471771"/>
                  <a:gd name="connsiteY60" fmla="*/ 19060 h 470204"/>
                  <a:gd name="connsiteX61" fmla="*/ 292052 w 471771"/>
                  <a:gd name="connsiteY61" fmla="*/ 20679 h 470204"/>
                  <a:gd name="connsiteX62" fmla="*/ 319154 w 471771"/>
                  <a:gd name="connsiteY62" fmla="*/ 39570 h 470204"/>
                  <a:gd name="connsiteX63" fmla="*/ 346255 w 471771"/>
                  <a:gd name="connsiteY63" fmla="*/ 63857 h 470204"/>
                  <a:gd name="connsiteX64" fmla="*/ 368379 w 471771"/>
                  <a:gd name="connsiteY64" fmla="*/ 68175 h 470204"/>
                  <a:gd name="connsiteX65" fmla="*/ 377228 w 471771"/>
                  <a:gd name="connsiteY65" fmla="*/ 81668 h 470204"/>
                  <a:gd name="connsiteX66" fmla="*/ 421476 w 471771"/>
                  <a:gd name="connsiteY66" fmla="*/ 63857 h 470204"/>
                  <a:gd name="connsiteX67" fmla="*/ 436409 w 471771"/>
                  <a:gd name="connsiteY67" fmla="*/ 66556 h 470204"/>
                  <a:gd name="connsiteX68" fmla="*/ 449683 w 471771"/>
                  <a:gd name="connsiteY68" fmla="*/ 67635 h 470204"/>
                  <a:gd name="connsiteX69" fmla="*/ 469595 w 471771"/>
                  <a:gd name="connsiteY69" fmla="*/ 81668 h 470204"/>
                  <a:gd name="connsiteX70" fmla="*/ 467935 w 471771"/>
                  <a:gd name="connsiteY70" fmla="*/ 90304 h 470204"/>
                  <a:gd name="connsiteX71" fmla="*/ 455767 w 471771"/>
                  <a:gd name="connsiteY71" fmla="*/ 90304 h 470204"/>
                  <a:gd name="connsiteX72" fmla="*/ 436409 w 471771"/>
                  <a:gd name="connsiteY72" fmla="*/ 97860 h 470204"/>
                  <a:gd name="connsiteX73" fmla="*/ 424241 w 471771"/>
                  <a:gd name="connsiteY73" fmla="*/ 103257 h 470204"/>
                  <a:gd name="connsiteX74" fmla="*/ 403224 w 471771"/>
                  <a:gd name="connsiteY74" fmla="*/ 135101 h 470204"/>
                  <a:gd name="connsiteX75" fmla="*/ 401564 w 471771"/>
                  <a:gd name="connsiteY75" fmla="*/ 145355 h 470204"/>
                  <a:gd name="connsiteX76" fmla="*/ 408201 w 471771"/>
                  <a:gd name="connsiteY76" fmla="*/ 158309 h 470204"/>
                  <a:gd name="connsiteX77" fmla="*/ 414285 w 471771"/>
                  <a:gd name="connsiteY77" fmla="*/ 176659 h 470204"/>
                  <a:gd name="connsiteX78" fmla="*/ 419816 w 471771"/>
                  <a:gd name="connsiteY78" fmla="*/ 208503 h 470204"/>
                  <a:gd name="connsiteX79" fmla="*/ 438068 w 471771"/>
                  <a:gd name="connsiteY79" fmla="*/ 227933 h 470204"/>
                  <a:gd name="connsiteX80" fmla="*/ 430325 w 471771"/>
                  <a:gd name="connsiteY80" fmla="*/ 244664 h 470204"/>
                  <a:gd name="connsiteX81" fmla="*/ 438068 w 471771"/>
                  <a:gd name="connsiteY81" fmla="*/ 282445 h 470204"/>
                  <a:gd name="connsiteX82" fmla="*/ 435856 w 471771"/>
                  <a:gd name="connsiteY82" fmla="*/ 281905 h 470204"/>
                  <a:gd name="connsiteX83" fmla="*/ 422029 w 471771"/>
                  <a:gd name="connsiteY83" fmla="*/ 272730 h 470204"/>
                  <a:gd name="connsiteX84" fmla="*/ 415392 w 471771"/>
                  <a:gd name="connsiteY84" fmla="*/ 285144 h 470204"/>
                  <a:gd name="connsiteX85" fmla="*/ 441940 w 471771"/>
                  <a:gd name="connsiteY85" fmla="*/ 342354 h 470204"/>
                  <a:gd name="connsiteX86" fmla="*/ 448577 w 471771"/>
                  <a:gd name="connsiteY86" fmla="*/ 357467 h 470204"/>
                  <a:gd name="connsiteX87" fmla="*/ 430325 w 471771"/>
                  <a:gd name="connsiteY87" fmla="*/ 375278 h 470204"/>
                  <a:gd name="connsiteX88" fmla="*/ 419263 w 471771"/>
                  <a:gd name="connsiteY88" fmla="*/ 370960 h 470204"/>
                  <a:gd name="connsiteX89" fmla="*/ 408755 w 471771"/>
                  <a:gd name="connsiteY89" fmla="*/ 360705 h 470204"/>
                  <a:gd name="connsiteX90" fmla="*/ 395480 w 471771"/>
                  <a:gd name="connsiteY90" fmla="*/ 369880 h 470204"/>
                  <a:gd name="connsiteX91" fmla="*/ 387737 w 471771"/>
                  <a:gd name="connsiteY91" fmla="*/ 367721 h 470204"/>
                  <a:gd name="connsiteX92" fmla="*/ 384972 w 471771"/>
                  <a:gd name="connsiteY92" fmla="*/ 360705 h 470204"/>
                  <a:gd name="connsiteX93" fmla="*/ 357317 w 471771"/>
                  <a:gd name="connsiteY93" fmla="*/ 356927 h 470204"/>
                  <a:gd name="connsiteX94" fmla="*/ 357870 w 471771"/>
                  <a:gd name="connsiteY94" fmla="*/ 343974 h 470204"/>
                  <a:gd name="connsiteX95" fmla="*/ 373910 w 471771"/>
                  <a:gd name="connsiteY95" fmla="*/ 331020 h 470204"/>
                  <a:gd name="connsiteX96" fmla="*/ 374463 w 471771"/>
                  <a:gd name="connsiteY96" fmla="*/ 320765 h 470204"/>
                  <a:gd name="connsiteX97" fmla="*/ 350127 w 471771"/>
                  <a:gd name="connsiteY97" fmla="*/ 312130 h 470204"/>
                  <a:gd name="connsiteX98" fmla="*/ 344596 w 471771"/>
                  <a:gd name="connsiteY98" fmla="*/ 303494 h 470204"/>
                  <a:gd name="connsiteX99" fmla="*/ 355658 w 471771"/>
                  <a:gd name="connsiteY99" fmla="*/ 279746 h 470204"/>
                  <a:gd name="connsiteX100" fmla="*/ 308645 w 471771"/>
                  <a:gd name="connsiteY100" fmla="*/ 269492 h 47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471771" h="470204">
                    <a:moveTo>
                      <a:pt x="62519" y="416836"/>
                    </a:moveTo>
                    <a:lnTo>
                      <a:pt x="85749" y="401184"/>
                    </a:lnTo>
                    <a:lnTo>
                      <a:pt x="94045" y="389310"/>
                    </a:lnTo>
                    <a:lnTo>
                      <a:pt x="128890" y="386612"/>
                    </a:lnTo>
                    <a:lnTo>
                      <a:pt x="141611" y="380135"/>
                    </a:lnTo>
                    <a:lnTo>
                      <a:pt x="155438" y="390929"/>
                    </a:lnTo>
                    <a:lnTo>
                      <a:pt x="169266" y="393088"/>
                    </a:lnTo>
                    <a:lnTo>
                      <a:pt x="193602" y="417916"/>
                    </a:lnTo>
                    <a:lnTo>
                      <a:pt x="233977" y="442203"/>
                    </a:lnTo>
                    <a:cubicBezTo>
                      <a:pt x="219597" y="455157"/>
                      <a:pt x="206876" y="460014"/>
                      <a:pt x="188071" y="465411"/>
                    </a:cubicBezTo>
                    <a:cubicBezTo>
                      <a:pt x="183093" y="467030"/>
                      <a:pt x="177562" y="469729"/>
                      <a:pt x="172031" y="469729"/>
                    </a:cubicBezTo>
                    <a:cubicBezTo>
                      <a:pt x="167053" y="470269"/>
                      <a:pt x="159310" y="468650"/>
                      <a:pt x="154885" y="467030"/>
                    </a:cubicBezTo>
                    <a:cubicBezTo>
                      <a:pt x="147695" y="464872"/>
                      <a:pt x="141611" y="458395"/>
                      <a:pt x="134421" y="455696"/>
                    </a:cubicBezTo>
                    <a:cubicBezTo>
                      <a:pt x="126678" y="452458"/>
                      <a:pt x="118934" y="456776"/>
                      <a:pt x="113403" y="454077"/>
                    </a:cubicBezTo>
                    <a:cubicBezTo>
                      <a:pt x="106766" y="449759"/>
                      <a:pt x="100682" y="443283"/>
                      <a:pt x="94045" y="438965"/>
                    </a:cubicBezTo>
                    <a:cubicBezTo>
                      <a:pt x="85196" y="433568"/>
                      <a:pt x="81877" y="434107"/>
                      <a:pt x="73581" y="426012"/>
                    </a:cubicBezTo>
                    <a:lnTo>
                      <a:pt x="62519" y="416836"/>
                    </a:lnTo>
                    <a:close/>
                    <a:moveTo>
                      <a:pt x="308645" y="269492"/>
                    </a:moveTo>
                    <a:cubicBezTo>
                      <a:pt x="304773" y="280826"/>
                      <a:pt x="295371" y="294319"/>
                      <a:pt x="289840" y="305653"/>
                    </a:cubicBezTo>
                    <a:cubicBezTo>
                      <a:pt x="285415" y="314829"/>
                      <a:pt x="281543" y="324004"/>
                      <a:pt x="278225" y="333719"/>
                    </a:cubicBezTo>
                    <a:cubicBezTo>
                      <a:pt x="274906" y="344513"/>
                      <a:pt x="273247" y="356387"/>
                      <a:pt x="270482" y="367182"/>
                    </a:cubicBezTo>
                    <a:cubicBezTo>
                      <a:pt x="269928" y="370420"/>
                      <a:pt x="269375" y="375817"/>
                      <a:pt x="268269" y="377976"/>
                    </a:cubicBezTo>
                    <a:cubicBezTo>
                      <a:pt x="264951" y="383913"/>
                      <a:pt x="258314" y="381754"/>
                      <a:pt x="254995" y="384993"/>
                    </a:cubicBezTo>
                    <a:lnTo>
                      <a:pt x="241721" y="376897"/>
                    </a:lnTo>
                    <a:lnTo>
                      <a:pt x="231765" y="364483"/>
                    </a:lnTo>
                    <a:lnTo>
                      <a:pt x="231212" y="340196"/>
                    </a:lnTo>
                    <a:lnTo>
                      <a:pt x="215172" y="339116"/>
                    </a:lnTo>
                    <a:lnTo>
                      <a:pt x="197473" y="342894"/>
                    </a:lnTo>
                    <a:lnTo>
                      <a:pt x="158204" y="334798"/>
                    </a:lnTo>
                    <a:lnTo>
                      <a:pt x="151567" y="335878"/>
                    </a:lnTo>
                    <a:lnTo>
                      <a:pt x="133868" y="331020"/>
                    </a:lnTo>
                    <a:lnTo>
                      <a:pt x="126678" y="304034"/>
                    </a:lnTo>
                    <a:lnTo>
                      <a:pt x="70262" y="270031"/>
                    </a:lnTo>
                    <a:lnTo>
                      <a:pt x="70262" y="253300"/>
                    </a:lnTo>
                    <a:lnTo>
                      <a:pt x="65284" y="246823"/>
                    </a:lnTo>
                    <a:lnTo>
                      <a:pt x="56435" y="245204"/>
                    </a:lnTo>
                    <a:lnTo>
                      <a:pt x="40395" y="248982"/>
                    </a:lnTo>
                    <a:lnTo>
                      <a:pt x="28227" y="245744"/>
                    </a:lnTo>
                    <a:lnTo>
                      <a:pt x="23249" y="238188"/>
                    </a:lnTo>
                    <a:lnTo>
                      <a:pt x="-1087" y="231711"/>
                    </a:lnTo>
                    <a:lnTo>
                      <a:pt x="15506" y="201487"/>
                    </a:lnTo>
                    <a:lnTo>
                      <a:pt x="21590" y="197169"/>
                    </a:lnTo>
                    <a:lnTo>
                      <a:pt x="39842" y="193391"/>
                    </a:lnTo>
                    <a:lnTo>
                      <a:pt x="89620" y="192851"/>
                    </a:lnTo>
                    <a:lnTo>
                      <a:pt x="132209" y="165325"/>
                    </a:lnTo>
                    <a:lnTo>
                      <a:pt x="139952" y="156150"/>
                    </a:lnTo>
                    <a:lnTo>
                      <a:pt x="96811" y="142657"/>
                    </a:lnTo>
                    <a:lnTo>
                      <a:pt x="61966" y="137260"/>
                    </a:lnTo>
                    <a:lnTo>
                      <a:pt x="66944" y="111893"/>
                    </a:lnTo>
                    <a:lnTo>
                      <a:pt x="98470" y="101098"/>
                    </a:lnTo>
                    <a:lnTo>
                      <a:pt x="138846" y="107575"/>
                    </a:lnTo>
                    <a:lnTo>
                      <a:pt x="151014" y="103257"/>
                    </a:lnTo>
                    <a:lnTo>
                      <a:pt x="162075" y="107575"/>
                    </a:lnTo>
                    <a:lnTo>
                      <a:pt x="172031" y="117829"/>
                    </a:lnTo>
                    <a:lnTo>
                      <a:pt x="195814" y="116750"/>
                    </a:lnTo>
                    <a:lnTo>
                      <a:pt x="216832" y="108114"/>
                    </a:lnTo>
                    <a:lnTo>
                      <a:pt x="224575" y="72493"/>
                    </a:lnTo>
                    <a:lnTo>
                      <a:pt x="242827" y="41189"/>
                    </a:lnTo>
                    <a:lnTo>
                      <a:pt x="242827" y="-370"/>
                    </a:lnTo>
                    <a:cubicBezTo>
                      <a:pt x="246145" y="170"/>
                      <a:pt x="250570" y="710"/>
                      <a:pt x="253336" y="1789"/>
                    </a:cubicBezTo>
                    <a:cubicBezTo>
                      <a:pt x="264951" y="6646"/>
                      <a:pt x="276012" y="13663"/>
                      <a:pt x="287627" y="19060"/>
                    </a:cubicBezTo>
                    <a:cubicBezTo>
                      <a:pt x="289287" y="19600"/>
                      <a:pt x="290393" y="20140"/>
                      <a:pt x="292052" y="20679"/>
                    </a:cubicBezTo>
                    <a:cubicBezTo>
                      <a:pt x="300902" y="26077"/>
                      <a:pt x="311410" y="33093"/>
                      <a:pt x="319154" y="39570"/>
                    </a:cubicBezTo>
                    <a:cubicBezTo>
                      <a:pt x="329109" y="47665"/>
                      <a:pt x="333534" y="59000"/>
                      <a:pt x="346255" y="63857"/>
                    </a:cubicBezTo>
                    <a:cubicBezTo>
                      <a:pt x="353445" y="66556"/>
                      <a:pt x="362295" y="64937"/>
                      <a:pt x="368379" y="68175"/>
                    </a:cubicBezTo>
                    <a:cubicBezTo>
                      <a:pt x="373910" y="70334"/>
                      <a:pt x="371144" y="78430"/>
                      <a:pt x="377228" y="81668"/>
                    </a:cubicBezTo>
                    <a:cubicBezTo>
                      <a:pt x="398246" y="91383"/>
                      <a:pt x="408755" y="63857"/>
                      <a:pt x="421476" y="63857"/>
                    </a:cubicBezTo>
                    <a:cubicBezTo>
                      <a:pt x="426453" y="63857"/>
                      <a:pt x="431431" y="66016"/>
                      <a:pt x="436409" y="66556"/>
                    </a:cubicBezTo>
                    <a:cubicBezTo>
                      <a:pt x="440834" y="67096"/>
                      <a:pt x="445812" y="66556"/>
                      <a:pt x="449683" y="67635"/>
                    </a:cubicBezTo>
                    <a:cubicBezTo>
                      <a:pt x="454661" y="69254"/>
                      <a:pt x="467382" y="77350"/>
                      <a:pt x="469595" y="81668"/>
                    </a:cubicBezTo>
                    <a:cubicBezTo>
                      <a:pt x="471254" y="84367"/>
                      <a:pt x="471254" y="89224"/>
                      <a:pt x="467935" y="90304"/>
                    </a:cubicBezTo>
                    <a:cubicBezTo>
                      <a:pt x="466276" y="90843"/>
                      <a:pt x="458533" y="89764"/>
                      <a:pt x="455767" y="90304"/>
                    </a:cubicBezTo>
                    <a:cubicBezTo>
                      <a:pt x="451896" y="90843"/>
                      <a:pt x="440834" y="95701"/>
                      <a:pt x="436409" y="97860"/>
                    </a:cubicBezTo>
                    <a:cubicBezTo>
                      <a:pt x="433644" y="98939"/>
                      <a:pt x="426453" y="101098"/>
                      <a:pt x="424241" y="103257"/>
                    </a:cubicBezTo>
                    <a:cubicBezTo>
                      <a:pt x="421476" y="105956"/>
                      <a:pt x="404883" y="131323"/>
                      <a:pt x="403224" y="135101"/>
                    </a:cubicBezTo>
                    <a:cubicBezTo>
                      <a:pt x="402117" y="137260"/>
                      <a:pt x="401011" y="143196"/>
                      <a:pt x="401564" y="145355"/>
                    </a:cubicBezTo>
                    <a:cubicBezTo>
                      <a:pt x="402117" y="148594"/>
                      <a:pt x="406542" y="155070"/>
                      <a:pt x="408201" y="158309"/>
                    </a:cubicBezTo>
                    <a:cubicBezTo>
                      <a:pt x="410414" y="164246"/>
                      <a:pt x="412626" y="170722"/>
                      <a:pt x="414285" y="176659"/>
                    </a:cubicBezTo>
                    <a:cubicBezTo>
                      <a:pt x="416498" y="187454"/>
                      <a:pt x="417051" y="198248"/>
                      <a:pt x="419816" y="208503"/>
                    </a:cubicBezTo>
                    <a:cubicBezTo>
                      <a:pt x="423688" y="221996"/>
                      <a:pt x="435856" y="219297"/>
                      <a:pt x="438068" y="227933"/>
                    </a:cubicBezTo>
                    <a:cubicBezTo>
                      <a:pt x="440281" y="237108"/>
                      <a:pt x="430878" y="237108"/>
                      <a:pt x="430325" y="244664"/>
                    </a:cubicBezTo>
                    <a:cubicBezTo>
                      <a:pt x="429772" y="257078"/>
                      <a:pt x="445259" y="269492"/>
                      <a:pt x="438068" y="282445"/>
                    </a:cubicBezTo>
                    <a:lnTo>
                      <a:pt x="435856" y="281905"/>
                    </a:lnTo>
                    <a:cubicBezTo>
                      <a:pt x="431984" y="278127"/>
                      <a:pt x="429219" y="270571"/>
                      <a:pt x="422029" y="272730"/>
                    </a:cubicBezTo>
                    <a:cubicBezTo>
                      <a:pt x="417051" y="273810"/>
                      <a:pt x="414285" y="280826"/>
                      <a:pt x="415392" y="285144"/>
                    </a:cubicBezTo>
                    <a:cubicBezTo>
                      <a:pt x="420369" y="302955"/>
                      <a:pt x="433644" y="325083"/>
                      <a:pt x="441940" y="342354"/>
                    </a:cubicBezTo>
                    <a:cubicBezTo>
                      <a:pt x="444152" y="347212"/>
                      <a:pt x="446365" y="352609"/>
                      <a:pt x="448577" y="357467"/>
                    </a:cubicBezTo>
                    <a:lnTo>
                      <a:pt x="430325" y="375278"/>
                    </a:lnTo>
                    <a:lnTo>
                      <a:pt x="419263" y="370960"/>
                    </a:lnTo>
                    <a:lnTo>
                      <a:pt x="408755" y="360705"/>
                    </a:lnTo>
                    <a:lnTo>
                      <a:pt x="395480" y="369880"/>
                    </a:lnTo>
                    <a:lnTo>
                      <a:pt x="387737" y="367721"/>
                    </a:lnTo>
                    <a:lnTo>
                      <a:pt x="384972" y="360705"/>
                    </a:lnTo>
                    <a:lnTo>
                      <a:pt x="357317" y="356927"/>
                    </a:lnTo>
                    <a:lnTo>
                      <a:pt x="357870" y="343974"/>
                    </a:lnTo>
                    <a:lnTo>
                      <a:pt x="373910" y="331020"/>
                    </a:lnTo>
                    <a:lnTo>
                      <a:pt x="374463" y="320765"/>
                    </a:lnTo>
                    <a:lnTo>
                      <a:pt x="350127" y="312130"/>
                    </a:lnTo>
                    <a:lnTo>
                      <a:pt x="344596" y="303494"/>
                    </a:lnTo>
                    <a:lnTo>
                      <a:pt x="355658" y="279746"/>
                    </a:lnTo>
                    <a:lnTo>
                      <a:pt x="308645" y="269492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6" name="Freeform 1098">
                <a:extLst>
                  <a:ext uri="{FF2B5EF4-FFF2-40B4-BE49-F238E27FC236}">
                    <a16:creationId xmlns:a16="http://schemas.microsoft.com/office/drawing/2014/main" id="{35A43A3B-790E-4197-98EB-7F8789A46E1C}"/>
                  </a:ext>
                </a:extLst>
              </p:cNvPr>
              <p:cNvSpPr/>
              <p:nvPr/>
            </p:nvSpPr>
            <p:spPr>
              <a:xfrm>
                <a:off x="6341578" y="4016144"/>
                <a:ext cx="608954" cy="307102"/>
              </a:xfrm>
              <a:custGeom>
                <a:avLst/>
                <a:gdLst>
                  <a:gd name="connsiteX0" fmla="*/ 214439 w 608954"/>
                  <a:gd name="connsiteY0" fmla="*/ 239802 h 307102"/>
                  <a:gd name="connsiteX1" fmla="*/ 179594 w 608954"/>
                  <a:gd name="connsiteY1" fmla="*/ 258153 h 307102"/>
                  <a:gd name="connsiteX2" fmla="*/ 166320 w 608954"/>
                  <a:gd name="connsiteY2" fmla="*/ 254375 h 307102"/>
                  <a:gd name="connsiteX3" fmla="*/ 154705 w 608954"/>
                  <a:gd name="connsiteY3" fmla="*/ 259233 h 307102"/>
                  <a:gd name="connsiteX4" fmla="*/ 140324 w 608954"/>
                  <a:gd name="connsiteY4" fmla="*/ 258693 h 307102"/>
                  <a:gd name="connsiteX5" fmla="*/ 125944 w 608954"/>
                  <a:gd name="connsiteY5" fmla="*/ 269487 h 307102"/>
                  <a:gd name="connsiteX6" fmla="*/ 121519 w 608954"/>
                  <a:gd name="connsiteY6" fmla="*/ 280282 h 307102"/>
                  <a:gd name="connsiteX7" fmla="*/ 108245 w 608954"/>
                  <a:gd name="connsiteY7" fmla="*/ 287298 h 307102"/>
                  <a:gd name="connsiteX8" fmla="*/ 97183 w 608954"/>
                  <a:gd name="connsiteY8" fmla="*/ 285679 h 307102"/>
                  <a:gd name="connsiteX9" fmla="*/ 96630 w 608954"/>
                  <a:gd name="connsiteY9" fmla="*/ 277043 h 307102"/>
                  <a:gd name="connsiteX10" fmla="*/ 78378 w 608954"/>
                  <a:gd name="connsiteY10" fmla="*/ 274885 h 307102"/>
                  <a:gd name="connsiteX11" fmla="*/ 72847 w 608954"/>
                  <a:gd name="connsiteY11" fmla="*/ 264090 h 307102"/>
                  <a:gd name="connsiteX12" fmla="*/ 69529 w 608954"/>
                  <a:gd name="connsiteY12" fmla="*/ 264090 h 307102"/>
                  <a:gd name="connsiteX13" fmla="*/ 54042 w 608954"/>
                  <a:gd name="connsiteY13" fmla="*/ 276504 h 307102"/>
                  <a:gd name="connsiteX14" fmla="*/ 49064 w 608954"/>
                  <a:gd name="connsiteY14" fmla="*/ 279742 h 307102"/>
                  <a:gd name="connsiteX15" fmla="*/ 31918 w 608954"/>
                  <a:gd name="connsiteY15" fmla="*/ 275964 h 307102"/>
                  <a:gd name="connsiteX16" fmla="*/ 25834 w 608954"/>
                  <a:gd name="connsiteY16" fmla="*/ 272186 h 307102"/>
                  <a:gd name="connsiteX17" fmla="*/ 29706 w 608954"/>
                  <a:gd name="connsiteY17" fmla="*/ 263011 h 307102"/>
                  <a:gd name="connsiteX18" fmla="*/ 7582 w 608954"/>
                  <a:gd name="connsiteY18" fmla="*/ 258153 h 307102"/>
                  <a:gd name="connsiteX19" fmla="*/ 9242 w 608954"/>
                  <a:gd name="connsiteY19" fmla="*/ 243041 h 307102"/>
                  <a:gd name="connsiteX20" fmla="*/ -714 w 608954"/>
                  <a:gd name="connsiteY20" fmla="*/ 231707 h 307102"/>
                  <a:gd name="connsiteX21" fmla="*/ 5370 w 608954"/>
                  <a:gd name="connsiteY21" fmla="*/ 208499 h 307102"/>
                  <a:gd name="connsiteX22" fmla="*/ 3711 w 608954"/>
                  <a:gd name="connsiteY22" fmla="*/ 202562 h 307102"/>
                  <a:gd name="connsiteX23" fmla="*/ 3158 w 608954"/>
                  <a:gd name="connsiteY23" fmla="*/ 198244 h 307102"/>
                  <a:gd name="connsiteX24" fmla="*/ 11454 w 608954"/>
                  <a:gd name="connsiteY24" fmla="*/ 195545 h 307102"/>
                  <a:gd name="connsiteX25" fmla="*/ 20857 w 608954"/>
                  <a:gd name="connsiteY25" fmla="*/ 191767 h 307102"/>
                  <a:gd name="connsiteX26" fmla="*/ 24728 w 608954"/>
                  <a:gd name="connsiteY26" fmla="*/ 196625 h 307102"/>
                  <a:gd name="connsiteX27" fmla="*/ 35790 w 608954"/>
                  <a:gd name="connsiteY27" fmla="*/ 199863 h 307102"/>
                  <a:gd name="connsiteX28" fmla="*/ 55148 w 608954"/>
                  <a:gd name="connsiteY28" fmla="*/ 224151 h 307102"/>
                  <a:gd name="connsiteX29" fmla="*/ 73400 w 608954"/>
                  <a:gd name="connsiteY29" fmla="*/ 210657 h 307102"/>
                  <a:gd name="connsiteX30" fmla="*/ 75060 w 608954"/>
                  <a:gd name="connsiteY30" fmla="*/ 196625 h 307102"/>
                  <a:gd name="connsiteX31" fmla="*/ 82250 w 608954"/>
                  <a:gd name="connsiteY31" fmla="*/ 193386 h 307102"/>
                  <a:gd name="connsiteX32" fmla="*/ 88334 w 608954"/>
                  <a:gd name="connsiteY32" fmla="*/ 192847 h 307102"/>
                  <a:gd name="connsiteX33" fmla="*/ 96077 w 608954"/>
                  <a:gd name="connsiteY33" fmla="*/ 197164 h 307102"/>
                  <a:gd name="connsiteX34" fmla="*/ 106033 w 608954"/>
                  <a:gd name="connsiteY34" fmla="*/ 198244 h 307102"/>
                  <a:gd name="connsiteX35" fmla="*/ 117648 w 608954"/>
                  <a:gd name="connsiteY35" fmla="*/ 213356 h 307102"/>
                  <a:gd name="connsiteX36" fmla="*/ 146408 w 608954"/>
                  <a:gd name="connsiteY36" fmla="*/ 207419 h 307102"/>
                  <a:gd name="connsiteX37" fmla="*/ 159130 w 608954"/>
                  <a:gd name="connsiteY37" fmla="*/ 195005 h 307102"/>
                  <a:gd name="connsiteX38" fmla="*/ 177935 w 608954"/>
                  <a:gd name="connsiteY38" fmla="*/ 185830 h 307102"/>
                  <a:gd name="connsiteX39" fmla="*/ 207802 w 608954"/>
                  <a:gd name="connsiteY39" fmla="*/ 182052 h 307102"/>
                  <a:gd name="connsiteX40" fmla="*/ 213333 w 608954"/>
                  <a:gd name="connsiteY40" fmla="*/ 170178 h 307102"/>
                  <a:gd name="connsiteX41" fmla="*/ 234903 w 608954"/>
                  <a:gd name="connsiteY41" fmla="*/ 169099 h 307102"/>
                  <a:gd name="connsiteX42" fmla="*/ 240434 w 608954"/>
                  <a:gd name="connsiteY42" fmla="*/ 176655 h 307102"/>
                  <a:gd name="connsiteX43" fmla="*/ 244306 w 608954"/>
                  <a:gd name="connsiteY43" fmla="*/ 176115 h 307102"/>
                  <a:gd name="connsiteX44" fmla="*/ 259239 w 608954"/>
                  <a:gd name="connsiteY44" fmla="*/ 173417 h 307102"/>
                  <a:gd name="connsiteX45" fmla="*/ 266982 w 608954"/>
                  <a:gd name="connsiteY45" fmla="*/ 186910 h 307102"/>
                  <a:gd name="connsiteX46" fmla="*/ 278044 w 608954"/>
                  <a:gd name="connsiteY46" fmla="*/ 191767 h 307102"/>
                  <a:gd name="connsiteX47" fmla="*/ 284128 w 608954"/>
                  <a:gd name="connsiteY47" fmla="*/ 183132 h 307102"/>
                  <a:gd name="connsiteX48" fmla="*/ 286894 w 608954"/>
                  <a:gd name="connsiteY48" fmla="*/ 163162 h 307102"/>
                  <a:gd name="connsiteX49" fmla="*/ 274726 w 608954"/>
                  <a:gd name="connsiteY49" fmla="*/ 162082 h 307102"/>
                  <a:gd name="connsiteX50" fmla="*/ 280257 w 608954"/>
                  <a:gd name="connsiteY50" fmla="*/ 148050 h 307102"/>
                  <a:gd name="connsiteX51" fmla="*/ 264217 w 608954"/>
                  <a:gd name="connsiteY51" fmla="*/ 129699 h 307102"/>
                  <a:gd name="connsiteX52" fmla="*/ 258133 w 608954"/>
                  <a:gd name="connsiteY52" fmla="*/ 121603 h 307102"/>
                  <a:gd name="connsiteX53" fmla="*/ 258133 w 608954"/>
                  <a:gd name="connsiteY53" fmla="*/ 112428 h 307102"/>
                  <a:gd name="connsiteX54" fmla="*/ 264217 w 608954"/>
                  <a:gd name="connsiteY54" fmla="*/ 101094 h 307102"/>
                  <a:gd name="connsiteX55" fmla="*/ 284128 w 608954"/>
                  <a:gd name="connsiteY55" fmla="*/ 90299 h 307102"/>
                  <a:gd name="connsiteX56" fmla="*/ 296296 w 608954"/>
                  <a:gd name="connsiteY56" fmla="*/ 84902 h 307102"/>
                  <a:gd name="connsiteX57" fmla="*/ 304593 w 608954"/>
                  <a:gd name="connsiteY57" fmla="*/ 56836 h 307102"/>
                  <a:gd name="connsiteX58" fmla="*/ 328929 w 608954"/>
                  <a:gd name="connsiteY58" fmla="*/ 64392 h 307102"/>
                  <a:gd name="connsiteX59" fmla="*/ 333907 w 608954"/>
                  <a:gd name="connsiteY59" fmla="*/ 47661 h 307102"/>
                  <a:gd name="connsiteX60" fmla="*/ 335566 w 608954"/>
                  <a:gd name="connsiteY60" fmla="*/ 30930 h 307102"/>
                  <a:gd name="connsiteX61" fmla="*/ 353265 w 608954"/>
                  <a:gd name="connsiteY61" fmla="*/ 43883 h 307102"/>
                  <a:gd name="connsiteX62" fmla="*/ 354924 w 608954"/>
                  <a:gd name="connsiteY62" fmla="*/ 51979 h 307102"/>
                  <a:gd name="connsiteX63" fmla="*/ 373729 w 608954"/>
                  <a:gd name="connsiteY63" fmla="*/ 57916 h 307102"/>
                  <a:gd name="connsiteX64" fmla="*/ 382579 w 608954"/>
                  <a:gd name="connsiteY64" fmla="*/ 46582 h 307102"/>
                  <a:gd name="connsiteX65" fmla="*/ 401384 w 608954"/>
                  <a:gd name="connsiteY65" fmla="*/ 50899 h 307102"/>
                  <a:gd name="connsiteX66" fmla="*/ 403596 w 608954"/>
                  <a:gd name="connsiteY66" fmla="*/ 47121 h 307102"/>
                  <a:gd name="connsiteX67" fmla="*/ 413552 w 608954"/>
                  <a:gd name="connsiteY67" fmla="*/ 24993 h 307102"/>
                  <a:gd name="connsiteX68" fmla="*/ 424061 w 608954"/>
                  <a:gd name="connsiteY68" fmla="*/ 26072 h 307102"/>
                  <a:gd name="connsiteX69" fmla="*/ 431804 w 608954"/>
                  <a:gd name="connsiteY69" fmla="*/ -374 h 307102"/>
                  <a:gd name="connsiteX70" fmla="*/ 499281 w 608954"/>
                  <a:gd name="connsiteY70" fmla="*/ 10420 h 307102"/>
                  <a:gd name="connsiteX71" fmla="*/ 510343 w 608954"/>
                  <a:gd name="connsiteY71" fmla="*/ 16897 h 307102"/>
                  <a:gd name="connsiteX72" fmla="*/ 536891 w 608954"/>
                  <a:gd name="connsiteY72" fmla="*/ 19056 h 307102"/>
                  <a:gd name="connsiteX73" fmla="*/ 545188 w 608954"/>
                  <a:gd name="connsiteY73" fmla="*/ 7721 h 307102"/>
                  <a:gd name="connsiteX74" fmla="*/ 560674 w 608954"/>
                  <a:gd name="connsiteY74" fmla="*/ 8801 h 307102"/>
                  <a:gd name="connsiteX75" fmla="*/ 564546 w 608954"/>
                  <a:gd name="connsiteY75" fmla="*/ 12579 h 307102"/>
                  <a:gd name="connsiteX76" fmla="*/ 583904 w 608954"/>
                  <a:gd name="connsiteY76" fmla="*/ 15278 h 307102"/>
                  <a:gd name="connsiteX77" fmla="*/ 583904 w 608954"/>
                  <a:gd name="connsiteY77" fmla="*/ 63853 h 307102"/>
                  <a:gd name="connsiteX78" fmla="*/ 591094 w 608954"/>
                  <a:gd name="connsiteY78" fmla="*/ 75187 h 307102"/>
                  <a:gd name="connsiteX79" fmla="*/ 598285 w 608954"/>
                  <a:gd name="connsiteY79" fmla="*/ 87061 h 307102"/>
                  <a:gd name="connsiteX80" fmla="*/ 601050 w 608954"/>
                  <a:gd name="connsiteY80" fmla="*/ 95157 h 307102"/>
                  <a:gd name="connsiteX81" fmla="*/ 606028 w 608954"/>
                  <a:gd name="connsiteY81" fmla="*/ 109729 h 307102"/>
                  <a:gd name="connsiteX82" fmla="*/ 601050 w 608954"/>
                  <a:gd name="connsiteY82" fmla="*/ 116206 h 307102"/>
                  <a:gd name="connsiteX83" fmla="*/ 608240 w 608954"/>
                  <a:gd name="connsiteY83" fmla="*/ 129159 h 307102"/>
                  <a:gd name="connsiteX84" fmla="*/ 602156 w 608954"/>
                  <a:gd name="connsiteY84" fmla="*/ 135636 h 307102"/>
                  <a:gd name="connsiteX85" fmla="*/ 585564 w 608954"/>
                  <a:gd name="connsiteY85" fmla="*/ 137255 h 307102"/>
                  <a:gd name="connsiteX86" fmla="*/ 581139 w 608954"/>
                  <a:gd name="connsiteY86" fmla="*/ 135096 h 307102"/>
                  <a:gd name="connsiteX87" fmla="*/ 573395 w 608954"/>
                  <a:gd name="connsiteY87" fmla="*/ 131858 h 307102"/>
                  <a:gd name="connsiteX88" fmla="*/ 557909 w 608954"/>
                  <a:gd name="connsiteY88" fmla="*/ 140493 h 307102"/>
                  <a:gd name="connsiteX89" fmla="*/ 561227 w 608954"/>
                  <a:gd name="connsiteY89" fmla="*/ 145351 h 307102"/>
                  <a:gd name="connsiteX90" fmla="*/ 570077 w 608954"/>
                  <a:gd name="connsiteY90" fmla="*/ 147510 h 307102"/>
                  <a:gd name="connsiteX91" fmla="*/ 577820 w 608954"/>
                  <a:gd name="connsiteY91" fmla="*/ 152367 h 307102"/>
                  <a:gd name="connsiteX92" fmla="*/ 574502 w 608954"/>
                  <a:gd name="connsiteY92" fmla="*/ 162622 h 307102"/>
                  <a:gd name="connsiteX93" fmla="*/ 563440 w 608954"/>
                  <a:gd name="connsiteY93" fmla="*/ 171258 h 307102"/>
                  <a:gd name="connsiteX94" fmla="*/ 569524 w 608954"/>
                  <a:gd name="connsiteY94" fmla="*/ 218753 h 307102"/>
                  <a:gd name="connsiteX95" fmla="*/ 553484 w 608954"/>
                  <a:gd name="connsiteY95" fmla="*/ 224151 h 307102"/>
                  <a:gd name="connsiteX96" fmla="*/ 541316 w 608954"/>
                  <a:gd name="connsiteY96" fmla="*/ 243581 h 307102"/>
                  <a:gd name="connsiteX97" fmla="*/ 532467 w 608954"/>
                  <a:gd name="connsiteY97" fmla="*/ 247359 h 307102"/>
                  <a:gd name="connsiteX98" fmla="*/ 536338 w 608954"/>
                  <a:gd name="connsiteY98" fmla="*/ 263550 h 307102"/>
                  <a:gd name="connsiteX99" fmla="*/ 515874 w 608954"/>
                  <a:gd name="connsiteY99" fmla="*/ 261391 h 307102"/>
                  <a:gd name="connsiteX100" fmla="*/ 502600 w 608954"/>
                  <a:gd name="connsiteY100" fmla="*/ 268408 h 307102"/>
                  <a:gd name="connsiteX101" fmla="*/ 495409 w 608954"/>
                  <a:gd name="connsiteY101" fmla="*/ 275964 h 307102"/>
                  <a:gd name="connsiteX102" fmla="*/ 487666 w 608954"/>
                  <a:gd name="connsiteY102" fmla="*/ 276504 h 307102"/>
                  <a:gd name="connsiteX103" fmla="*/ 455587 w 608954"/>
                  <a:gd name="connsiteY103" fmla="*/ 275424 h 307102"/>
                  <a:gd name="connsiteX104" fmla="*/ 451715 w 608954"/>
                  <a:gd name="connsiteY104" fmla="*/ 279742 h 307102"/>
                  <a:gd name="connsiteX105" fmla="*/ 441206 w 608954"/>
                  <a:gd name="connsiteY105" fmla="*/ 285139 h 307102"/>
                  <a:gd name="connsiteX106" fmla="*/ 419083 w 608954"/>
                  <a:gd name="connsiteY106" fmla="*/ 306728 h 307102"/>
                  <a:gd name="connsiteX107" fmla="*/ 348840 w 608954"/>
                  <a:gd name="connsiteY107" fmla="*/ 300791 h 307102"/>
                  <a:gd name="connsiteX108" fmla="*/ 266429 w 608954"/>
                  <a:gd name="connsiteY108" fmla="*/ 290536 h 307102"/>
                  <a:gd name="connsiteX109" fmla="*/ 243200 w 608954"/>
                  <a:gd name="connsiteY109" fmla="*/ 286758 h 307102"/>
                  <a:gd name="connsiteX110" fmla="*/ 228266 w 608954"/>
                  <a:gd name="connsiteY110" fmla="*/ 277043 h 307102"/>
                  <a:gd name="connsiteX111" fmla="*/ 213333 w 608954"/>
                  <a:gd name="connsiteY111" fmla="*/ 255454 h 307102"/>
                  <a:gd name="connsiteX112" fmla="*/ 214439 w 608954"/>
                  <a:gd name="connsiteY112" fmla="*/ 239802 h 307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608954" h="307102">
                    <a:moveTo>
                      <a:pt x="214439" y="239802"/>
                    </a:moveTo>
                    <a:lnTo>
                      <a:pt x="179594" y="258153"/>
                    </a:lnTo>
                    <a:lnTo>
                      <a:pt x="166320" y="254375"/>
                    </a:lnTo>
                    <a:lnTo>
                      <a:pt x="154705" y="259233"/>
                    </a:lnTo>
                    <a:lnTo>
                      <a:pt x="140324" y="258693"/>
                    </a:lnTo>
                    <a:lnTo>
                      <a:pt x="125944" y="269487"/>
                    </a:lnTo>
                    <a:lnTo>
                      <a:pt x="121519" y="280282"/>
                    </a:lnTo>
                    <a:lnTo>
                      <a:pt x="108245" y="287298"/>
                    </a:lnTo>
                    <a:lnTo>
                      <a:pt x="97183" y="285679"/>
                    </a:lnTo>
                    <a:lnTo>
                      <a:pt x="96630" y="277043"/>
                    </a:lnTo>
                    <a:lnTo>
                      <a:pt x="78378" y="274885"/>
                    </a:lnTo>
                    <a:lnTo>
                      <a:pt x="72847" y="264090"/>
                    </a:lnTo>
                    <a:lnTo>
                      <a:pt x="69529" y="264090"/>
                    </a:lnTo>
                    <a:lnTo>
                      <a:pt x="54042" y="276504"/>
                    </a:lnTo>
                    <a:lnTo>
                      <a:pt x="49064" y="279742"/>
                    </a:lnTo>
                    <a:lnTo>
                      <a:pt x="31918" y="275964"/>
                    </a:lnTo>
                    <a:lnTo>
                      <a:pt x="25834" y="272186"/>
                    </a:lnTo>
                    <a:lnTo>
                      <a:pt x="29706" y="263011"/>
                    </a:lnTo>
                    <a:lnTo>
                      <a:pt x="7582" y="258153"/>
                    </a:lnTo>
                    <a:lnTo>
                      <a:pt x="9242" y="243041"/>
                    </a:lnTo>
                    <a:lnTo>
                      <a:pt x="-714" y="231707"/>
                    </a:lnTo>
                    <a:cubicBezTo>
                      <a:pt x="2051" y="222531"/>
                      <a:pt x="5923" y="215515"/>
                      <a:pt x="5370" y="208499"/>
                    </a:cubicBezTo>
                    <a:cubicBezTo>
                      <a:pt x="5370" y="206340"/>
                      <a:pt x="4264" y="204720"/>
                      <a:pt x="3711" y="202562"/>
                    </a:cubicBezTo>
                    <a:lnTo>
                      <a:pt x="3158" y="198244"/>
                    </a:lnTo>
                    <a:lnTo>
                      <a:pt x="11454" y="195545"/>
                    </a:lnTo>
                    <a:lnTo>
                      <a:pt x="20857" y="191767"/>
                    </a:lnTo>
                    <a:lnTo>
                      <a:pt x="24728" y="196625"/>
                    </a:lnTo>
                    <a:lnTo>
                      <a:pt x="35790" y="199863"/>
                    </a:lnTo>
                    <a:lnTo>
                      <a:pt x="55148" y="224151"/>
                    </a:lnTo>
                    <a:lnTo>
                      <a:pt x="73400" y="210657"/>
                    </a:lnTo>
                    <a:lnTo>
                      <a:pt x="75060" y="196625"/>
                    </a:lnTo>
                    <a:lnTo>
                      <a:pt x="82250" y="193386"/>
                    </a:lnTo>
                    <a:lnTo>
                      <a:pt x="88334" y="192847"/>
                    </a:lnTo>
                    <a:lnTo>
                      <a:pt x="96077" y="197164"/>
                    </a:lnTo>
                    <a:lnTo>
                      <a:pt x="106033" y="198244"/>
                    </a:lnTo>
                    <a:lnTo>
                      <a:pt x="117648" y="213356"/>
                    </a:lnTo>
                    <a:lnTo>
                      <a:pt x="146408" y="207419"/>
                    </a:lnTo>
                    <a:lnTo>
                      <a:pt x="159130" y="195005"/>
                    </a:lnTo>
                    <a:lnTo>
                      <a:pt x="177935" y="185830"/>
                    </a:lnTo>
                    <a:lnTo>
                      <a:pt x="207802" y="182052"/>
                    </a:lnTo>
                    <a:cubicBezTo>
                      <a:pt x="209461" y="178814"/>
                      <a:pt x="212226" y="173417"/>
                      <a:pt x="213333" y="170178"/>
                    </a:cubicBezTo>
                    <a:lnTo>
                      <a:pt x="234903" y="169099"/>
                    </a:lnTo>
                    <a:lnTo>
                      <a:pt x="240434" y="176655"/>
                    </a:lnTo>
                    <a:lnTo>
                      <a:pt x="244306" y="176115"/>
                    </a:lnTo>
                    <a:lnTo>
                      <a:pt x="259239" y="173417"/>
                    </a:lnTo>
                    <a:lnTo>
                      <a:pt x="266982" y="186910"/>
                    </a:lnTo>
                    <a:lnTo>
                      <a:pt x="278044" y="191767"/>
                    </a:lnTo>
                    <a:lnTo>
                      <a:pt x="284128" y="183132"/>
                    </a:lnTo>
                    <a:lnTo>
                      <a:pt x="286894" y="163162"/>
                    </a:lnTo>
                    <a:lnTo>
                      <a:pt x="274726" y="162082"/>
                    </a:lnTo>
                    <a:lnTo>
                      <a:pt x="280257" y="148050"/>
                    </a:lnTo>
                    <a:lnTo>
                      <a:pt x="264217" y="129699"/>
                    </a:lnTo>
                    <a:lnTo>
                      <a:pt x="258133" y="121603"/>
                    </a:lnTo>
                    <a:lnTo>
                      <a:pt x="258133" y="112428"/>
                    </a:lnTo>
                    <a:lnTo>
                      <a:pt x="264217" y="101094"/>
                    </a:lnTo>
                    <a:cubicBezTo>
                      <a:pt x="272513" y="97855"/>
                      <a:pt x="276385" y="94077"/>
                      <a:pt x="284128" y="90299"/>
                    </a:cubicBezTo>
                    <a:cubicBezTo>
                      <a:pt x="288000" y="88140"/>
                      <a:pt x="292978" y="87601"/>
                      <a:pt x="296296" y="84902"/>
                    </a:cubicBezTo>
                    <a:cubicBezTo>
                      <a:pt x="305146" y="78425"/>
                      <a:pt x="304040" y="66551"/>
                      <a:pt x="304593" y="56836"/>
                    </a:cubicBezTo>
                    <a:cubicBezTo>
                      <a:pt x="313995" y="58995"/>
                      <a:pt x="320632" y="60614"/>
                      <a:pt x="328929" y="64392"/>
                    </a:cubicBezTo>
                    <a:lnTo>
                      <a:pt x="333907" y="47661"/>
                    </a:lnTo>
                    <a:lnTo>
                      <a:pt x="335566" y="30930"/>
                    </a:lnTo>
                    <a:lnTo>
                      <a:pt x="353265" y="43883"/>
                    </a:lnTo>
                    <a:lnTo>
                      <a:pt x="354924" y="51979"/>
                    </a:lnTo>
                    <a:lnTo>
                      <a:pt x="373729" y="57916"/>
                    </a:lnTo>
                    <a:lnTo>
                      <a:pt x="382579" y="46582"/>
                    </a:lnTo>
                    <a:lnTo>
                      <a:pt x="401384" y="50899"/>
                    </a:lnTo>
                    <a:lnTo>
                      <a:pt x="403596" y="47121"/>
                    </a:lnTo>
                    <a:lnTo>
                      <a:pt x="413552" y="24993"/>
                    </a:lnTo>
                    <a:lnTo>
                      <a:pt x="424061" y="26072"/>
                    </a:lnTo>
                    <a:lnTo>
                      <a:pt x="431804" y="-374"/>
                    </a:lnTo>
                    <a:lnTo>
                      <a:pt x="499281" y="10420"/>
                    </a:lnTo>
                    <a:lnTo>
                      <a:pt x="510343" y="16897"/>
                    </a:lnTo>
                    <a:lnTo>
                      <a:pt x="536891" y="19056"/>
                    </a:lnTo>
                    <a:lnTo>
                      <a:pt x="545188" y="7721"/>
                    </a:lnTo>
                    <a:lnTo>
                      <a:pt x="560674" y="8801"/>
                    </a:lnTo>
                    <a:lnTo>
                      <a:pt x="564546" y="12579"/>
                    </a:lnTo>
                    <a:lnTo>
                      <a:pt x="583904" y="15278"/>
                    </a:lnTo>
                    <a:cubicBezTo>
                      <a:pt x="581692" y="31469"/>
                      <a:pt x="576161" y="48740"/>
                      <a:pt x="583904" y="63853"/>
                    </a:cubicBezTo>
                    <a:cubicBezTo>
                      <a:pt x="586117" y="68170"/>
                      <a:pt x="588882" y="70869"/>
                      <a:pt x="591094" y="75187"/>
                    </a:cubicBezTo>
                    <a:lnTo>
                      <a:pt x="598285" y="87061"/>
                    </a:lnTo>
                    <a:lnTo>
                      <a:pt x="601050" y="95157"/>
                    </a:lnTo>
                    <a:lnTo>
                      <a:pt x="606028" y="109729"/>
                    </a:lnTo>
                    <a:lnTo>
                      <a:pt x="601050" y="116206"/>
                    </a:lnTo>
                    <a:lnTo>
                      <a:pt x="608240" y="129159"/>
                    </a:lnTo>
                    <a:lnTo>
                      <a:pt x="602156" y="135636"/>
                    </a:lnTo>
                    <a:lnTo>
                      <a:pt x="585564" y="137255"/>
                    </a:lnTo>
                    <a:lnTo>
                      <a:pt x="581139" y="135096"/>
                    </a:lnTo>
                    <a:lnTo>
                      <a:pt x="573395" y="131858"/>
                    </a:lnTo>
                    <a:lnTo>
                      <a:pt x="557909" y="140493"/>
                    </a:lnTo>
                    <a:lnTo>
                      <a:pt x="561227" y="145351"/>
                    </a:lnTo>
                    <a:lnTo>
                      <a:pt x="570077" y="147510"/>
                    </a:lnTo>
                    <a:lnTo>
                      <a:pt x="577820" y="152367"/>
                    </a:lnTo>
                    <a:lnTo>
                      <a:pt x="574502" y="162622"/>
                    </a:lnTo>
                    <a:lnTo>
                      <a:pt x="563440" y="171258"/>
                    </a:lnTo>
                    <a:lnTo>
                      <a:pt x="569524" y="218753"/>
                    </a:lnTo>
                    <a:lnTo>
                      <a:pt x="553484" y="224151"/>
                    </a:lnTo>
                    <a:lnTo>
                      <a:pt x="541316" y="243581"/>
                    </a:lnTo>
                    <a:lnTo>
                      <a:pt x="532467" y="247359"/>
                    </a:lnTo>
                    <a:lnTo>
                      <a:pt x="536338" y="263550"/>
                    </a:lnTo>
                    <a:lnTo>
                      <a:pt x="515874" y="261391"/>
                    </a:lnTo>
                    <a:lnTo>
                      <a:pt x="502600" y="268408"/>
                    </a:lnTo>
                    <a:lnTo>
                      <a:pt x="495409" y="275964"/>
                    </a:lnTo>
                    <a:lnTo>
                      <a:pt x="487666" y="276504"/>
                    </a:lnTo>
                    <a:cubicBezTo>
                      <a:pt x="476051" y="273805"/>
                      <a:pt x="467755" y="276504"/>
                      <a:pt x="455587" y="275424"/>
                    </a:cubicBezTo>
                    <a:lnTo>
                      <a:pt x="451715" y="279742"/>
                    </a:lnTo>
                    <a:lnTo>
                      <a:pt x="441206" y="285139"/>
                    </a:lnTo>
                    <a:lnTo>
                      <a:pt x="419083" y="306728"/>
                    </a:lnTo>
                    <a:lnTo>
                      <a:pt x="348840" y="300791"/>
                    </a:lnTo>
                    <a:lnTo>
                      <a:pt x="266429" y="290536"/>
                    </a:lnTo>
                    <a:lnTo>
                      <a:pt x="243200" y="286758"/>
                    </a:lnTo>
                    <a:lnTo>
                      <a:pt x="228266" y="277043"/>
                    </a:lnTo>
                    <a:lnTo>
                      <a:pt x="213333" y="255454"/>
                    </a:lnTo>
                    <a:lnTo>
                      <a:pt x="214439" y="239802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8" name="Freeform 1099">
                <a:extLst>
                  <a:ext uri="{FF2B5EF4-FFF2-40B4-BE49-F238E27FC236}">
                    <a16:creationId xmlns:a16="http://schemas.microsoft.com/office/drawing/2014/main" id="{8117AE13-E1C9-4DE9-B674-D3E8DE1C18A5}"/>
                  </a:ext>
                </a:extLst>
              </p:cNvPr>
              <p:cNvSpPr/>
              <p:nvPr/>
            </p:nvSpPr>
            <p:spPr>
              <a:xfrm>
                <a:off x="9284581" y="4131645"/>
                <a:ext cx="364487" cy="210492"/>
              </a:xfrm>
              <a:custGeom>
                <a:avLst/>
                <a:gdLst>
                  <a:gd name="connsiteX0" fmla="*/ 35991 w 364487"/>
                  <a:gd name="connsiteY0" fmla="*/ 140485 h 210492"/>
                  <a:gd name="connsiteX1" fmla="*/ 38203 w 364487"/>
                  <a:gd name="connsiteY1" fmla="*/ 116197 h 210492"/>
                  <a:gd name="connsiteX2" fmla="*/ 26588 w 364487"/>
                  <a:gd name="connsiteY2" fmla="*/ 100006 h 210492"/>
                  <a:gd name="connsiteX3" fmla="*/ 5018 w 364487"/>
                  <a:gd name="connsiteY3" fmla="*/ 98386 h 210492"/>
                  <a:gd name="connsiteX4" fmla="*/ -1066 w 364487"/>
                  <a:gd name="connsiteY4" fmla="*/ 84354 h 210492"/>
                  <a:gd name="connsiteX5" fmla="*/ 2805 w 364487"/>
                  <a:gd name="connsiteY5" fmla="*/ 78956 h 210492"/>
                  <a:gd name="connsiteX6" fmla="*/ 61433 w 364487"/>
                  <a:gd name="connsiteY6" fmla="*/ 46033 h 210492"/>
                  <a:gd name="connsiteX7" fmla="*/ 76366 w 364487"/>
                  <a:gd name="connsiteY7" fmla="*/ 25524 h 210492"/>
                  <a:gd name="connsiteX8" fmla="*/ 99596 w 364487"/>
                  <a:gd name="connsiteY8" fmla="*/ 13110 h 210492"/>
                  <a:gd name="connsiteX9" fmla="*/ 107340 w 364487"/>
                  <a:gd name="connsiteY9" fmla="*/ -383 h 210492"/>
                  <a:gd name="connsiteX10" fmla="*/ 131676 w 364487"/>
                  <a:gd name="connsiteY10" fmla="*/ 6094 h 210492"/>
                  <a:gd name="connsiteX11" fmla="*/ 136654 w 364487"/>
                  <a:gd name="connsiteY11" fmla="*/ 13650 h 210492"/>
                  <a:gd name="connsiteX12" fmla="*/ 148822 w 364487"/>
                  <a:gd name="connsiteY12" fmla="*/ 16888 h 210492"/>
                  <a:gd name="connsiteX13" fmla="*/ 164861 w 364487"/>
                  <a:gd name="connsiteY13" fmla="*/ 13110 h 210492"/>
                  <a:gd name="connsiteX14" fmla="*/ 173711 w 364487"/>
                  <a:gd name="connsiteY14" fmla="*/ 14729 h 210492"/>
                  <a:gd name="connsiteX15" fmla="*/ 178688 w 364487"/>
                  <a:gd name="connsiteY15" fmla="*/ 21206 h 210492"/>
                  <a:gd name="connsiteX16" fmla="*/ 178688 w 364487"/>
                  <a:gd name="connsiteY16" fmla="*/ 37937 h 210492"/>
                  <a:gd name="connsiteX17" fmla="*/ 235104 w 364487"/>
                  <a:gd name="connsiteY17" fmla="*/ 71940 h 210492"/>
                  <a:gd name="connsiteX18" fmla="*/ 242294 w 364487"/>
                  <a:gd name="connsiteY18" fmla="*/ 98926 h 210492"/>
                  <a:gd name="connsiteX19" fmla="*/ 259993 w 364487"/>
                  <a:gd name="connsiteY19" fmla="*/ 103784 h 210492"/>
                  <a:gd name="connsiteX20" fmla="*/ 266630 w 364487"/>
                  <a:gd name="connsiteY20" fmla="*/ 102704 h 210492"/>
                  <a:gd name="connsiteX21" fmla="*/ 305900 w 364487"/>
                  <a:gd name="connsiteY21" fmla="*/ 110800 h 210492"/>
                  <a:gd name="connsiteX22" fmla="*/ 323599 w 364487"/>
                  <a:gd name="connsiteY22" fmla="*/ 107022 h 210492"/>
                  <a:gd name="connsiteX23" fmla="*/ 339638 w 364487"/>
                  <a:gd name="connsiteY23" fmla="*/ 108101 h 210492"/>
                  <a:gd name="connsiteX24" fmla="*/ 340191 w 364487"/>
                  <a:gd name="connsiteY24" fmla="*/ 132389 h 210492"/>
                  <a:gd name="connsiteX25" fmla="*/ 350147 w 364487"/>
                  <a:gd name="connsiteY25" fmla="*/ 144803 h 210492"/>
                  <a:gd name="connsiteX26" fmla="*/ 363421 w 364487"/>
                  <a:gd name="connsiteY26" fmla="*/ 152898 h 210492"/>
                  <a:gd name="connsiteX27" fmla="*/ 362315 w 364487"/>
                  <a:gd name="connsiteY27" fmla="*/ 170709 h 210492"/>
                  <a:gd name="connsiteX28" fmla="*/ 355125 w 364487"/>
                  <a:gd name="connsiteY28" fmla="*/ 197156 h 210492"/>
                  <a:gd name="connsiteX29" fmla="*/ 342404 w 364487"/>
                  <a:gd name="connsiteY29" fmla="*/ 210109 h 210492"/>
                  <a:gd name="connsiteX30" fmla="*/ 302028 w 364487"/>
                  <a:gd name="connsiteY30" fmla="*/ 185822 h 210492"/>
                  <a:gd name="connsiteX31" fmla="*/ 277692 w 364487"/>
                  <a:gd name="connsiteY31" fmla="*/ 160994 h 210492"/>
                  <a:gd name="connsiteX32" fmla="*/ 263865 w 364487"/>
                  <a:gd name="connsiteY32" fmla="*/ 158835 h 210492"/>
                  <a:gd name="connsiteX33" fmla="*/ 250037 w 364487"/>
                  <a:gd name="connsiteY33" fmla="*/ 148041 h 210492"/>
                  <a:gd name="connsiteX34" fmla="*/ 237316 w 364487"/>
                  <a:gd name="connsiteY34" fmla="*/ 154518 h 210492"/>
                  <a:gd name="connsiteX35" fmla="*/ 202471 w 364487"/>
                  <a:gd name="connsiteY35" fmla="*/ 157216 h 210492"/>
                  <a:gd name="connsiteX36" fmla="*/ 194175 w 364487"/>
                  <a:gd name="connsiteY36" fmla="*/ 169090 h 210492"/>
                  <a:gd name="connsiteX37" fmla="*/ 170945 w 364487"/>
                  <a:gd name="connsiteY37" fmla="*/ 184742 h 210492"/>
                  <a:gd name="connsiteX38" fmla="*/ 168733 w 364487"/>
                  <a:gd name="connsiteY38" fmla="*/ 182583 h 210492"/>
                  <a:gd name="connsiteX39" fmla="*/ 146609 w 364487"/>
                  <a:gd name="connsiteY39" fmla="*/ 177186 h 210492"/>
                  <a:gd name="connsiteX40" fmla="*/ 120061 w 364487"/>
                  <a:gd name="connsiteY40" fmla="*/ 169090 h 210492"/>
                  <a:gd name="connsiteX41" fmla="*/ 88534 w 364487"/>
                  <a:gd name="connsiteY41" fmla="*/ 190139 h 210492"/>
                  <a:gd name="connsiteX42" fmla="*/ 68623 w 364487"/>
                  <a:gd name="connsiteY42" fmla="*/ 193378 h 210492"/>
                  <a:gd name="connsiteX43" fmla="*/ 59221 w 364487"/>
                  <a:gd name="connsiteY43" fmla="*/ 189060 h 210492"/>
                  <a:gd name="connsiteX44" fmla="*/ 52584 w 364487"/>
                  <a:gd name="connsiteY44" fmla="*/ 174487 h 210492"/>
                  <a:gd name="connsiteX45" fmla="*/ 44287 w 364487"/>
                  <a:gd name="connsiteY45" fmla="*/ 166392 h 210492"/>
                  <a:gd name="connsiteX46" fmla="*/ 42628 w 364487"/>
                  <a:gd name="connsiteY46" fmla="*/ 153978 h 210492"/>
                  <a:gd name="connsiteX47" fmla="*/ 36544 w 364487"/>
                  <a:gd name="connsiteY47" fmla="*/ 149660 h 210492"/>
                  <a:gd name="connsiteX48" fmla="*/ 35991 w 364487"/>
                  <a:gd name="connsiteY48" fmla="*/ 140485 h 2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64487" h="210492">
                    <a:moveTo>
                      <a:pt x="35991" y="140485"/>
                    </a:moveTo>
                    <a:lnTo>
                      <a:pt x="38203" y="116197"/>
                    </a:lnTo>
                    <a:lnTo>
                      <a:pt x="26588" y="100006"/>
                    </a:lnTo>
                    <a:lnTo>
                      <a:pt x="5018" y="98386"/>
                    </a:lnTo>
                    <a:lnTo>
                      <a:pt x="-1066" y="84354"/>
                    </a:lnTo>
                    <a:lnTo>
                      <a:pt x="2805" y="78956"/>
                    </a:lnTo>
                    <a:lnTo>
                      <a:pt x="61433" y="46033"/>
                    </a:lnTo>
                    <a:lnTo>
                      <a:pt x="76366" y="25524"/>
                    </a:lnTo>
                    <a:lnTo>
                      <a:pt x="99596" y="13110"/>
                    </a:lnTo>
                    <a:lnTo>
                      <a:pt x="107340" y="-383"/>
                    </a:lnTo>
                    <a:lnTo>
                      <a:pt x="131676" y="6094"/>
                    </a:lnTo>
                    <a:lnTo>
                      <a:pt x="136654" y="13650"/>
                    </a:lnTo>
                    <a:lnTo>
                      <a:pt x="148822" y="16888"/>
                    </a:lnTo>
                    <a:lnTo>
                      <a:pt x="164861" y="13110"/>
                    </a:lnTo>
                    <a:lnTo>
                      <a:pt x="173711" y="14729"/>
                    </a:lnTo>
                    <a:lnTo>
                      <a:pt x="178688" y="21206"/>
                    </a:lnTo>
                    <a:lnTo>
                      <a:pt x="178688" y="37937"/>
                    </a:lnTo>
                    <a:lnTo>
                      <a:pt x="235104" y="71940"/>
                    </a:lnTo>
                    <a:lnTo>
                      <a:pt x="242294" y="98926"/>
                    </a:lnTo>
                    <a:lnTo>
                      <a:pt x="259993" y="103784"/>
                    </a:lnTo>
                    <a:lnTo>
                      <a:pt x="266630" y="102704"/>
                    </a:lnTo>
                    <a:lnTo>
                      <a:pt x="305900" y="110800"/>
                    </a:lnTo>
                    <a:lnTo>
                      <a:pt x="323599" y="107022"/>
                    </a:lnTo>
                    <a:lnTo>
                      <a:pt x="339638" y="108101"/>
                    </a:lnTo>
                    <a:lnTo>
                      <a:pt x="340191" y="132389"/>
                    </a:lnTo>
                    <a:lnTo>
                      <a:pt x="350147" y="144803"/>
                    </a:lnTo>
                    <a:lnTo>
                      <a:pt x="363421" y="152898"/>
                    </a:lnTo>
                    <a:cubicBezTo>
                      <a:pt x="357890" y="158296"/>
                      <a:pt x="362868" y="164772"/>
                      <a:pt x="362315" y="170709"/>
                    </a:cubicBezTo>
                    <a:cubicBezTo>
                      <a:pt x="362315" y="177186"/>
                      <a:pt x="358997" y="191759"/>
                      <a:pt x="355125" y="197156"/>
                    </a:cubicBezTo>
                    <a:cubicBezTo>
                      <a:pt x="353466" y="198775"/>
                      <a:pt x="344616" y="207950"/>
                      <a:pt x="342404" y="210109"/>
                    </a:cubicBezTo>
                    <a:lnTo>
                      <a:pt x="302028" y="185822"/>
                    </a:lnTo>
                    <a:lnTo>
                      <a:pt x="277692" y="160994"/>
                    </a:lnTo>
                    <a:lnTo>
                      <a:pt x="263865" y="158835"/>
                    </a:lnTo>
                    <a:lnTo>
                      <a:pt x="250037" y="148041"/>
                    </a:lnTo>
                    <a:lnTo>
                      <a:pt x="237316" y="154518"/>
                    </a:lnTo>
                    <a:lnTo>
                      <a:pt x="202471" y="157216"/>
                    </a:lnTo>
                    <a:lnTo>
                      <a:pt x="194175" y="169090"/>
                    </a:lnTo>
                    <a:lnTo>
                      <a:pt x="170945" y="184742"/>
                    </a:lnTo>
                    <a:cubicBezTo>
                      <a:pt x="170392" y="184202"/>
                      <a:pt x="169839" y="182583"/>
                      <a:pt x="168733" y="182583"/>
                    </a:cubicBezTo>
                    <a:cubicBezTo>
                      <a:pt x="162649" y="180964"/>
                      <a:pt x="152693" y="178805"/>
                      <a:pt x="146609" y="177186"/>
                    </a:cubicBezTo>
                    <a:cubicBezTo>
                      <a:pt x="139419" y="175567"/>
                      <a:pt x="127804" y="169630"/>
                      <a:pt x="120061" y="169090"/>
                    </a:cubicBezTo>
                    <a:cubicBezTo>
                      <a:pt x="113424" y="168550"/>
                      <a:pt x="95172" y="185822"/>
                      <a:pt x="88534" y="190139"/>
                    </a:cubicBezTo>
                    <a:cubicBezTo>
                      <a:pt x="83004" y="193917"/>
                      <a:pt x="75260" y="194457"/>
                      <a:pt x="68623" y="193378"/>
                    </a:cubicBezTo>
                    <a:cubicBezTo>
                      <a:pt x="65858" y="192838"/>
                      <a:pt x="59774" y="189060"/>
                      <a:pt x="59221" y="189060"/>
                    </a:cubicBezTo>
                    <a:cubicBezTo>
                      <a:pt x="57561" y="184202"/>
                      <a:pt x="55902" y="178265"/>
                      <a:pt x="52584" y="174487"/>
                    </a:cubicBezTo>
                    <a:cubicBezTo>
                      <a:pt x="50924" y="171789"/>
                      <a:pt x="45393" y="170709"/>
                      <a:pt x="44287" y="166392"/>
                    </a:cubicBezTo>
                    <a:cubicBezTo>
                      <a:pt x="43181" y="162074"/>
                      <a:pt x="47606" y="159375"/>
                      <a:pt x="42628" y="153978"/>
                    </a:cubicBezTo>
                    <a:cubicBezTo>
                      <a:pt x="40969" y="152359"/>
                      <a:pt x="37650" y="151819"/>
                      <a:pt x="36544" y="149660"/>
                    </a:cubicBezTo>
                    <a:cubicBezTo>
                      <a:pt x="35438" y="147501"/>
                      <a:pt x="35991" y="143183"/>
                      <a:pt x="35991" y="140485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9" name="Freeform 1100">
                <a:extLst>
                  <a:ext uri="{FF2B5EF4-FFF2-40B4-BE49-F238E27FC236}">
                    <a16:creationId xmlns:a16="http://schemas.microsoft.com/office/drawing/2014/main" id="{C6FB18EC-D105-4A6C-BAD4-A3A2F076A405}"/>
                  </a:ext>
                </a:extLst>
              </p:cNvPr>
              <p:cNvSpPr/>
              <p:nvPr/>
            </p:nvSpPr>
            <p:spPr>
              <a:xfrm>
                <a:off x="7227079" y="4714006"/>
                <a:ext cx="181967" cy="348121"/>
              </a:xfrm>
              <a:custGeom>
                <a:avLst/>
                <a:gdLst>
                  <a:gd name="connsiteX0" fmla="*/ 141347 w 181967"/>
                  <a:gd name="connsiteY0" fmla="*/ 172785 h 348121"/>
                  <a:gd name="connsiteX1" fmla="*/ 130285 w 181967"/>
                  <a:gd name="connsiteY1" fmla="*/ 164149 h 348121"/>
                  <a:gd name="connsiteX2" fmla="*/ 119776 w 181967"/>
                  <a:gd name="connsiteY2" fmla="*/ 140941 h 348121"/>
                  <a:gd name="connsiteX3" fmla="*/ 125860 w 181967"/>
                  <a:gd name="connsiteY3" fmla="*/ 125829 h 348121"/>
                  <a:gd name="connsiteX4" fmla="*/ 114798 w 181967"/>
                  <a:gd name="connsiteY4" fmla="*/ 89128 h 348121"/>
                  <a:gd name="connsiteX5" fmla="*/ 120882 w 181967"/>
                  <a:gd name="connsiteY5" fmla="*/ 66999 h 348121"/>
                  <a:gd name="connsiteX6" fmla="*/ 100418 w 181967"/>
                  <a:gd name="connsiteY6" fmla="*/ 36235 h 348121"/>
                  <a:gd name="connsiteX7" fmla="*/ 88803 w 181967"/>
                  <a:gd name="connsiteY7" fmla="*/ 29758 h 348121"/>
                  <a:gd name="connsiteX8" fmla="*/ 79400 w 181967"/>
                  <a:gd name="connsiteY8" fmla="*/ 27060 h 348121"/>
                  <a:gd name="connsiteX9" fmla="*/ 69998 w 181967"/>
                  <a:gd name="connsiteY9" fmla="*/ 7090 h 348121"/>
                  <a:gd name="connsiteX10" fmla="*/ 58936 w 181967"/>
                  <a:gd name="connsiteY10" fmla="*/ 4931 h 348121"/>
                  <a:gd name="connsiteX11" fmla="*/ 50640 w 181967"/>
                  <a:gd name="connsiteY11" fmla="*/ 9249 h 348121"/>
                  <a:gd name="connsiteX12" fmla="*/ 44556 w 181967"/>
                  <a:gd name="connsiteY12" fmla="*/ 16265 h 348121"/>
                  <a:gd name="connsiteX13" fmla="*/ 34600 w 181967"/>
                  <a:gd name="connsiteY13" fmla="*/ 15725 h 348121"/>
                  <a:gd name="connsiteX14" fmla="*/ 30728 w 181967"/>
                  <a:gd name="connsiteY14" fmla="*/ -466 h 348121"/>
                  <a:gd name="connsiteX15" fmla="*/ 23538 w 181967"/>
                  <a:gd name="connsiteY15" fmla="*/ 2232 h 348121"/>
                  <a:gd name="connsiteX16" fmla="*/ -798 w 181967"/>
                  <a:gd name="connsiteY16" fmla="*/ 60522 h 348121"/>
                  <a:gd name="connsiteX17" fmla="*/ 8051 w 181967"/>
                  <a:gd name="connsiteY17" fmla="*/ 65380 h 348121"/>
                  <a:gd name="connsiteX18" fmla="*/ 10264 w 181967"/>
                  <a:gd name="connsiteY18" fmla="*/ 71317 h 348121"/>
                  <a:gd name="connsiteX19" fmla="*/ 10817 w 181967"/>
                  <a:gd name="connsiteY19" fmla="*/ 93446 h 348121"/>
                  <a:gd name="connsiteX20" fmla="*/ 30728 w 181967"/>
                  <a:gd name="connsiteY20" fmla="*/ 100462 h 348121"/>
                  <a:gd name="connsiteX21" fmla="*/ 29622 w 181967"/>
                  <a:gd name="connsiteY21" fmla="*/ 105319 h 348121"/>
                  <a:gd name="connsiteX22" fmla="*/ 33494 w 181967"/>
                  <a:gd name="connsiteY22" fmla="*/ 122051 h 348121"/>
                  <a:gd name="connsiteX23" fmla="*/ 26304 w 181967"/>
                  <a:gd name="connsiteY23" fmla="*/ 129067 h 348121"/>
                  <a:gd name="connsiteX24" fmla="*/ 27410 w 181967"/>
                  <a:gd name="connsiteY24" fmla="*/ 136084 h 348121"/>
                  <a:gd name="connsiteX25" fmla="*/ 24644 w 181967"/>
                  <a:gd name="connsiteY25" fmla="*/ 154434 h 348121"/>
                  <a:gd name="connsiteX26" fmla="*/ 33494 w 181967"/>
                  <a:gd name="connsiteY26" fmla="*/ 160371 h 348121"/>
                  <a:gd name="connsiteX27" fmla="*/ 30175 w 181967"/>
                  <a:gd name="connsiteY27" fmla="*/ 178182 h 348121"/>
                  <a:gd name="connsiteX28" fmla="*/ 40684 w 181967"/>
                  <a:gd name="connsiteY28" fmla="*/ 202470 h 348121"/>
                  <a:gd name="connsiteX29" fmla="*/ 34600 w 181967"/>
                  <a:gd name="connsiteY29" fmla="*/ 209486 h 348121"/>
                  <a:gd name="connsiteX30" fmla="*/ 27410 w 181967"/>
                  <a:gd name="connsiteY30" fmla="*/ 232154 h 348121"/>
                  <a:gd name="connsiteX31" fmla="*/ 27963 w 181967"/>
                  <a:gd name="connsiteY31" fmla="*/ 238631 h 348121"/>
                  <a:gd name="connsiteX32" fmla="*/ 44002 w 181967"/>
                  <a:gd name="connsiteY32" fmla="*/ 268856 h 348121"/>
                  <a:gd name="connsiteX33" fmla="*/ 32388 w 181967"/>
                  <a:gd name="connsiteY33" fmla="*/ 267776 h 348121"/>
                  <a:gd name="connsiteX34" fmla="*/ 45109 w 181967"/>
                  <a:gd name="connsiteY34" fmla="*/ 281809 h 348121"/>
                  <a:gd name="connsiteX35" fmla="*/ 46768 w 181967"/>
                  <a:gd name="connsiteY35" fmla="*/ 285047 h 348121"/>
                  <a:gd name="connsiteX36" fmla="*/ 80507 w 181967"/>
                  <a:gd name="connsiteY36" fmla="*/ 296921 h 348121"/>
                  <a:gd name="connsiteX37" fmla="*/ 93781 w 181967"/>
                  <a:gd name="connsiteY37" fmla="*/ 315812 h 348121"/>
                  <a:gd name="connsiteX38" fmla="*/ 102630 w 181967"/>
                  <a:gd name="connsiteY38" fmla="*/ 320129 h 348121"/>
                  <a:gd name="connsiteX39" fmla="*/ 102630 w 181967"/>
                  <a:gd name="connsiteY39" fmla="*/ 332543 h 348121"/>
                  <a:gd name="connsiteX40" fmla="*/ 119776 w 181967"/>
                  <a:gd name="connsiteY40" fmla="*/ 341718 h 348121"/>
                  <a:gd name="connsiteX41" fmla="*/ 120882 w 181967"/>
                  <a:gd name="connsiteY41" fmla="*/ 347655 h 348121"/>
                  <a:gd name="connsiteX42" fmla="*/ 139134 w 181967"/>
                  <a:gd name="connsiteY42" fmla="*/ 318510 h 348121"/>
                  <a:gd name="connsiteX43" fmla="*/ 134710 w 181967"/>
                  <a:gd name="connsiteY43" fmla="*/ 306636 h 348121"/>
                  <a:gd name="connsiteX44" fmla="*/ 134710 w 181967"/>
                  <a:gd name="connsiteY44" fmla="*/ 299080 h 348121"/>
                  <a:gd name="connsiteX45" fmla="*/ 141347 w 181967"/>
                  <a:gd name="connsiteY45" fmla="*/ 290445 h 348121"/>
                  <a:gd name="connsiteX46" fmla="*/ 159599 w 181967"/>
                  <a:gd name="connsiteY46" fmla="*/ 283968 h 348121"/>
                  <a:gd name="connsiteX47" fmla="*/ 163470 w 181967"/>
                  <a:gd name="connsiteY47" fmla="*/ 262919 h 348121"/>
                  <a:gd name="connsiteX48" fmla="*/ 172320 w 181967"/>
                  <a:gd name="connsiteY48" fmla="*/ 251584 h 348121"/>
                  <a:gd name="connsiteX49" fmla="*/ 181169 w 181967"/>
                  <a:gd name="connsiteY49" fmla="*/ 227297 h 348121"/>
                  <a:gd name="connsiteX50" fmla="*/ 173426 w 181967"/>
                  <a:gd name="connsiteY50" fmla="*/ 212724 h 348121"/>
                  <a:gd name="connsiteX51" fmla="*/ 171767 w 181967"/>
                  <a:gd name="connsiteY51" fmla="*/ 205168 h 348121"/>
                  <a:gd name="connsiteX52" fmla="*/ 172873 w 181967"/>
                  <a:gd name="connsiteY52" fmla="*/ 192215 h 348121"/>
                  <a:gd name="connsiteX53" fmla="*/ 164577 w 181967"/>
                  <a:gd name="connsiteY53" fmla="*/ 185738 h 348121"/>
                  <a:gd name="connsiteX54" fmla="*/ 156280 w 181967"/>
                  <a:gd name="connsiteY54" fmla="*/ 185198 h 348121"/>
                  <a:gd name="connsiteX55" fmla="*/ 146878 w 181967"/>
                  <a:gd name="connsiteY55" fmla="*/ 171166 h 348121"/>
                  <a:gd name="connsiteX56" fmla="*/ 141347 w 181967"/>
                  <a:gd name="connsiteY56" fmla="*/ 172785 h 348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81967" h="348121">
                    <a:moveTo>
                      <a:pt x="141347" y="172785"/>
                    </a:moveTo>
                    <a:lnTo>
                      <a:pt x="130285" y="164149"/>
                    </a:lnTo>
                    <a:lnTo>
                      <a:pt x="119776" y="140941"/>
                    </a:lnTo>
                    <a:lnTo>
                      <a:pt x="125860" y="125829"/>
                    </a:lnTo>
                    <a:lnTo>
                      <a:pt x="114798" y="89128"/>
                    </a:lnTo>
                    <a:lnTo>
                      <a:pt x="120882" y="66999"/>
                    </a:lnTo>
                    <a:lnTo>
                      <a:pt x="100418" y="36235"/>
                    </a:lnTo>
                    <a:lnTo>
                      <a:pt x="88803" y="29758"/>
                    </a:lnTo>
                    <a:lnTo>
                      <a:pt x="79400" y="27060"/>
                    </a:lnTo>
                    <a:lnTo>
                      <a:pt x="69998" y="7090"/>
                    </a:lnTo>
                    <a:lnTo>
                      <a:pt x="58936" y="4931"/>
                    </a:lnTo>
                    <a:lnTo>
                      <a:pt x="50640" y="9249"/>
                    </a:lnTo>
                    <a:lnTo>
                      <a:pt x="44556" y="16265"/>
                    </a:lnTo>
                    <a:lnTo>
                      <a:pt x="34600" y="15725"/>
                    </a:lnTo>
                    <a:lnTo>
                      <a:pt x="30728" y="-466"/>
                    </a:lnTo>
                    <a:lnTo>
                      <a:pt x="23538" y="2232"/>
                    </a:lnTo>
                    <a:lnTo>
                      <a:pt x="-798" y="60522"/>
                    </a:lnTo>
                    <a:lnTo>
                      <a:pt x="8051" y="65380"/>
                    </a:lnTo>
                    <a:lnTo>
                      <a:pt x="10264" y="71317"/>
                    </a:lnTo>
                    <a:lnTo>
                      <a:pt x="10817" y="93446"/>
                    </a:lnTo>
                    <a:cubicBezTo>
                      <a:pt x="15242" y="93985"/>
                      <a:pt x="28516" y="96144"/>
                      <a:pt x="30728" y="100462"/>
                    </a:cubicBezTo>
                    <a:cubicBezTo>
                      <a:pt x="30728" y="101541"/>
                      <a:pt x="29622" y="103700"/>
                      <a:pt x="29622" y="105319"/>
                    </a:cubicBezTo>
                    <a:cubicBezTo>
                      <a:pt x="30175" y="110717"/>
                      <a:pt x="32941" y="116654"/>
                      <a:pt x="33494" y="122051"/>
                    </a:cubicBezTo>
                    <a:cubicBezTo>
                      <a:pt x="31834" y="126369"/>
                      <a:pt x="28516" y="125289"/>
                      <a:pt x="26304" y="129067"/>
                    </a:cubicBezTo>
                    <a:cubicBezTo>
                      <a:pt x="26304" y="129607"/>
                      <a:pt x="27410" y="135004"/>
                      <a:pt x="27410" y="136084"/>
                    </a:cubicBezTo>
                    <a:cubicBezTo>
                      <a:pt x="27410" y="140401"/>
                      <a:pt x="23538" y="151196"/>
                      <a:pt x="24644" y="154434"/>
                    </a:cubicBezTo>
                    <a:cubicBezTo>
                      <a:pt x="25197" y="156593"/>
                      <a:pt x="32941" y="156053"/>
                      <a:pt x="33494" y="160371"/>
                    </a:cubicBezTo>
                    <a:cubicBezTo>
                      <a:pt x="33494" y="162530"/>
                      <a:pt x="30175" y="174404"/>
                      <a:pt x="30175" y="178182"/>
                    </a:cubicBezTo>
                    <a:cubicBezTo>
                      <a:pt x="29069" y="190056"/>
                      <a:pt x="37365" y="193834"/>
                      <a:pt x="40684" y="202470"/>
                    </a:cubicBezTo>
                    <a:cubicBezTo>
                      <a:pt x="42343" y="207867"/>
                      <a:pt x="36259" y="206787"/>
                      <a:pt x="34600" y="209486"/>
                    </a:cubicBezTo>
                    <a:cubicBezTo>
                      <a:pt x="32941" y="212185"/>
                      <a:pt x="28516" y="228376"/>
                      <a:pt x="27410" y="232154"/>
                    </a:cubicBezTo>
                    <a:cubicBezTo>
                      <a:pt x="27410" y="233774"/>
                      <a:pt x="27410" y="237012"/>
                      <a:pt x="27963" y="238631"/>
                    </a:cubicBezTo>
                    <a:cubicBezTo>
                      <a:pt x="31281" y="244028"/>
                      <a:pt x="54511" y="261839"/>
                      <a:pt x="44002" y="268856"/>
                    </a:cubicBezTo>
                    <a:cubicBezTo>
                      <a:pt x="40684" y="268856"/>
                      <a:pt x="37365" y="267776"/>
                      <a:pt x="32388" y="267776"/>
                    </a:cubicBezTo>
                    <a:cubicBezTo>
                      <a:pt x="32941" y="280730"/>
                      <a:pt x="39025" y="276951"/>
                      <a:pt x="45109" y="281809"/>
                    </a:cubicBezTo>
                    <a:cubicBezTo>
                      <a:pt x="45662" y="282888"/>
                      <a:pt x="45662" y="284508"/>
                      <a:pt x="46768" y="285047"/>
                    </a:cubicBezTo>
                    <a:cubicBezTo>
                      <a:pt x="53958" y="289365"/>
                      <a:pt x="71104" y="292603"/>
                      <a:pt x="80507" y="296921"/>
                    </a:cubicBezTo>
                    <a:cubicBezTo>
                      <a:pt x="92121" y="302858"/>
                      <a:pt x="89909" y="311494"/>
                      <a:pt x="93781" y="315812"/>
                    </a:cubicBezTo>
                    <a:cubicBezTo>
                      <a:pt x="95993" y="317970"/>
                      <a:pt x="99865" y="316891"/>
                      <a:pt x="102630" y="320129"/>
                    </a:cubicBezTo>
                    <a:cubicBezTo>
                      <a:pt x="103183" y="323907"/>
                      <a:pt x="101524" y="328765"/>
                      <a:pt x="102630" y="332543"/>
                    </a:cubicBezTo>
                    <a:cubicBezTo>
                      <a:pt x="103183" y="337400"/>
                      <a:pt x="115351" y="339559"/>
                      <a:pt x="119776" y="341718"/>
                    </a:cubicBezTo>
                    <a:cubicBezTo>
                      <a:pt x="121435" y="343877"/>
                      <a:pt x="121435" y="344957"/>
                      <a:pt x="120882" y="347655"/>
                    </a:cubicBezTo>
                    <a:lnTo>
                      <a:pt x="139134" y="318510"/>
                    </a:lnTo>
                    <a:lnTo>
                      <a:pt x="134710" y="306636"/>
                    </a:lnTo>
                    <a:lnTo>
                      <a:pt x="134710" y="299080"/>
                    </a:lnTo>
                    <a:lnTo>
                      <a:pt x="141347" y="290445"/>
                    </a:lnTo>
                    <a:lnTo>
                      <a:pt x="159599" y="283968"/>
                    </a:lnTo>
                    <a:lnTo>
                      <a:pt x="163470" y="262919"/>
                    </a:lnTo>
                    <a:lnTo>
                      <a:pt x="172320" y="251584"/>
                    </a:lnTo>
                    <a:lnTo>
                      <a:pt x="181169" y="227297"/>
                    </a:lnTo>
                    <a:lnTo>
                      <a:pt x="173426" y="212724"/>
                    </a:lnTo>
                    <a:lnTo>
                      <a:pt x="171767" y="205168"/>
                    </a:lnTo>
                    <a:lnTo>
                      <a:pt x="172873" y="192215"/>
                    </a:lnTo>
                    <a:lnTo>
                      <a:pt x="164577" y="185738"/>
                    </a:lnTo>
                    <a:lnTo>
                      <a:pt x="156280" y="185198"/>
                    </a:lnTo>
                    <a:lnTo>
                      <a:pt x="146878" y="171166"/>
                    </a:lnTo>
                    <a:lnTo>
                      <a:pt x="141347" y="172785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70" name="Freeform 1101">
                <a:extLst>
                  <a:ext uri="{FF2B5EF4-FFF2-40B4-BE49-F238E27FC236}">
                    <a16:creationId xmlns:a16="http://schemas.microsoft.com/office/drawing/2014/main" id="{BEA04CEF-D520-4ABC-B99E-FE889BAA290C}"/>
                  </a:ext>
                </a:extLst>
              </p:cNvPr>
              <p:cNvSpPr/>
              <p:nvPr/>
            </p:nvSpPr>
            <p:spPr>
              <a:xfrm>
                <a:off x="5636386" y="4770137"/>
                <a:ext cx="27101" cy="24287"/>
              </a:xfrm>
              <a:custGeom>
                <a:avLst/>
                <a:gdLst>
                  <a:gd name="connsiteX0" fmla="*/ 24300 w 27101"/>
                  <a:gd name="connsiteY0" fmla="*/ 21136 h 24287"/>
                  <a:gd name="connsiteX1" fmla="*/ 26512 w 27101"/>
                  <a:gd name="connsiteY1" fmla="*/ 9262 h 24287"/>
                  <a:gd name="connsiteX2" fmla="*/ 26512 w 27101"/>
                  <a:gd name="connsiteY2" fmla="*/ 7103 h 24287"/>
                  <a:gd name="connsiteX3" fmla="*/ 8260 w 27101"/>
                  <a:gd name="connsiteY3" fmla="*/ -453 h 24287"/>
                  <a:gd name="connsiteX4" fmla="*/ -37 w 27101"/>
                  <a:gd name="connsiteY4" fmla="*/ 7103 h 24287"/>
                  <a:gd name="connsiteX5" fmla="*/ -590 w 27101"/>
                  <a:gd name="connsiteY5" fmla="*/ 22755 h 24287"/>
                  <a:gd name="connsiteX6" fmla="*/ 4388 w 27101"/>
                  <a:gd name="connsiteY6" fmla="*/ 23835 h 24287"/>
                  <a:gd name="connsiteX7" fmla="*/ 20428 w 27101"/>
                  <a:gd name="connsiteY7" fmla="*/ 20057 h 24287"/>
                  <a:gd name="connsiteX8" fmla="*/ 24300 w 27101"/>
                  <a:gd name="connsiteY8" fmla="*/ 21136 h 2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101" h="24287">
                    <a:moveTo>
                      <a:pt x="24300" y="21136"/>
                    </a:moveTo>
                    <a:lnTo>
                      <a:pt x="26512" y="9262"/>
                    </a:lnTo>
                    <a:lnTo>
                      <a:pt x="26512" y="7103"/>
                    </a:lnTo>
                    <a:lnTo>
                      <a:pt x="8260" y="-453"/>
                    </a:lnTo>
                    <a:lnTo>
                      <a:pt x="-37" y="7103"/>
                    </a:lnTo>
                    <a:lnTo>
                      <a:pt x="-590" y="22755"/>
                    </a:lnTo>
                    <a:lnTo>
                      <a:pt x="4388" y="23835"/>
                    </a:lnTo>
                    <a:lnTo>
                      <a:pt x="20428" y="20057"/>
                    </a:lnTo>
                    <a:lnTo>
                      <a:pt x="24300" y="21136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</p:grpSp>
        <p:sp>
          <p:nvSpPr>
            <p:cNvPr id="11" name="Freeform 1048">
              <a:extLst>
                <a:ext uri="{FF2B5EF4-FFF2-40B4-BE49-F238E27FC236}">
                  <a16:creationId xmlns:a16="http://schemas.microsoft.com/office/drawing/2014/main" id="{09985716-99A0-443A-89E6-CC74EAF71077}"/>
                </a:ext>
              </a:extLst>
            </p:cNvPr>
            <p:cNvSpPr/>
            <p:nvPr/>
          </p:nvSpPr>
          <p:spPr>
            <a:xfrm>
              <a:off x="6508833" y="3223000"/>
              <a:ext cx="280570" cy="300411"/>
            </a:xfrm>
            <a:custGeom>
              <a:avLst/>
              <a:gdLst>
                <a:gd name="connsiteX0" fmla="*/ 57275 w 402650"/>
                <a:gd name="connsiteY0" fmla="*/ 283471 h 513276"/>
                <a:gd name="connsiteX1" fmla="*/ 51191 w 402650"/>
                <a:gd name="connsiteY1" fmla="*/ 260803 h 513276"/>
                <a:gd name="connsiteX2" fmla="*/ 55616 w 402650"/>
                <a:gd name="connsiteY2" fmla="*/ 258104 h 513276"/>
                <a:gd name="connsiteX3" fmla="*/ 67231 w 402650"/>
                <a:gd name="connsiteY3" fmla="*/ 264041 h 513276"/>
                <a:gd name="connsiteX4" fmla="*/ 71103 w 402650"/>
                <a:gd name="connsiteY4" fmla="*/ 265121 h 513276"/>
                <a:gd name="connsiteX5" fmla="*/ 81058 w 402650"/>
                <a:gd name="connsiteY5" fmla="*/ 251088 h 513276"/>
                <a:gd name="connsiteX6" fmla="*/ 78846 w 402650"/>
                <a:gd name="connsiteY6" fmla="*/ 240833 h 513276"/>
                <a:gd name="connsiteX7" fmla="*/ 44001 w 402650"/>
                <a:gd name="connsiteY7" fmla="*/ 217625 h 513276"/>
                <a:gd name="connsiteX8" fmla="*/ 40682 w 402650"/>
                <a:gd name="connsiteY8" fmla="*/ 211688 h 513276"/>
                <a:gd name="connsiteX9" fmla="*/ 51191 w 402650"/>
                <a:gd name="connsiteY9" fmla="*/ 155017 h 513276"/>
                <a:gd name="connsiteX10" fmla="*/ 37917 w 402650"/>
                <a:gd name="connsiteY10" fmla="*/ 139905 h 513276"/>
                <a:gd name="connsiteX11" fmla="*/ 44001 w 402650"/>
                <a:gd name="connsiteY11" fmla="*/ 112919 h 513276"/>
                <a:gd name="connsiteX12" fmla="*/ 24643 w 402650"/>
                <a:gd name="connsiteY12" fmla="*/ 105902 h 513276"/>
                <a:gd name="connsiteX13" fmla="*/ 13028 w 402650"/>
                <a:gd name="connsiteY13" fmla="*/ 85932 h 513276"/>
                <a:gd name="connsiteX14" fmla="*/ 1413 w 402650"/>
                <a:gd name="connsiteY14" fmla="*/ 60026 h 513276"/>
                <a:gd name="connsiteX15" fmla="*/ -799 w 402650"/>
                <a:gd name="connsiteY15" fmla="*/ 48152 h 513276"/>
                <a:gd name="connsiteX16" fmla="*/ 14134 w 402650"/>
                <a:gd name="connsiteY16" fmla="*/ 30881 h 513276"/>
                <a:gd name="connsiteX17" fmla="*/ 28514 w 402650"/>
                <a:gd name="connsiteY17" fmla="*/ 29262 h 513276"/>
                <a:gd name="connsiteX18" fmla="*/ 56722 w 402650"/>
                <a:gd name="connsiteY18" fmla="*/ 2275 h 513276"/>
                <a:gd name="connsiteX19" fmla="*/ 73868 w 402650"/>
                <a:gd name="connsiteY19" fmla="*/ 6053 h 513276"/>
                <a:gd name="connsiteX20" fmla="*/ 94332 w 402650"/>
                <a:gd name="connsiteY20" fmla="*/ -423 h 513276"/>
                <a:gd name="connsiteX21" fmla="*/ 113138 w 402650"/>
                <a:gd name="connsiteY21" fmla="*/ 2275 h 513276"/>
                <a:gd name="connsiteX22" fmla="*/ 119775 w 402650"/>
                <a:gd name="connsiteY22" fmla="*/ 17388 h 513276"/>
                <a:gd name="connsiteX23" fmla="*/ 130283 w 402650"/>
                <a:gd name="connsiteY23" fmla="*/ 24944 h 513276"/>
                <a:gd name="connsiteX24" fmla="*/ 151854 w 402650"/>
                <a:gd name="connsiteY24" fmla="*/ 33579 h 513276"/>
                <a:gd name="connsiteX25" fmla="*/ 155726 w 402650"/>
                <a:gd name="connsiteY25" fmla="*/ 38437 h 513276"/>
                <a:gd name="connsiteX26" fmla="*/ 161810 w 402650"/>
                <a:gd name="connsiteY26" fmla="*/ 39516 h 513276"/>
                <a:gd name="connsiteX27" fmla="*/ 162363 w 402650"/>
                <a:gd name="connsiteY27" fmla="*/ 55708 h 513276"/>
                <a:gd name="connsiteX28" fmla="*/ 166234 w 402650"/>
                <a:gd name="connsiteY28" fmla="*/ 67042 h 513276"/>
                <a:gd name="connsiteX29" fmla="*/ 179509 w 402650"/>
                <a:gd name="connsiteY29" fmla="*/ 76757 h 513276"/>
                <a:gd name="connsiteX30" fmla="*/ 199973 w 402650"/>
                <a:gd name="connsiteY30" fmla="*/ 84313 h 513276"/>
                <a:gd name="connsiteX31" fmla="*/ 228181 w 402650"/>
                <a:gd name="connsiteY31" fmla="*/ 102124 h 513276"/>
                <a:gd name="connsiteX32" fmla="*/ 234265 w 402650"/>
                <a:gd name="connsiteY32" fmla="*/ 141524 h 513276"/>
                <a:gd name="connsiteX33" fmla="*/ 252517 w 402650"/>
                <a:gd name="connsiteY33" fmla="*/ 149080 h 513276"/>
                <a:gd name="connsiteX34" fmla="*/ 282937 w 402650"/>
                <a:gd name="connsiteY34" fmla="*/ 154477 h 513276"/>
                <a:gd name="connsiteX35" fmla="*/ 292339 w 402650"/>
                <a:gd name="connsiteY35" fmla="*/ 162573 h 513276"/>
                <a:gd name="connsiteX36" fmla="*/ 322206 w 402650"/>
                <a:gd name="connsiteY36" fmla="*/ 135047 h 513276"/>
                <a:gd name="connsiteX37" fmla="*/ 334374 w 402650"/>
                <a:gd name="connsiteY37" fmla="*/ 138825 h 513276"/>
                <a:gd name="connsiteX38" fmla="*/ 337140 w 402650"/>
                <a:gd name="connsiteY38" fmla="*/ 148540 h 513276"/>
                <a:gd name="connsiteX39" fmla="*/ 328843 w 402650"/>
                <a:gd name="connsiteY39" fmla="*/ 152858 h 513276"/>
                <a:gd name="connsiteX40" fmla="*/ 326631 w 402650"/>
                <a:gd name="connsiteY40" fmla="*/ 163653 h 513276"/>
                <a:gd name="connsiteX41" fmla="*/ 341565 w 402650"/>
                <a:gd name="connsiteY41" fmla="*/ 180384 h 513276"/>
                <a:gd name="connsiteX42" fmla="*/ 345436 w 402650"/>
                <a:gd name="connsiteY42" fmla="*/ 190639 h 513276"/>
                <a:gd name="connsiteX43" fmla="*/ 345436 w 402650"/>
                <a:gd name="connsiteY43" fmla="*/ 206831 h 513276"/>
                <a:gd name="connsiteX44" fmla="*/ 333268 w 402650"/>
                <a:gd name="connsiteY44" fmla="*/ 218165 h 513276"/>
                <a:gd name="connsiteX45" fmla="*/ 332162 w 402650"/>
                <a:gd name="connsiteY45" fmla="*/ 244611 h 513276"/>
                <a:gd name="connsiteX46" fmla="*/ 345989 w 402650"/>
                <a:gd name="connsiteY46" fmla="*/ 254326 h 513276"/>
                <a:gd name="connsiteX47" fmla="*/ 355945 w 402650"/>
                <a:gd name="connsiteY47" fmla="*/ 279153 h 513276"/>
                <a:gd name="connsiteX48" fmla="*/ 377516 w 402650"/>
                <a:gd name="connsiteY48" fmla="*/ 283471 h 513276"/>
                <a:gd name="connsiteX49" fmla="*/ 383600 w 402650"/>
                <a:gd name="connsiteY49" fmla="*/ 294266 h 513276"/>
                <a:gd name="connsiteX50" fmla="*/ 401852 w 402650"/>
                <a:gd name="connsiteY50" fmla="*/ 302362 h 513276"/>
                <a:gd name="connsiteX51" fmla="*/ 376962 w 402650"/>
                <a:gd name="connsiteY51" fmla="*/ 342841 h 513276"/>
                <a:gd name="connsiteX52" fmla="*/ 367560 w 402650"/>
                <a:gd name="connsiteY52" fmla="*/ 344460 h 513276"/>
                <a:gd name="connsiteX53" fmla="*/ 360923 w 402650"/>
                <a:gd name="connsiteY53" fmla="*/ 351476 h 513276"/>
                <a:gd name="connsiteX54" fmla="*/ 364794 w 402650"/>
                <a:gd name="connsiteY54" fmla="*/ 362811 h 513276"/>
                <a:gd name="connsiteX55" fmla="*/ 364241 w 402650"/>
                <a:gd name="connsiteY55" fmla="*/ 383860 h 513276"/>
                <a:gd name="connsiteX56" fmla="*/ 376962 w 402650"/>
                <a:gd name="connsiteY56" fmla="*/ 396813 h 513276"/>
                <a:gd name="connsiteX57" fmla="*/ 368666 w 402650"/>
                <a:gd name="connsiteY57" fmla="*/ 413545 h 513276"/>
                <a:gd name="connsiteX58" fmla="*/ 366454 w 402650"/>
                <a:gd name="connsiteY58" fmla="*/ 415164 h 513276"/>
                <a:gd name="connsiteX59" fmla="*/ 358710 w 402650"/>
                <a:gd name="connsiteY59" fmla="*/ 413545 h 513276"/>
                <a:gd name="connsiteX60" fmla="*/ 337693 w 402650"/>
                <a:gd name="connsiteY60" fmla="*/ 423799 h 513276"/>
                <a:gd name="connsiteX61" fmla="*/ 310591 w 402650"/>
                <a:gd name="connsiteY61" fmla="*/ 420561 h 513276"/>
                <a:gd name="connsiteX62" fmla="*/ 298423 w 402650"/>
                <a:gd name="connsiteY62" fmla="*/ 425958 h 513276"/>
                <a:gd name="connsiteX63" fmla="*/ 297317 w 402650"/>
                <a:gd name="connsiteY63" fmla="*/ 442690 h 513276"/>
                <a:gd name="connsiteX64" fmla="*/ 269110 w 402650"/>
                <a:gd name="connsiteY64" fmla="*/ 460500 h 513276"/>
                <a:gd name="connsiteX65" fmla="*/ 261919 w 402650"/>
                <a:gd name="connsiteY65" fmla="*/ 463199 h 513276"/>
                <a:gd name="connsiteX66" fmla="*/ 247539 w 402650"/>
                <a:gd name="connsiteY66" fmla="*/ 499900 h 513276"/>
                <a:gd name="connsiteX67" fmla="*/ 237030 w 402650"/>
                <a:gd name="connsiteY67" fmla="*/ 504758 h 513276"/>
                <a:gd name="connsiteX68" fmla="*/ 222650 w 402650"/>
                <a:gd name="connsiteY68" fmla="*/ 509076 h 513276"/>
                <a:gd name="connsiteX69" fmla="*/ 213800 w 402650"/>
                <a:gd name="connsiteY69" fmla="*/ 508536 h 513276"/>
                <a:gd name="connsiteX70" fmla="*/ 219884 w 402650"/>
                <a:gd name="connsiteY70" fmla="*/ 486407 h 513276"/>
                <a:gd name="connsiteX71" fmla="*/ 199420 w 402650"/>
                <a:gd name="connsiteY71" fmla="*/ 455643 h 513276"/>
                <a:gd name="connsiteX72" fmla="*/ 187805 w 402650"/>
                <a:gd name="connsiteY72" fmla="*/ 449166 h 513276"/>
                <a:gd name="connsiteX73" fmla="*/ 178402 w 402650"/>
                <a:gd name="connsiteY73" fmla="*/ 446468 h 513276"/>
                <a:gd name="connsiteX74" fmla="*/ 169000 w 402650"/>
                <a:gd name="connsiteY74" fmla="*/ 426498 h 513276"/>
                <a:gd name="connsiteX75" fmla="*/ 157938 w 402650"/>
                <a:gd name="connsiteY75" fmla="*/ 424339 h 513276"/>
                <a:gd name="connsiteX76" fmla="*/ 149642 w 402650"/>
                <a:gd name="connsiteY76" fmla="*/ 428657 h 513276"/>
                <a:gd name="connsiteX77" fmla="*/ 143558 w 402650"/>
                <a:gd name="connsiteY77" fmla="*/ 435673 h 513276"/>
                <a:gd name="connsiteX78" fmla="*/ 133602 w 402650"/>
                <a:gd name="connsiteY78" fmla="*/ 435133 h 513276"/>
                <a:gd name="connsiteX79" fmla="*/ 129730 w 402650"/>
                <a:gd name="connsiteY79" fmla="*/ 418942 h 513276"/>
                <a:gd name="connsiteX80" fmla="*/ 122540 w 402650"/>
                <a:gd name="connsiteY80" fmla="*/ 421640 h 513276"/>
                <a:gd name="connsiteX81" fmla="*/ 98204 w 402650"/>
                <a:gd name="connsiteY81" fmla="*/ 479931 h 513276"/>
                <a:gd name="connsiteX82" fmla="*/ 107054 w 402650"/>
                <a:gd name="connsiteY82" fmla="*/ 484788 h 513276"/>
                <a:gd name="connsiteX83" fmla="*/ 109266 w 402650"/>
                <a:gd name="connsiteY83" fmla="*/ 490725 h 513276"/>
                <a:gd name="connsiteX84" fmla="*/ 109819 w 402650"/>
                <a:gd name="connsiteY84" fmla="*/ 512854 h 513276"/>
                <a:gd name="connsiteX85" fmla="*/ 90461 w 402650"/>
                <a:gd name="connsiteY85" fmla="*/ 502059 h 513276"/>
                <a:gd name="connsiteX86" fmla="*/ 79952 w 402650"/>
                <a:gd name="connsiteY86" fmla="*/ 488026 h 513276"/>
                <a:gd name="connsiteX87" fmla="*/ 66678 w 402650"/>
                <a:gd name="connsiteY87" fmla="*/ 482629 h 513276"/>
                <a:gd name="connsiteX88" fmla="*/ 57275 w 402650"/>
                <a:gd name="connsiteY88" fmla="*/ 467517 h 513276"/>
                <a:gd name="connsiteX89" fmla="*/ 43448 w 402650"/>
                <a:gd name="connsiteY89" fmla="*/ 465898 h 513276"/>
                <a:gd name="connsiteX90" fmla="*/ 27961 w 402650"/>
                <a:gd name="connsiteY90" fmla="*/ 456183 h 513276"/>
                <a:gd name="connsiteX91" fmla="*/ 14687 w 402650"/>
                <a:gd name="connsiteY91" fmla="*/ 458881 h 513276"/>
                <a:gd name="connsiteX92" fmla="*/ 13028 w 402650"/>
                <a:gd name="connsiteY92" fmla="*/ 444848 h 513276"/>
                <a:gd name="connsiteX93" fmla="*/ 17453 w 402650"/>
                <a:gd name="connsiteY93" fmla="*/ 433514 h 513276"/>
                <a:gd name="connsiteX94" fmla="*/ 28514 w 402650"/>
                <a:gd name="connsiteY94" fmla="*/ 421101 h 513276"/>
                <a:gd name="connsiteX95" fmla="*/ 24643 w 402650"/>
                <a:gd name="connsiteY95" fmla="*/ 398432 h 513276"/>
                <a:gd name="connsiteX96" fmla="*/ 25749 w 402650"/>
                <a:gd name="connsiteY96" fmla="*/ 386019 h 513276"/>
                <a:gd name="connsiteX97" fmla="*/ 36258 w 402650"/>
                <a:gd name="connsiteY97" fmla="*/ 374145 h 513276"/>
                <a:gd name="connsiteX98" fmla="*/ 20771 w 402650"/>
                <a:gd name="connsiteY98" fmla="*/ 355254 h 513276"/>
                <a:gd name="connsiteX99" fmla="*/ 14134 w 402650"/>
                <a:gd name="connsiteY99" fmla="*/ 340142 h 513276"/>
                <a:gd name="connsiteX100" fmla="*/ 10816 w 402650"/>
                <a:gd name="connsiteY100" fmla="*/ 319633 h 513276"/>
                <a:gd name="connsiteX101" fmla="*/ 34045 w 402650"/>
                <a:gd name="connsiteY101" fmla="*/ 310457 h 513276"/>
                <a:gd name="connsiteX102" fmla="*/ 65019 w 402650"/>
                <a:gd name="connsiteY102" fmla="*/ 324490 h 513276"/>
                <a:gd name="connsiteX103" fmla="*/ 67784 w 402650"/>
                <a:gd name="connsiteY103" fmla="*/ 320712 h 513276"/>
                <a:gd name="connsiteX104" fmla="*/ 45660 w 402650"/>
                <a:gd name="connsiteY104" fmla="*/ 303981 h 513276"/>
                <a:gd name="connsiteX105" fmla="*/ 68337 w 402650"/>
                <a:gd name="connsiteY105" fmla="*/ 294266 h 513276"/>
                <a:gd name="connsiteX106" fmla="*/ 57275 w 402650"/>
                <a:gd name="connsiteY106" fmla="*/ 283471 h 513276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34401 w 402651"/>
                <a:gd name="connsiteY78" fmla="*/ 435556 h 513277"/>
                <a:gd name="connsiteX79" fmla="*/ 130529 w 402651"/>
                <a:gd name="connsiteY79" fmla="*/ 419365 h 513277"/>
                <a:gd name="connsiteX80" fmla="*/ 123339 w 402651"/>
                <a:gd name="connsiteY80" fmla="*/ 422063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1615 w 402651"/>
                <a:gd name="connsiteY100" fmla="*/ 320056 h 513277"/>
                <a:gd name="connsiteX101" fmla="*/ 34844 w 402651"/>
                <a:gd name="connsiteY101" fmla="*/ 3108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30529 w 402651"/>
                <a:gd name="connsiteY79" fmla="*/ 419365 h 513277"/>
                <a:gd name="connsiteX80" fmla="*/ 123339 w 402651"/>
                <a:gd name="connsiteY80" fmla="*/ 422063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1615 w 402651"/>
                <a:gd name="connsiteY100" fmla="*/ 320056 h 513277"/>
                <a:gd name="connsiteX101" fmla="*/ 34844 w 402651"/>
                <a:gd name="connsiteY101" fmla="*/ 3108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30529 w 402651"/>
                <a:gd name="connsiteY79" fmla="*/ 419365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1615 w 402651"/>
                <a:gd name="connsiteY100" fmla="*/ 320056 h 513277"/>
                <a:gd name="connsiteX101" fmla="*/ 34844 w 402651"/>
                <a:gd name="connsiteY101" fmla="*/ 3108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1615 w 402651"/>
                <a:gd name="connsiteY100" fmla="*/ 320056 h 513277"/>
                <a:gd name="connsiteX101" fmla="*/ 34844 w 402651"/>
                <a:gd name="connsiteY101" fmla="*/ 3108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1615 w 402651"/>
                <a:gd name="connsiteY100" fmla="*/ 3200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166262 w 402651"/>
                <a:gd name="connsiteY94" fmla="*/ 378348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78026 w 402651"/>
                <a:gd name="connsiteY93" fmla="*/ 385621 h 513277"/>
                <a:gd name="connsiteX94" fmla="*/ 166262 w 402651"/>
                <a:gd name="connsiteY94" fmla="*/ 378348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81901 w 402651"/>
                <a:gd name="connsiteY92" fmla="*/ 391815 h 513277"/>
                <a:gd name="connsiteX93" fmla="*/ 178026 w 402651"/>
                <a:gd name="connsiteY93" fmla="*/ 385621 h 513277"/>
                <a:gd name="connsiteX94" fmla="*/ 166262 w 402651"/>
                <a:gd name="connsiteY94" fmla="*/ 378348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66960 w 402651"/>
                <a:gd name="connsiteY91" fmla="*/ 394540 h 513277"/>
                <a:gd name="connsiteX92" fmla="*/ 181901 w 402651"/>
                <a:gd name="connsiteY92" fmla="*/ 391815 h 513277"/>
                <a:gd name="connsiteX93" fmla="*/ 178026 w 402651"/>
                <a:gd name="connsiteY93" fmla="*/ 385621 h 513277"/>
                <a:gd name="connsiteX94" fmla="*/ 166262 w 402651"/>
                <a:gd name="connsiteY94" fmla="*/ 378348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158447 w 402651"/>
                <a:gd name="connsiteY90" fmla="*/ 399038 h 513277"/>
                <a:gd name="connsiteX91" fmla="*/ 166960 w 402651"/>
                <a:gd name="connsiteY91" fmla="*/ 394540 h 513277"/>
                <a:gd name="connsiteX92" fmla="*/ 181901 w 402651"/>
                <a:gd name="connsiteY92" fmla="*/ 391815 h 513277"/>
                <a:gd name="connsiteX93" fmla="*/ 178026 w 402651"/>
                <a:gd name="connsiteY93" fmla="*/ 385621 h 513277"/>
                <a:gd name="connsiteX94" fmla="*/ 166262 w 402651"/>
                <a:gd name="connsiteY94" fmla="*/ 378348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158447 w 402651"/>
                <a:gd name="connsiteY89" fmla="*/ 399038 h 513277"/>
                <a:gd name="connsiteX90" fmla="*/ 166960 w 402651"/>
                <a:gd name="connsiteY90" fmla="*/ 394540 h 513277"/>
                <a:gd name="connsiteX91" fmla="*/ 181901 w 402651"/>
                <a:gd name="connsiteY91" fmla="*/ 391815 h 513277"/>
                <a:gd name="connsiteX92" fmla="*/ 178026 w 402651"/>
                <a:gd name="connsiteY92" fmla="*/ 385621 h 513277"/>
                <a:gd name="connsiteX93" fmla="*/ 166262 w 402651"/>
                <a:gd name="connsiteY93" fmla="*/ 378348 h 513277"/>
                <a:gd name="connsiteX94" fmla="*/ 158241 w 402651"/>
                <a:gd name="connsiteY94" fmla="*/ 381379 h 513277"/>
                <a:gd name="connsiteX95" fmla="*/ 142748 w 402651"/>
                <a:gd name="connsiteY95" fmla="*/ 368966 h 513277"/>
                <a:gd name="connsiteX96" fmla="*/ 136657 w 402651"/>
                <a:gd name="connsiteY96" fmla="*/ 366344 h 513277"/>
                <a:gd name="connsiteX97" fmla="*/ 121170 w 402651"/>
                <a:gd name="connsiteY97" fmla="*/ 359789 h 513277"/>
                <a:gd name="connsiteX98" fmla="*/ 111420 w 402651"/>
                <a:gd name="connsiteY98" fmla="*/ 360097 h 513277"/>
                <a:gd name="connsiteX99" fmla="*/ 101877 w 402651"/>
                <a:gd name="connsiteY99" fmla="*/ 345756 h 513277"/>
                <a:gd name="connsiteX100" fmla="*/ 81531 w 402651"/>
                <a:gd name="connsiteY100" fmla="*/ 336580 h 513277"/>
                <a:gd name="connsiteX101" fmla="*/ 65818 w 402651"/>
                <a:gd name="connsiteY101" fmla="*/ 324913 h 513277"/>
                <a:gd name="connsiteX102" fmla="*/ 68583 w 402651"/>
                <a:gd name="connsiteY102" fmla="*/ 321135 h 513277"/>
                <a:gd name="connsiteX103" fmla="*/ 46459 w 402651"/>
                <a:gd name="connsiteY103" fmla="*/ 304404 h 513277"/>
                <a:gd name="connsiteX104" fmla="*/ 69136 w 402651"/>
                <a:gd name="connsiteY104" fmla="*/ 294689 h 513277"/>
                <a:gd name="connsiteX105" fmla="*/ 58074 w 402651"/>
                <a:gd name="connsiteY105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158447 w 402651"/>
                <a:gd name="connsiteY88" fmla="*/ 399038 h 513277"/>
                <a:gd name="connsiteX89" fmla="*/ 166960 w 402651"/>
                <a:gd name="connsiteY89" fmla="*/ 394540 h 513277"/>
                <a:gd name="connsiteX90" fmla="*/ 181901 w 402651"/>
                <a:gd name="connsiteY90" fmla="*/ 391815 h 513277"/>
                <a:gd name="connsiteX91" fmla="*/ 178026 w 402651"/>
                <a:gd name="connsiteY91" fmla="*/ 385621 h 513277"/>
                <a:gd name="connsiteX92" fmla="*/ 166262 w 402651"/>
                <a:gd name="connsiteY92" fmla="*/ 378348 h 513277"/>
                <a:gd name="connsiteX93" fmla="*/ 158241 w 402651"/>
                <a:gd name="connsiteY93" fmla="*/ 381379 h 513277"/>
                <a:gd name="connsiteX94" fmla="*/ 142748 w 402651"/>
                <a:gd name="connsiteY94" fmla="*/ 368966 h 513277"/>
                <a:gd name="connsiteX95" fmla="*/ 136657 w 402651"/>
                <a:gd name="connsiteY95" fmla="*/ 366344 h 513277"/>
                <a:gd name="connsiteX96" fmla="*/ 121170 w 402651"/>
                <a:gd name="connsiteY96" fmla="*/ 359789 h 513277"/>
                <a:gd name="connsiteX97" fmla="*/ 111420 w 402651"/>
                <a:gd name="connsiteY97" fmla="*/ 360097 h 513277"/>
                <a:gd name="connsiteX98" fmla="*/ 101877 w 402651"/>
                <a:gd name="connsiteY98" fmla="*/ 345756 h 513277"/>
                <a:gd name="connsiteX99" fmla="*/ 81531 w 402651"/>
                <a:gd name="connsiteY99" fmla="*/ 336580 h 513277"/>
                <a:gd name="connsiteX100" fmla="*/ 65818 w 402651"/>
                <a:gd name="connsiteY100" fmla="*/ 324913 h 513277"/>
                <a:gd name="connsiteX101" fmla="*/ 68583 w 402651"/>
                <a:gd name="connsiteY101" fmla="*/ 321135 h 513277"/>
                <a:gd name="connsiteX102" fmla="*/ 46459 w 402651"/>
                <a:gd name="connsiteY102" fmla="*/ 304404 h 513277"/>
                <a:gd name="connsiteX103" fmla="*/ 69136 w 402651"/>
                <a:gd name="connsiteY103" fmla="*/ 294689 h 513277"/>
                <a:gd name="connsiteX104" fmla="*/ 58074 w 402651"/>
                <a:gd name="connsiteY104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158447 w 402651"/>
                <a:gd name="connsiteY87" fmla="*/ 399038 h 513277"/>
                <a:gd name="connsiteX88" fmla="*/ 166960 w 402651"/>
                <a:gd name="connsiteY88" fmla="*/ 394540 h 513277"/>
                <a:gd name="connsiteX89" fmla="*/ 181901 w 402651"/>
                <a:gd name="connsiteY89" fmla="*/ 391815 h 513277"/>
                <a:gd name="connsiteX90" fmla="*/ 178026 w 402651"/>
                <a:gd name="connsiteY90" fmla="*/ 385621 h 513277"/>
                <a:gd name="connsiteX91" fmla="*/ 166262 w 402651"/>
                <a:gd name="connsiteY91" fmla="*/ 378348 h 513277"/>
                <a:gd name="connsiteX92" fmla="*/ 158241 w 402651"/>
                <a:gd name="connsiteY92" fmla="*/ 381379 h 513277"/>
                <a:gd name="connsiteX93" fmla="*/ 142748 w 402651"/>
                <a:gd name="connsiteY93" fmla="*/ 368966 h 513277"/>
                <a:gd name="connsiteX94" fmla="*/ 136657 w 402651"/>
                <a:gd name="connsiteY94" fmla="*/ 366344 h 513277"/>
                <a:gd name="connsiteX95" fmla="*/ 121170 w 402651"/>
                <a:gd name="connsiteY95" fmla="*/ 359789 h 513277"/>
                <a:gd name="connsiteX96" fmla="*/ 111420 w 402651"/>
                <a:gd name="connsiteY96" fmla="*/ 360097 h 513277"/>
                <a:gd name="connsiteX97" fmla="*/ 101877 w 402651"/>
                <a:gd name="connsiteY97" fmla="*/ 345756 h 513277"/>
                <a:gd name="connsiteX98" fmla="*/ 81531 w 402651"/>
                <a:gd name="connsiteY98" fmla="*/ 336580 h 513277"/>
                <a:gd name="connsiteX99" fmla="*/ 65818 w 402651"/>
                <a:gd name="connsiteY99" fmla="*/ 324913 h 513277"/>
                <a:gd name="connsiteX100" fmla="*/ 68583 w 402651"/>
                <a:gd name="connsiteY100" fmla="*/ 321135 h 513277"/>
                <a:gd name="connsiteX101" fmla="*/ 46459 w 402651"/>
                <a:gd name="connsiteY101" fmla="*/ 304404 h 513277"/>
                <a:gd name="connsiteX102" fmla="*/ 69136 w 402651"/>
                <a:gd name="connsiteY102" fmla="*/ 294689 h 513277"/>
                <a:gd name="connsiteX103" fmla="*/ 58074 w 402651"/>
                <a:gd name="connsiteY103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158447 w 402651"/>
                <a:gd name="connsiteY86" fmla="*/ 399038 h 513277"/>
                <a:gd name="connsiteX87" fmla="*/ 166960 w 402651"/>
                <a:gd name="connsiteY87" fmla="*/ 394540 h 513277"/>
                <a:gd name="connsiteX88" fmla="*/ 181901 w 402651"/>
                <a:gd name="connsiteY88" fmla="*/ 391815 h 513277"/>
                <a:gd name="connsiteX89" fmla="*/ 178026 w 402651"/>
                <a:gd name="connsiteY89" fmla="*/ 385621 h 513277"/>
                <a:gd name="connsiteX90" fmla="*/ 166262 w 402651"/>
                <a:gd name="connsiteY90" fmla="*/ 378348 h 513277"/>
                <a:gd name="connsiteX91" fmla="*/ 158241 w 402651"/>
                <a:gd name="connsiteY91" fmla="*/ 381379 h 513277"/>
                <a:gd name="connsiteX92" fmla="*/ 142748 w 402651"/>
                <a:gd name="connsiteY92" fmla="*/ 368966 h 513277"/>
                <a:gd name="connsiteX93" fmla="*/ 136657 w 402651"/>
                <a:gd name="connsiteY93" fmla="*/ 366344 h 513277"/>
                <a:gd name="connsiteX94" fmla="*/ 121170 w 402651"/>
                <a:gd name="connsiteY94" fmla="*/ 359789 h 513277"/>
                <a:gd name="connsiteX95" fmla="*/ 111420 w 402651"/>
                <a:gd name="connsiteY95" fmla="*/ 360097 h 513277"/>
                <a:gd name="connsiteX96" fmla="*/ 101877 w 402651"/>
                <a:gd name="connsiteY96" fmla="*/ 345756 h 513277"/>
                <a:gd name="connsiteX97" fmla="*/ 81531 w 402651"/>
                <a:gd name="connsiteY97" fmla="*/ 336580 h 513277"/>
                <a:gd name="connsiteX98" fmla="*/ 65818 w 402651"/>
                <a:gd name="connsiteY98" fmla="*/ 324913 h 513277"/>
                <a:gd name="connsiteX99" fmla="*/ 68583 w 402651"/>
                <a:gd name="connsiteY99" fmla="*/ 321135 h 513277"/>
                <a:gd name="connsiteX100" fmla="*/ 46459 w 402651"/>
                <a:gd name="connsiteY100" fmla="*/ 304404 h 513277"/>
                <a:gd name="connsiteX101" fmla="*/ 69136 w 402651"/>
                <a:gd name="connsiteY101" fmla="*/ 294689 h 513277"/>
                <a:gd name="connsiteX102" fmla="*/ 58074 w 402651"/>
                <a:gd name="connsiteY102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158447 w 402651"/>
                <a:gd name="connsiteY85" fmla="*/ 399038 h 513277"/>
                <a:gd name="connsiteX86" fmla="*/ 166960 w 402651"/>
                <a:gd name="connsiteY86" fmla="*/ 394540 h 513277"/>
                <a:gd name="connsiteX87" fmla="*/ 181901 w 402651"/>
                <a:gd name="connsiteY87" fmla="*/ 391815 h 513277"/>
                <a:gd name="connsiteX88" fmla="*/ 178026 w 402651"/>
                <a:gd name="connsiteY88" fmla="*/ 385621 h 513277"/>
                <a:gd name="connsiteX89" fmla="*/ 166262 w 402651"/>
                <a:gd name="connsiteY89" fmla="*/ 378348 h 513277"/>
                <a:gd name="connsiteX90" fmla="*/ 158241 w 402651"/>
                <a:gd name="connsiteY90" fmla="*/ 381379 h 513277"/>
                <a:gd name="connsiteX91" fmla="*/ 142748 w 402651"/>
                <a:gd name="connsiteY91" fmla="*/ 368966 h 513277"/>
                <a:gd name="connsiteX92" fmla="*/ 136657 w 402651"/>
                <a:gd name="connsiteY92" fmla="*/ 366344 h 513277"/>
                <a:gd name="connsiteX93" fmla="*/ 121170 w 402651"/>
                <a:gd name="connsiteY93" fmla="*/ 359789 h 513277"/>
                <a:gd name="connsiteX94" fmla="*/ 111420 w 402651"/>
                <a:gd name="connsiteY94" fmla="*/ 360097 h 513277"/>
                <a:gd name="connsiteX95" fmla="*/ 101877 w 402651"/>
                <a:gd name="connsiteY95" fmla="*/ 345756 h 513277"/>
                <a:gd name="connsiteX96" fmla="*/ 81531 w 402651"/>
                <a:gd name="connsiteY96" fmla="*/ 336580 h 513277"/>
                <a:gd name="connsiteX97" fmla="*/ 65818 w 402651"/>
                <a:gd name="connsiteY97" fmla="*/ 324913 h 513277"/>
                <a:gd name="connsiteX98" fmla="*/ 68583 w 402651"/>
                <a:gd name="connsiteY98" fmla="*/ 321135 h 513277"/>
                <a:gd name="connsiteX99" fmla="*/ 46459 w 402651"/>
                <a:gd name="connsiteY99" fmla="*/ 304404 h 513277"/>
                <a:gd name="connsiteX100" fmla="*/ 69136 w 402651"/>
                <a:gd name="connsiteY100" fmla="*/ 294689 h 513277"/>
                <a:gd name="connsiteX101" fmla="*/ 58074 w 402651"/>
                <a:gd name="connsiteY101" fmla="*/ 283894 h 513277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8116 w 402651"/>
                <a:gd name="connsiteY63" fmla="*/ 44311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93252 w 402651"/>
                <a:gd name="connsiteY80" fmla="*/ 423091 h 509499"/>
                <a:gd name="connsiteX81" fmla="*/ 99003 w 402651"/>
                <a:gd name="connsiteY81" fmla="*/ 480354 h 509499"/>
                <a:gd name="connsiteX82" fmla="*/ 107853 w 402651"/>
                <a:gd name="connsiteY82" fmla="*/ 485211 h 509499"/>
                <a:gd name="connsiteX83" fmla="*/ 110065 w 402651"/>
                <a:gd name="connsiteY83" fmla="*/ 491148 h 509499"/>
                <a:gd name="connsiteX84" fmla="*/ 158447 w 402651"/>
                <a:gd name="connsiteY84" fmla="*/ 399038 h 509499"/>
                <a:gd name="connsiteX85" fmla="*/ 166960 w 402651"/>
                <a:gd name="connsiteY85" fmla="*/ 394540 h 509499"/>
                <a:gd name="connsiteX86" fmla="*/ 181901 w 402651"/>
                <a:gd name="connsiteY86" fmla="*/ 391815 h 509499"/>
                <a:gd name="connsiteX87" fmla="*/ 178026 w 402651"/>
                <a:gd name="connsiteY87" fmla="*/ 385621 h 509499"/>
                <a:gd name="connsiteX88" fmla="*/ 166262 w 402651"/>
                <a:gd name="connsiteY88" fmla="*/ 378348 h 509499"/>
                <a:gd name="connsiteX89" fmla="*/ 158241 w 402651"/>
                <a:gd name="connsiteY89" fmla="*/ 381379 h 509499"/>
                <a:gd name="connsiteX90" fmla="*/ 142748 w 402651"/>
                <a:gd name="connsiteY90" fmla="*/ 368966 h 509499"/>
                <a:gd name="connsiteX91" fmla="*/ 136657 w 402651"/>
                <a:gd name="connsiteY91" fmla="*/ 366344 h 509499"/>
                <a:gd name="connsiteX92" fmla="*/ 121170 w 402651"/>
                <a:gd name="connsiteY92" fmla="*/ 359789 h 509499"/>
                <a:gd name="connsiteX93" fmla="*/ 111420 w 402651"/>
                <a:gd name="connsiteY93" fmla="*/ 360097 h 509499"/>
                <a:gd name="connsiteX94" fmla="*/ 101877 w 402651"/>
                <a:gd name="connsiteY94" fmla="*/ 345756 h 509499"/>
                <a:gd name="connsiteX95" fmla="*/ 81531 w 402651"/>
                <a:gd name="connsiteY95" fmla="*/ 336580 h 509499"/>
                <a:gd name="connsiteX96" fmla="*/ 65818 w 402651"/>
                <a:gd name="connsiteY96" fmla="*/ 324913 h 509499"/>
                <a:gd name="connsiteX97" fmla="*/ 68583 w 402651"/>
                <a:gd name="connsiteY97" fmla="*/ 321135 h 509499"/>
                <a:gd name="connsiteX98" fmla="*/ 46459 w 402651"/>
                <a:gd name="connsiteY98" fmla="*/ 304404 h 509499"/>
                <a:gd name="connsiteX99" fmla="*/ 69136 w 402651"/>
                <a:gd name="connsiteY99" fmla="*/ 294689 h 509499"/>
                <a:gd name="connsiteX100" fmla="*/ 58074 w 402651"/>
                <a:gd name="connsiteY100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8116 w 402651"/>
                <a:gd name="connsiteY63" fmla="*/ 44311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93252 w 402651"/>
                <a:gd name="connsiteY80" fmla="*/ 423091 h 509499"/>
                <a:gd name="connsiteX81" fmla="*/ 99003 w 402651"/>
                <a:gd name="connsiteY81" fmla="*/ 480354 h 509499"/>
                <a:gd name="connsiteX82" fmla="*/ 107853 w 402651"/>
                <a:gd name="connsiteY82" fmla="*/ 485211 h 509499"/>
                <a:gd name="connsiteX83" fmla="*/ 158447 w 402651"/>
                <a:gd name="connsiteY83" fmla="*/ 399038 h 509499"/>
                <a:gd name="connsiteX84" fmla="*/ 166960 w 402651"/>
                <a:gd name="connsiteY84" fmla="*/ 394540 h 509499"/>
                <a:gd name="connsiteX85" fmla="*/ 181901 w 402651"/>
                <a:gd name="connsiteY85" fmla="*/ 391815 h 509499"/>
                <a:gd name="connsiteX86" fmla="*/ 178026 w 402651"/>
                <a:gd name="connsiteY86" fmla="*/ 385621 h 509499"/>
                <a:gd name="connsiteX87" fmla="*/ 166262 w 402651"/>
                <a:gd name="connsiteY87" fmla="*/ 378348 h 509499"/>
                <a:gd name="connsiteX88" fmla="*/ 158241 w 402651"/>
                <a:gd name="connsiteY88" fmla="*/ 381379 h 509499"/>
                <a:gd name="connsiteX89" fmla="*/ 142748 w 402651"/>
                <a:gd name="connsiteY89" fmla="*/ 368966 h 509499"/>
                <a:gd name="connsiteX90" fmla="*/ 136657 w 402651"/>
                <a:gd name="connsiteY90" fmla="*/ 366344 h 509499"/>
                <a:gd name="connsiteX91" fmla="*/ 121170 w 402651"/>
                <a:gd name="connsiteY91" fmla="*/ 359789 h 509499"/>
                <a:gd name="connsiteX92" fmla="*/ 111420 w 402651"/>
                <a:gd name="connsiteY92" fmla="*/ 360097 h 509499"/>
                <a:gd name="connsiteX93" fmla="*/ 101877 w 402651"/>
                <a:gd name="connsiteY93" fmla="*/ 345756 h 509499"/>
                <a:gd name="connsiteX94" fmla="*/ 81531 w 402651"/>
                <a:gd name="connsiteY94" fmla="*/ 336580 h 509499"/>
                <a:gd name="connsiteX95" fmla="*/ 65818 w 402651"/>
                <a:gd name="connsiteY95" fmla="*/ 324913 h 509499"/>
                <a:gd name="connsiteX96" fmla="*/ 68583 w 402651"/>
                <a:gd name="connsiteY96" fmla="*/ 321135 h 509499"/>
                <a:gd name="connsiteX97" fmla="*/ 46459 w 402651"/>
                <a:gd name="connsiteY97" fmla="*/ 304404 h 509499"/>
                <a:gd name="connsiteX98" fmla="*/ 69136 w 402651"/>
                <a:gd name="connsiteY98" fmla="*/ 294689 h 509499"/>
                <a:gd name="connsiteX99" fmla="*/ 58074 w 402651"/>
                <a:gd name="connsiteY99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8116 w 402651"/>
                <a:gd name="connsiteY63" fmla="*/ 44311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93252 w 402651"/>
                <a:gd name="connsiteY80" fmla="*/ 423091 h 509499"/>
                <a:gd name="connsiteX81" fmla="*/ 99003 w 402651"/>
                <a:gd name="connsiteY81" fmla="*/ 480354 h 509499"/>
                <a:gd name="connsiteX82" fmla="*/ 158447 w 402651"/>
                <a:gd name="connsiteY82" fmla="*/ 399038 h 509499"/>
                <a:gd name="connsiteX83" fmla="*/ 166960 w 402651"/>
                <a:gd name="connsiteY83" fmla="*/ 394540 h 509499"/>
                <a:gd name="connsiteX84" fmla="*/ 181901 w 402651"/>
                <a:gd name="connsiteY84" fmla="*/ 391815 h 509499"/>
                <a:gd name="connsiteX85" fmla="*/ 178026 w 402651"/>
                <a:gd name="connsiteY85" fmla="*/ 385621 h 509499"/>
                <a:gd name="connsiteX86" fmla="*/ 166262 w 402651"/>
                <a:gd name="connsiteY86" fmla="*/ 378348 h 509499"/>
                <a:gd name="connsiteX87" fmla="*/ 158241 w 402651"/>
                <a:gd name="connsiteY87" fmla="*/ 381379 h 509499"/>
                <a:gd name="connsiteX88" fmla="*/ 142748 w 402651"/>
                <a:gd name="connsiteY88" fmla="*/ 368966 h 509499"/>
                <a:gd name="connsiteX89" fmla="*/ 136657 w 402651"/>
                <a:gd name="connsiteY89" fmla="*/ 366344 h 509499"/>
                <a:gd name="connsiteX90" fmla="*/ 121170 w 402651"/>
                <a:gd name="connsiteY90" fmla="*/ 359789 h 509499"/>
                <a:gd name="connsiteX91" fmla="*/ 111420 w 402651"/>
                <a:gd name="connsiteY91" fmla="*/ 360097 h 509499"/>
                <a:gd name="connsiteX92" fmla="*/ 101877 w 402651"/>
                <a:gd name="connsiteY92" fmla="*/ 345756 h 509499"/>
                <a:gd name="connsiteX93" fmla="*/ 81531 w 402651"/>
                <a:gd name="connsiteY93" fmla="*/ 336580 h 509499"/>
                <a:gd name="connsiteX94" fmla="*/ 65818 w 402651"/>
                <a:gd name="connsiteY94" fmla="*/ 324913 h 509499"/>
                <a:gd name="connsiteX95" fmla="*/ 68583 w 402651"/>
                <a:gd name="connsiteY95" fmla="*/ 321135 h 509499"/>
                <a:gd name="connsiteX96" fmla="*/ 46459 w 402651"/>
                <a:gd name="connsiteY96" fmla="*/ 304404 h 509499"/>
                <a:gd name="connsiteX97" fmla="*/ 69136 w 402651"/>
                <a:gd name="connsiteY97" fmla="*/ 294689 h 509499"/>
                <a:gd name="connsiteX98" fmla="*/ 58074 w 402651"/>
                <a:gd name="connsiteY98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8116 w 402651"/>
                <a:gd name="connsiteY63" fmla="*/ 44311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93252 w 402651"/>
                <a:gd name="connsiteY80" fmla="*/ 423091 h 509499"/>
                <a:gd name="connsiteX81" fmla="*/ 158447 w 402651"/>
                <a:gd name="connsiteY81" fmla="*/ 399038 h 509499"/>
                <a:gd name="connsiteX82" fmla="*/ 166960 w 402651"/>
                <a:gd name="connsiteY82" fmla="*/ 394540 h 509499"/>
                <a:gd name="connsiteX83" fmla="*/ 181901 w 402651"/>
                <a:gd name="connsiteY83" fmla="*/ 391815 h 509499"/>
                <a:gd name="connsiteX84" fmla="*/ 178026 w 402651"/>
                <a:gd name="connsiteY84" fmla="*/ 385621 h 509499"/>
                <a:gd name="connsiteX85" fmla="*/ 166262 w 402651"/>
                <a:gd name="connsiteY85" fmla="*/ 378348 h 509499"/>
                <a:gd name="connsiteX86" fmla="*/ 158241 w 402651"/>
                <a:gd name="connsiteY86" fmla="*/ 381379 h 509499"/>
                <a:gd name="connsiteX87" fmla="*/ 142748 w 402651"/>
                <a:gd name="connsiteY87" fmla="*/ 368966 h 509499"/>
                <a:gd name="connsiteX88" fmla="*/ 136657 w 402651"/>
                <a:gd name="connsiteY88" fmla="*/ 366344 h 509499"/>
                <a:gd name="connsiteX89" fmla="*/ 121170 w 402651"/>
                <a:gd name="connsiteY89" fmla="*/ 359789 h 509499"/>
                <a:gd name="connsiteX90" fmla="*/ 111420 w 402651"/>
                <a:gd name="connsiteY90" fmla="*/ 360097 h 509499"/>
                <a:gd name="connsiteX91" fmla="*/ 101877 w 402651"/>
                <a:gd name="connsiteY91" fmla="*/ 345756 h 509499"/>
                <a:gd name="connsiteX92" fmla="*/ 81531 w 402651"/>
                <a:gd name="connsiteY92" fmla="*/ 336580 h 509499"/>
                <a:gd name="connsiteX93" fmla="*/ 65818 w 402651"/>
                <a:gd name="connsiteY93" fmla="*/ 324913 h 509499"/>
                <a:gd name="connsiteX94" fmla="*/ 68583 w 402651"/>
                <a:gd name="connsiteY94" fmla="*/ 321135 h 509499"/>
                <a:gd name="connsiteX95" fmla="*/ 46459 w 402651"/>
                <a:gd name="connsiteY95" fmla="*/ 304404 h 509499"/>
                <a:gd name="connsiteX96" fmla="*/ 69136 w 402651"/>
                <a:gd name="connsiteY96" fmla="*/ 294689 h 509499"/>
                <a:gd name="connsiteX97" fmla="*/ 58074 w 402651"/>
                <a:gd name="connsiteY97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8116 w 402651"/>
                <a:gd name="connsiteY63" fmla="*/ 44311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158447 w 402651"/>
                <a:gd name="connsiteY80" fmla="*/ 399038 h 509499"/>
                <a:gd name="connsiteX81" fmla="*/ 166960 w 402651"/>
                <a:gd name="connsiteY81" fmla="*/ 394540 h 509499"/>
                <a:gd name="connsiteX82" fmla="*/ 181901 w 402651"/>
                <a:gd name="connsiteY82" fmla="*/ 391815 h 509499"/>
                <a:gd name="connsiteX83" fmla="*/ 178026 w 402651"/>
                <a:gd name="connsiteY83" fmla="*/ 385621 h 509499"/>
                <a:gd name="connsiteX84" fmla="*/ 166262 w 402651"/>
                <a:gd name="connsiteY84" fmla="*/ 378348 h 509499"/>
                <a:gd name="connsiteX85" fmla="*/ 158241 w 402651"/>
                <a:gd name="connsiteY85" fmla="*/ 381379 h 509499"/>
                <a:gd name="connsiteX86" fmla="*/ 142748 w 402651"/>
                <a:gd name="connsiteY86" fmla="*/ 368966 h 509499"/>
                <a:gd name="connsiteX87" fmla="*/ 136657 w 402651"/>
                <a:gd name="connsiteY87" fmla="*/ 366344 h 509499"/>
                <a:gd name="connsiteX88" fmla="*/ 121170 w 402651"/>
                <a:gd name="connsiteY88" fmla="*/ 359789 h 509499"/>
                <a:gd name="connsiteX89" fmla="*/ 111420 w 402651"/>
                <a:gd name="connsiteY89" fmla="*/ 360097 h 509499"/>
                <a:gd name="connsiteX90" fmla="*/ 101877 w 402651"/>
                <a:gd name="connsiteY90" fmla="*/ 345756 h 509499"/>
                <a:gd name="connsiteX91" fmla="*/ 81531 w 402651"/>
                <a:gd name="connsiteY91" fmla="*/ 336580 h 509499"/>
                <a:gd name="connsiteX92" fmla="*/ 65818 w 402651"/>
                <a:gd name="connsiteY92" fmla="*/ 324913 h 509499"/>
                <a:gd name="connsiteX93" fmla="*/ 68583 w 402651"/>
                <a:gd name="connsiteY93" fmla="*/ 321135 h 509499"/>
                <a:gd name="connsiteX94" fmla="*/ 46459 w 402651"/>
                <a:gd name="connsiteY94" fmla="*/ 304404 h 509499"/>
                <a:gd name="connsiteX95" fmla="*/ 69136 w 402651"/>
                <a:gd name="connsiteY95" fmla="*/ 294689 h 509499"/>
                <a:gd name="connsiteX96" fmla="*/ 58074 w 402651"/>
                <a:gd name="connsiteY96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5594 w 402651"/>
                <a:gd name="connsiteY63" fmla="*/ 41188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158447 w 402651"/>
                <a:gd name="connsiteY80" fmla="*/ 399038 h 509499"/>
                <a:gd name="connsiteX81" fmla="*/ 166960 w 402651"/>
                <a:gd name="connsiteY81" fmla="*/ 394540 h 509499"/>
                <a:gd name="connsiteX82" fmla="*/ 181901 w 402651"/>
                <a:gd name="connsiteY82" fmla="*/ 391815 h 509499"/>
                <a:gd name="connsiteX83" fmla="*/ 178026 w 402651"/>
                <a:gd name="connsiteY83" fmla="*/ 385621 h 509499"/>
                <a:gd name="connsiteX84" fmla="*/ 166262 w 402651"/>
                <a:gd name="connsiteY84" fmla="*/ 378348 h 509499"/>
                <a:gd name="connsiteX85" fmla="*/ 158241 w 402651"/>
                <a:gd name="connsiteY85" fmla="*/ 381379 h 509499"/>
                <a:gd name="connsiteX86" fmla="*/ 142748 w 402651"/>
                <a:gd name="connsiteY86" fmla="*/ 368966 h 509499"/>
                <a:gd name="connsiteX87" fmla="*/ 136657 w 402651"/>
                <a:gd name="connsiteY87" fmla="*/ 366344 h 509499"/>
                <a:gd name="connsiteX88" fmla="*/ 121170 w 402651"/>
                <a:gd name="connsiteY88" fmla="*/ 359789 h 509499"/>
                <a:gd name="connsiteX89" fmla="*/ 111420 w 402651"/>
                <a:gd name="connsiteY89" fmla="*/ 360097 h 509499"/>
                <a:gd name="connsiteX90" fmla="*/ 101877 w 402651"/>
                <a:gd name="connsiteY90" fmla="*/ 345756 h 509499"/>
                <a:gd name="connsiteX91" fmla="*/ 81531 w 402651"/>
                <a:gd name="connsiteY91" fmla="*/ 336580 h 509499"/>
                <a:gd name="connsiteX92" fmla="*/ 65818 w 402651"/>
                <a:gd name="connsiteY92" fmla="*/ 324913 h 509499"/>
                <a:gd name="connsiteX93" fmla="*/ 68583 w 402651"/>
                <a:gd name="connsiteY93" fmla="*/ 321135 h 509499"/>
                <a:gd name="connsiteX94" fmla="*/ 46459 w 402651"/>
                <a:gd name="connsiteY94" fmla="*/ 304404 h 509499"/>
                <a:gd name="connsiteX95" fmla="*/ 69136 w 402651"/>
                <a:gd name="connsiteY95" fmla="*/ 294689 h 509499"/>
                <a:gd name="connsiteX96" fmla="*/ 58074 w 402651"/>
                <a:gd name="connsiteY96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5594 w 402651"/>
                <a:gd name="connsiteY63" fmla="*/ 411883 h 509499"/>
                <a:gd name="connsiteX64" fmla="*/ 269909 w 402651"/>
                <a:gd name="connsiteY64" fmla="*/ 460923 h 509499"/>
                <a:gd name="connsiteX65" fmla="*/ 292976 w 402651"/>
                <a:gd name="connsiteY65" fmla="*/ 397414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158447 w 402651"/>
                <a:gd name="connsiteY80" fmla="*/ 399038 h 509499"/>
                <a:gd name="connsiteX81" fmla="*/ 166960 w 402651"/>
                <a:gd name="connsiteY81" fmla="*/ 394540 h 509499"/>
                <a:gd name="connsiteX82" fmla="*/ 181901 w 402651"/>
                <a:gd name="connsiteY82" fmla="*/ 391815 h 509499"/>
                <a:gd name="connsiteX83" fmla="*/ 178026 w 402651"/>
                <a:gd name="connsiteY83" fmla="*/ 385621 h 509499"/>
                <a:gd name="connsiteX84" fmla="*/ 166262 w 402651"/>
                <a:gd name="connsiteY84" fmla="*/ 378348 h 509499"/>
                <a:gd name="connsiteX85" fmla="*/ 158241 w 402651"/>
                <a:gd name="connsiteY85" fmla="*/ 381379 h 509499"/>
                <a:gd name="connsiteX86" fmla="*/ 142748 w 402651"/>
                <a:gd name="connsiteY86" fmla="*/ 368966 h 509499"/>
                <a:gd name="connsiteX87" fmla="*/ 136657 w 402651"/>
                <a:gd name="connsiteY87" fmla="*/ 366344 h 509499"/>
                <a:gd name="connsiteX88" fmla="*/ 121170 w 402651"/>
                <a:gd name="connsiteY88" fmla="*/ 359789 h 509499"/>
                <a:gd name="connsiteX89" fmla="*/ 111420 w 402651"/>
                <a:gd name="connsiteY89" fmla="*/ 360097 h 509499"/>
                <a:gd name="connsiteX90" fmla="*/ 101877 w 402651"/>
                <a:gd name="connsiteY90" fmla="*/ 345756 h 509499"/>
                <a:gd name="connsiteX91" fmla="*/ 81531 w 402651"/>
                <a:gd name="connsiteY91" fmla="*/ 336580 h 509499"/>
                <a:gd name="connsiteX92" fmla="*/ 65818 w 402651"/>
                <a:gd name="connsiteY92" fmla="*/ 324913 h 509499"/>
                <a:gd name="connsiteX93" fmla="*/ 68583 w 402651"/>
                <a:gd name="connsiteY93" fmla="*/ 321135 h 509499"/>
                <a:gd name="connsiteX94" fmla="*/ 46459 w 402651"/>
                <a:gd name="connsiteY94" fmla="*/ 304404 h 509499"/>
                <a:gd name="connsiteX95" fmla="*/ 69136 w 402651"/>
                <a:gd name="connsiteY95" fmla="*/ 294689 h 509499"/>
                <a:gd name="connsiteX96" fmla="*/ 58074 w 402651"/>
                <a:gd name="connsiteY96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5594 w 402651"/>
                <a:gd name="connsiteY63" fmla="*/ 411883 h 509499"/>
                <a:gd name="connsiteX64" fmla="*/ 269909 w 402651"/>
                <a:gd name="connsiteY64" fmla="*/ 460923 h 509499"/>
                <a:gd name="connsiteX65" fmla="*/ 292976 w 402651"/>
                <a:gd name="connsiteY65" fmla="*/ 397414 h 509499"/>
                <a:gd name="connsiteX66" fmla="*/ 300029 w 402651"/>
                <a:gd name="connsiteY66" fmla="*/ 384146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158447 w 402651"/>
                <a:gd name="connsiteY80" fmla="*/ 399038 h 509499"/>
                <a:gd name="connsiteX81" fmla="*/ 166960 w 402651"/>
                <a:gd name="connsiteY81" fmla="*/ 394540 h 509499"/>
                <a:gd name="connsiteX82" fmla="*/ 181901 w 402651"/>
                <a:gd name="connsiteY82" fmla="*/ 391815 h 509499"/>
                <a:gd name="connsiteX83" fmla="*/ 178026 w 402651"/>
                <a:gd name="connsiteY83" fmla="*/ 385621 h 509499"/>
                <a:gd name="connsiteX84" fmla="*/ 166262 w 402651"/>
                <a:gd name="connsiteY84" fmla="*/ 378348 h 509499"/>
                <a:gd name="connsiteX85" fmla="*/ 158241 w 402651"/>
                <a:gd name="connsiteY85" fmla="*/ 381379 h 509499"/>
                <a:gd name="connsiteX86" fmla="*/ 142748 w 402651"/>
                <a:gd name="connsiteY86" fmla="*/ 368966 h 509499"/>
                <a:gd name="connsiteX87" fmla="*/ 136657 w 402651"/>
                <a:gd name="connsiteY87" fmla="*/ 366344 h 509499"/>
                <a:gd name="connsiteX88" fmla="*/ 121170 w 402651"/>
                <a:gd name="connsiteY88" fmla="*/ 359789 h 509499"/>
                <a:gd name="connsiteX89" fmla="*/ 111420 w 402651"/>
                <a:gd name="connsiteY89" fmla="*/ 360097 h 509499"/>
                <a:gd name="connsiteX90" fmla="*/ 101877 w 402651"/>
                <a:gd name="connsiteY90" fmla="*/ 345756 h 509499"/>
                <a:gd name="connsiteX91" fmla="*/ 81531 w 402651"/>
                <a:gd name="connsiteY91" fmla="*/ 336580 h 509499"/>
                <a:gd name="connsiteX92" fmla="*/ 65818 w 402651"/>
                <a:gd name="connsiteY92" fmla="*/ 324913 h 509499"/>
                <a:gd name="connsiteX93" fmla="*/ 68583 w 402651"/>
                <a:gd name="connsiteY93" fmla="*/ 321135 h 509499"/>
                <a:gd name="connsiteX94" fmla="*/ 46459 w 402651"/>
                <a:gd name="connsiteY94" fmla="*/ 304404 h 509499"/>
                <a:gd name="connsiteX95" fmla="*/ 69136 w 402651"/>
                <a:gd name="connsiteY95" fmla="*/ 294689 h 509499"/>
                <a:gd name="connsiteX96" fmla="*/ 58074 w 402651"/>
                <a:gd name="connsiteY96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5594 w 402651"/>
                <a:gd name="connsiteY63" fmla="*/ 411883 h 509499"/>
                <a:gd name="connsiteX64" fmla="*/ 269909 w 402651"/>
                <a:gd name="connsiteY64" fmla="*/ 460923 h 509499"/>
                <a:gd name="connsiteX65" fmla="*/ 292976 w 402651"/>
                <a:gd name="connsiteY65" fmla="*/ 397414 h 509499"/>
                <a:gd name="connsiteX66" fmla="*/ 300029 w 402651"/>
                <a:gd name="connsiteY66" fmla="*/ 384146 h 509499"/>
                <a:gd name="connsiteX67" fmla="*/ 283216 w 402651"/>
                <a:gd name="connsiteY67" fmla="*/ 386506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158447 w 402651"/>
                <a:gd name="connsiteY80" fmla="*/ 399038 h 509499"/>
                <a:gd name="connsiteX81" fmla="*/ 166960 w 402651"/>
                <a:gd name="connsiteY81" fmla="*/ 394540 h 509499"/>
                <a:gd name="connsiteX82" fmla="*/ 181901 w 402651"/>
                <a:gd name="connsiteY82" fmla="*/ 391815 h 509499"/>
                <a:gd name="connsiteX83" fmla="*/ 178026 w 402651"/>
                <a:gd name="connsiteY83" fmla="*/ 385621 h 509499"/>
                <a:gd name="connsiteX84" fmla="*/ 166262 w 402651"/>
                <a:gd name="connsiteY84" fmla="*/ 378348 h 509499"/>
                <a:gd name="connsiteX85" fmla="*/ 158241 w 402651"/>
                <a:gd name="connsiteY85" fmla="*/ 381379 h 509499"/>
                <a:gd name="connsiteX86" fmla="*/ 142748 w 402651"/>
                <a:gd name="connsiteY86" fmla="*/ 368966 h 509499"/>
                <a:gd name="connsiteX87" fmla="*/ 136657 w 402651"/>
                <a:gd name="connsiteY87" fmla="*/ 366344 h 509499"/>
                <a:gd name="connsiteX88" fmla="*/ 121170 w 402651"/>
                <a:gd name="connsiteY88" fmla="*/ 359789 h 509499"/>
                <a:gd name="connsiteX89" fmla="*/ 111420 w 402651"/>
                <a:gd name="connsiteY89" fmla="*/ 360097 h 509499"/>
                <a:gd name="connsiteX90" fmla="*/ 101877 w 402651"/>
                <a:gd name="connsiteY90" fmla="*/ 345756 h 509499"/>
                <a:gd name="connsiteX91" fmla="*/ 81531 w 402651"/>
                <a:gd name="connsiteY91" fmla="*/ 336580 h 509499"/>
                <a:gd name="connsiteX92" fmla="*/ 65818 w 402651"/>
                <a:gd name="connsiteY92" fmla="*/ 324913 h 509499"/>
                <a:gd name="connsiteX93" fmla="*/ 68583 w 402651"/>
                <a:gd name="connsiteY93" fmla="*/ 321135 h 509499"/>
                <a:gd name="connsiteX94" fmla="*/ 46459 w 402651"/>
                <a:gd name="connsiteY94" fmla="*/ 304404 h 509499"/>
                <a:gd name="connsiteX95" fmla="*/ 69136 w 402651"/>
                <a:gd name="connsiteY95" fmla="*/ 294689 h 509499"/>
                <a:gd name="connsiteX96" fmla="*/ 58074 w 402651"/>
                <a:gd name="connsiteY96" fmla="*/ 283894 h 509499"/>
                <a:gd name="connsiteX0" fmla="*/ 58074 w 402651"/>
                <a:gd name="connsiteY0" fmla="*/ 283894 h 508959"/>
                <a:gd name="connsiteX1" fmla="*/ 51990 w 402651"/>
                <a:gd name="connsiteY1" fmla="*/ 261226 h 508959"/>
                <a:gd name="connsiteX2" fmla="*/ 56415 w 402651"/>
                <a:gd name="connsiteY2" fmla="*/ 258527 h 508959"/>
                <a:gd name="connsiteX3" fmla="*/ 68030 w 402651"/>
                <a:gd name="connsiteY3" fmla="*/ 264464 h 508959"/>
                <a:gd name="connsiteX4" fmla="*/ 71902 w 402651"/>
                <a:gd name="connsiteY4" fmla="*/ 265544 h 508959"/>
                <a:gd name="connsiteX5" fmla="*/ 81857 w 402651"/>
                <a:gd name="connsiteY5" fmla="*/ 251511 h 508959"/>
                <a:gd name="connsiteX6" fmla="*/ 79645 w 402651"/>
                <a:gd name="connsiteY6" fmla="*/ 241256 h 508959"/>
                <a:gd name="connsiteX7" fmla="*/ 44800 w 402651"/>
                <a:gd name="connsiteY7" fmla="*/ 218048 h 508959"/>
                <a:gd name="connsiteX8" fmla="*/ 41481 w 402651"/>
                <a:gd name="connsiteY8" fmla="*/ 212111 h 508959"/>
                <a:gd name="connsiteX9" fmla="*/ 51990 w 402651"/>
                <a:gd name="connsiteY9" fmla="*/ 155440 h 508959"/>
                <a:gd name="connsiteX10" fmla="*/ 38716 w 402651"/>
                <a:gd name="connsiteY10" fmla="*/ 140328 h 508959"/>
                <a:gd name="connsiteX11" fmla="*/ 44800 w 402651"/>
                <a:gd name="connsiteY11" fmla="*/ 113342 h 508959"/>
                <a:gd name="connsiteX12" fmla="*/ 25442 w 402651"/>
                <a:gd name="connsiteY12" fmla="*/ 106325 h 508959"/>
                <a:gd name="connsiteX13" fmla="*/ 13827 w 402651"/>
                <a:gd name="connsiteY13" fmla="*/ 86355 h 508959"/>
                <a:gd name="connsiteX14" fmla="*/ 2212 w 402651"/>
                <a:gd name="connsiteY14" fmla="*/ 60449 h 508959"/>
                <a:gd name="connsiteX15" fmla="*/ 0 w 402651"/>
                <a:gd name="connsiteY15" fmla="*/ 48575 h 508959"/>
                <a:gd name="connsiteX16" fmla="*/ 14933 w 402651"/>
                <a:gd name="connsiteY16" fmla="*/ 31304 h 508959"/>
                <a:gd name="connsiteX17" fmla="*/ 29313 w 402651"/>
                <a:gd name="connsiteY17" fmla="*/ 29685 h 508959"/>
                <a:gd name="connsiteX18" fmla="*/ 57521 w 402651"/>
                <a:gd name="connsiteY18" fmla="*/ 2698 h 508959"/>
                <a:gd name="connsiteX19" fmla="*/ 74667 w 402651"/>
                <a:gd name="connsiteY19" fmla="*/ 6476 h 508959"/>
                <a:gd name="connsiteX20" fmla="*/ 95131 w 402651"/>
                <a:gd name="connsiteY20" fmla="*/ 0 h 508959"/>
                <a:gd name="connsiteX21" fmla="*/ 113937 w 402651"/>
                <a:gd name="connsiteY21" fmla="*/ 2698 h 508959"/>
                <a:gd name="connsiteX22" fmla="*/ 120574 w 402651"/>
                <a:gd name="connsiteY22" fmla="*/ 17811 h 508959"/>
                <a:gd name="connsiteX23" fmla="*/ 131082 w 402651"/>
                <a:gd name="connsiteY23" fmla="*/ 25367 h 508959"/>
                <a:gd name="connsiteX24" fmla="*/ 152653 w 402651"/>
                <a:gd name="connsiteY24" fmla="*/ 34002 h 508959"/>
                <a:gd name="connsiteX25" fmla="*/ 156525 w 402651"/>
                <a:gd name="connsiteY25" fmla="*/ 38860 h 508959"/>
                <a:gd name="connsiteX26" fmla="*/ 162609 w 402651"/>
                <a:gd name="connsiteY26" fmla="*/ 39939 h 508959"/>
                <a:gd name="connsiteX27" fmla="*/ 163162 w 402651"/>
                <a:gd name="connsiteY27" fmla="*/ 56131 h 508959"/>
                <a:gd name="connsiteX28" fmla="*/ 167033 w 402651"/>
                <a:gd name="connsiteY28" fmla="*/ 67465 h 508959"/>
                <a:gd name="connsiteX29" fmla="*/ 180308 w 402651"/>
                <a:gd name="connsiteY29" fmla="*/ 77180 h 508959"/>
                <a:gd name="connsiteX30" fmla="*/ 200772 w 402651"/>
                <a:gd name="connsiteY30" fmla="*/ 84736 h 508959"/>
                <a:gd name="connsiteX31" fmla="*/ 228980 w 402651"/>
                <a:gd name="connsiteY31" fmla="*/ 102547 h 508959"/>
                <a:gd name="connsiteX32" fmla="*/ 235064 w 402651"/>
                <a:gd name="connsiteY32" fmla="*/ 141947 h 508959"/>
                <a:gd name="connsiteX33" fmla="*/ 253316 w 402651"/>
                <a:gd name="connsiteY33" fmla="*/ 149503 h 508959"/>
                <a:gd name="connsiteX34" fmla="*/ 283736 w 402651"/>
                <a:gd name="connsiteY34" fmla="*/ 154900 h 508959"/>
                <a:gd name="connsiteX35" fmla="*/ 293138 w 402651"/>
                <a:gd name="connsiteY35" fmla="*/ 162996 h 508959"/>
                <a:gd name="connsiteX36" fmla="*/ 323005 w 402651"/>
                <a:gd name="connsiteY36" fmla="*/ 135470 h 508959"/>
                <a:gd name="connsiteX37" fmla="*/ 335173 w 402651"/>
                <a:gd name="connsiteY37" fmla="*/ 139248 h 508959"/>
                <a:gd name="connsiteX38" fmla="*/ 337939 w 402651"/>
                <a:gd name="connsiteY38" fmla="*/ 148963 h 508959"/>
                <a:gd name="connsiteX39" fmla="*/ 329642 w 402651"/>
                <a:gd name="connsiteY39" fmla="*/ 153281 h 508959"/>
                <a:gd name="connsiteX40" fmla="*/ 327430 w 402651"/>
                <a:gd name="connsiteY40" fmla="*/ 164076 h 508959"/>
                <a:gd name="connsiteX41" fmla="*/ 342364 w 402651"/>
                <a:gd name="connsiteY41" fmla="*/ 180807 h 508959"/>
                <a:gd name="connsiteX42" fmla="*/ 346235 w 402651"/>
                <a:gd name="connsiteY42" fmla="*/ 191062 h 508959"/>
                <a:gd name="connsiteX43" fmla="*/ 346235 w 402651"/>
                <a:gd name="connsiteY43" fmla="*/ 207254 h 508959"/>
                <a:gd name="connsiteX44" fmla="*/ 334067 w 402651"/>
                <a:gd name="connsiteY44" fmla="*/ 218588 h 508959"/>
                <a:gd name="connsiteX45" fmla="*/ 332961 w 402651"/>
                <a:gd name="connsiteY45" fmla="*/ 245034 h 508959"/>
                <a:gd name="connsiteX46" fmla="*/ 346788 w 402651"/>
                <a:gd name="connsiteY46" fmla="*/ 254749 h 508959"/>
                <a:gd name="connsiteX47" fmla="*/ 356744 w 402651"/>
                <a:gd name="connsiteY47" fmla="*/ 279576 h 508959"/>
                <a:gd name="connsiteX48" fmla="*/ 378315 w 402651"/>
                <a:gd name="connsiteY48" fmla="*/ 283894 h 508959"/>
                <a:gd name="connsiteX49" fmla="*/ 384399 w 402651"/>
                <a:gd name="connsiteY49" fmla="*/ 294689 h 508959"/>
                <a:gd name="connsiteX50" fmla="*/ 402651 w 402651"/>
                <a:gd name="connsiteY50" fmla="*/ 302785 h 508959"/>
                <a:gd name="connsiteX51" fmla="*/ 377761 w 402651"/>
                <a:gd name="connsiteY51" fmla="*/ 343264 h 508959"/>
                <a:gd name="connsiteX52" fmla="*/ 368359 w 402651"/>
                <a:gd name="connsiteY52" fmla="*/ 344883 h 508959"/>
                <a:gd name="connsiteX53" fmla="*/ 361722 w 402651"/>
                <a:gd name="connsiteY53" fmla="*/ 351899 h 508959"/>
                <a:gd name="connsiteX54" fmla="*/ 365593 w 402651"/>
                <a:gd name="connsiteY54" fmla="*/ 363234 h 508959"/>
                <a:gd name="connsiteX55" fmla="*/ 365040 w 402651"/>
                <a:gd name="connsiteY55" fmla="*/ 384283 h 508959"/>
                <a:gd name="connsiteX56" fmla="*/ 377761 w 402651"/>
                <a:gd name="connsiteY56" fmla="*/ 397236 h 508959"/>
                <a:gd name="connsiteX57" fmla="*/ 369465 w 402651"/>
                <a:gd name="connsiteY57" fmla="*/ 413968 h 508959"/>
                <a:gd name="connsiteX58" fmla="*/ 367253 w 402651"/>
                <a:gd name="connsiteY58" fmla="*/ 415587 h 508959"/>
                <a:gd name="connsiteX59" fmla="*/ 359509 w 402651"/>
                <a:gd name="connsiteY59" fmla="*/ 413968 h 508959"/>
                <a:gd name="connsiteX60" fmla="*/ 338492 w 402651"/>
                <a:gd name="connsiteY60" fmla="*/ 424222 h 508959"/>
                <a:gd name="connsiteX61" fmla="*/ 311390 w 402651"/>
                <a:gd name="connsiteY61" fmla="*/ 420984 h 508959"/>
                <a:gd name="connsiteX62" fmla="*/ 299222 w 402651"/>
                <a:gd name="connsiteY62" fmla="*/ 426381 h 508959"/>
                <a:gd name="connsiteX63" fmla="*/ 295594 w 402651"/>
                <a:gd name="connsiteY63" fmla="*/ 411883 h 508959"/>
                <a:gd name="connsiteX64" fmla="*/ 269909 w 402651"/>
                <a:gd name="connsiteY64" fmla="*/ 460923 h 508959"/>
                <a:gd name="connsiteX65" fmla="*/ 292976 w 402651"/>
                <a:gd name="connsiteY65" fmla="*/ 397414 h 508959"/>
                <a:gd name="connsiteX66" fmla="*/ 300029 w 402651"/>
                <a:gd name="connsiteY66" fmla="*/ 384146 h 508959"/>
                <a:gd name="connsiteX67" fmla="*/ 283216 w 402651"/>
                <a:gd name="connsiteY67" fmla="*/ 386506 h 508959"/>
                <a:gd name="connsiteX68" fmla="*/ 268836 w 402651"/>
                <a:gd name="connsiteY68" fmla="*/ 390824 h 508959"/>
                <a:gd name="connsiteX69" fmla="*/ 214599 w 402651"/>
                <a:gd name="connsiteY69" fmla="*/ 508959 h 508959"/>
                <a:gd name="connsiteX70" fmla="*/ 220683 w 402651"/>
                <a:gd name="connsiteY70" fmla="*/ 486830 h 508959"/>
                <a:gd name="connsiteX71" fmla="*/ 200219 w 402651"/>
                <a:gd name="connsiteY71" fmla="*/ 456066 h 508959"/>
                <a:gd name="connsiteX72" fmla="*/ 188604 w 402651"/>
                <a:gd name="connsiteY72" fmla="*/ 449589 h 508959"/>
                <a:gd name="connsiteX73" fmla="*/ 179201 w 402651"/>
                <a:gd name="connsiteY73" fmla="*/ 446891 h 508959"/>
                <a:gd name="connsiteX74" fmla="*/ 169799 w 402651"/>
                <a:gd name="connsiteY74" fmla="*/ 426921 h 508959"/>
                <a:gd name="connsiteX75" fmla="*/ 158737 w 402651"/>
                <a:gd name="connsiteY75" fmla="*/ 424762 h 508959"/>
                <a:gd name="connsiteX76" fmla="*/ 150441 w 402651"/>
                <a:gd name="connsiteY76" fmla="*/ 429080 h 508959"/>
                <a:gd name="connsiteX77" fmla="*/ 153451 w 402651"/>
                <a:gd name="connsiteY77" fmla="*/ 419362 h 508959"/>
                <a:gd name="connsiteX78" fmla="*/ 161376 w 402651"/>
                <a:gd name="connsiteY78" fmla="*/ 413968 h 508959"/>
                <a:gd name="connsiteX79" fmla="*/ 152316 w 402651"/>
                <a:gd name="connsiteY79" fmla="*/ 401889 h 508959"/>
                <a:gd name="connsiteX80" fmla="*/ 158447 w 402651"/>
                <a:gd name="connsiteY80" fmla="*/ 399038 h 508959"/>
                <a:gd name="connsiteX81" fmla="*/ 166960 w 402651"/>
                <a:gd name="connsiteY81" fmla="*/ 394540 h 508959"/>
                <a:gd name="connsiteX82" fmla="*/ 181901 w 402651"/>
                <a:gd name="connsiteY82" fmla="*/ 391815 h 508959"/>
                <a:gd name="connsiteX83" fmla="*/ 178026 w 402651"/>
                <a:gd name="connsiteY83" fmla="*/ 385621 h 508959"/>
                <a:gd name="connsiteX84" fmla="*/ 166262 w 402651"/>
                <a:gd name="connsiteY84" fmla="*/ 378348 h 508959"/>
                <a:gd name="connsiteX85" fmla="*/ 158241 w 402651"/>
                <a:gd name="connsiteY85" fmla="*/ 381379 h 508959"/>
                <a:gd name="connsiteX86" fmla="*/ 142748 w 402651"/>
                <a:gd name="connsiteY86" fmla="*/ 368966 h 508959"/>
                <a:gd name="connsiteX87" fmla="*/ 136657 w 402651"/>
                <a:gd name="connsiteY87" fmla="*/ 366344 h 508959"/>
                <a:gd name="connsiteX88" fmla="*/ 121170 w 402651"/>
                <a:gd name="connsiteY88" fmla="*/ 359789 h 508959"/>
                <a:gd name="connsiteX89" fmla="*/ 111420 w 402651"/>
                <a:gd name="connsiteY89" fmla="*/ 360097 h 508959"/>
                <a:gd name="connsiteX90" fmla="*/ 101877 w 402651"/>
                <a:gd name="connsiteY90" fmla="*/ 345756 h 508959"/>
                <a:gd name="connsiteX91" fmla="*/ 81531 w 402651"/>
                <a:gd name="connsiteY91" fmla="*/ 336580 h 508959"/>
                <a:gd name="connsiteX92" fmla="*/ 65818 w 402651"/>
                <a:gd name="connsiteY92" fmla="*/ 324913 h 508959"/>
                <a:gd name="connsiteX93" fmla="*/ 68583 w 402651"/>
                <a:gd name="connsiteY93" fmla="*/ 321135 h 508959"/>
                <a:gd name="connsiteX94" fmla="*/ 46459 w 402651"/>
                <a:gd name="connsiteY94" fmla="*/ 304404 h 508959"/>
                <a:gd name="connsiteX95" fmla="*/ 69136 w 402651"/>
                <a:gd name="connsiteY95" fmla="*/ 294689 h 508959"/>
                <a:gd name="connsiteX96" fmla="*/ 58074 w 402651"/>
                <a:gd name="connsiteY96" fmla="*/ 283894 h 508959"/>
                <a:gd name="connsiteX0" fmla="*/ 58074 w 402651"/>
                <a:gd name="connsiteY0" fmla="*/ 283894 h 486830"/>
                <a:gd name="connsiteX1" fmla="*/ 51990 w 402651"/>
                <a:gd name="connsiteY1" fmla="*/ 261226 h 486830"/>
                <a:gd name="connsiteX2" fmla="*/ 56415 w 402651"/>
                <a:gd name="connsiteY2" fmla="*/ 258527 h 486830"/>
                <a:gd name="connsiteX3" fmla="*/ 68030 w 402651"/>
                <a:gd name="connsiteY3" fmla="*/ 264464 h 486830"/>
                <a:gd name="connsiteX4" fmla="*/ 71902 w 402651"/>
                <a:gd name="connsiteY4" fmla="*/ 265544 h 486830"/>
                <a:gd name="connsiteX5" fmla="*/ 81857 w 402651"/>
                <a:gd name="connsiteY5" fmla="*/ 251511 h 486830"/>
                <a:gd name="connsiteX6" fmla="*/ 79645 w 402651"/>
                <a:gd name="connsiteY6" fmla="*/ 241256 h 486830"/>
                <a:gd name="connsiteX7" fmla="*/ 44800 w 402651"/>
                <a:gd name="connsiteY7" fmla="*/ 218048 h 486830"/>
                <a:gd name="connsiteX8" fmla="*/ 41481 w 402651"/>
                <a:gd name="connsiteY8" fmla="*/ 212111 h 486830"/>
                <a:gd name="connsiteX9" fmla="*/ 51990 w 402651"/>
                <a:gd name="connsiteY9" fmla="*/ 155440 h 486830"/>
                <a:gd name="connsiteX10" fmla="*/ 38716 w 402651"/>
                <a:gd name="connsiteY10" fmla="*/ 140328 h 486830"/>
                <a:gd name="connsiteX11" fmla="*/ 44800 w 402651"/>
                <a:gd name="connsiteY11" fmla="*/ 113342 h 486830"/>
                <a:gd name="connsiteX12" fmla="*/ 25442 w 402651"/>
                <a:gd name="connsiteY12" fmla="*/ 106325 h 486830"/>
                <a:gd name="connsiteX13" fmla="*/ 13827 w 402651"/>
                <a:gd name="connsiteY13" fmla="*/ 86355 h 486830"/>
                <a:gd name="connsiteX14" fmla="*/ 2212 w 402651"/>
                <a:gd name="connsiteY14" fmla="*/ 60449 h 486830"/>
                <a:gd name="connsiteX15" fmla="*/ 0 w 402651"/>
                <a:gd name="connsiteY15" fmla="*/ 48575 h 486830"/>
                <a:gd name="connsiteX16" fmla="*/ 14933 w 402651"/>
                <a:gd name="connsiteY16" fmla="*/ 31304 h 486830"/>
                <a:gd name="connsiteX17" fmla="*/ 29313 w 402651"/>
                <a:gd name="connsiteY17" fmla="*/ 29685 h 486830"/>
                <a:gd name="connsiteX18" fmla="*/ 57521 w 402651"/>
                <a:gd name="connsiteY18" fmla="*/ 2698 h 486830"/>
                <a:gd name="connsiteX19" fmla="*/ 74667 w 402651"/>
                <a:gd name="connsiteY19" fmla="*/ 6476 h 486830"/>
                <a:gd name="connsiteX20" fmla="*/ 95131 w 402651"/>
                <a:gd name="connsiteY20" fmla="*/ 0 h 486830"/>
                <a:gd name="connsiteX21" fmla="*/ 113937 w 402651"/>
                <a:gd name="connsiteY21" fmla="*/ 2698 h 486830"/>
                <a:gd name="connsiteX22" fmla="*/ 120574 w 402651"/>
                <a:gd name="connsiteY22" fmla="*/ 17811 h 486830"/>
                <a:gd name="connsiteX23" fmla="*/ 131082 w 402651"/>
                <a:gd name="connsiteY23" fmla="*/ 25367 h 486830"/>
                <a:gd name="connsiteX24" fmla="*/ 152653 w 402651"/>
                <a:gd name="connsiteY24" fmla="*/ 34002 h 486830"/>
                <a:gd name="connsiteX25" fmla="*/ 156525 w 402651"/>
                <a:gd name="connsiteY25" fmla="*/ 38860 h 486830"/>
                <a:gd name="connsiteX26" fmla="*/ 162609 w 402651"/>
                <a:gd name="connsiteY26" fmla="*/ 39939 h 486830"/>
                <a:gd name="connsiteX27" fmla="*/ 163162 w 402651"/>
                <a:gd name="connsiteY27" fmla="*/ 56131 h 486830"/>
                <a:gd name="connsiteX28" fmla="*/ 167033 w 402651"/>
                <a:gd name="connsiteY28" fmla="*/ 67465 h 486830"/>
                <a:gd name="connsiteX29" fmla="*/ 180308 w 402651"/>
                <a:gd name="connsiteY29" fmla="*/ 77180 h 486830"/>
                <a:gd name="connsiteX30" fmla="*/ 200772 w 402651"/>
                <a:gd name="connsiteY30" fmla="*/ 84736 h 486830"/>
                <a:gd name="connsiteX31" fmla="*/ 228980 w 402651"/>
                <a:gd name="connsiteY31" fmla="*/ 102547 h 486830"/>
                <a:gd name="connsiteX32" fmla="*/ 235064 w 402651"/>
                <a:gd name="connsiteY32" fmla="*/ 141947 h 486830"/>
                <a:gd name="connsiteX33" fmla="*/ 253316 w 402651"/>
                <a:gd name="connsiteY33" fmla="*/ 149503 h 486830"/>
                <a:gd name="connsiteX34" fmla="*/ 283736 w 402651"/>
                <a:gd name="connsiteY34" fmla="*/ 154900 h 486830"/>
                <a:gd name="connsiteX35" fmla="*/ 293138 w 402651"/>
                <a:gd name="connsiteY35" fmla="*/ 162996 h 486830"/>
                <a:gd name="connsiteX36" fmla="*/ 323005 w 402651"/>
                <a:gd name="connsiteY36" fmla="*/ 135470 h 486830"/>
                <a:gd name="connsiteX37" fmla="*/ 335173 w 402651"/>
                <a:gd name="connsiteY37" fmla="*/ 139248 h 486830"/>
                <a:gd name="connsiteX38" fmla="*/ 337939 w 402651"/>
                <a:gd name="connsiteY38" fmla="*/ 148963 h 486830"/>
                <a:gd name="connsiteX39" fmla="*/ 329642 w 402651"/>
                <a:gd name="connsiteY39" fmla="*/ 153281 h 486830"/>
                <a:gd name="connsiteX40" fmla="*/ 327430 w 402651"/>
                <a:gd name="connsiteY40" fmla="*/ 164076 h 486830"/>
                <a:gd name="connsiteX41" fmla="*/ 342364 w 402651"/>
                <a:gd name="connsiteY41" fmla="*/ 180807 h 486830"/>
                <a:gd name="connsiteX42" fmla="*/ 346235 w 402651"/>
                <a:gd name="connsiteY42" fmla="*/ 191062 h 486830"/>
                <a:gd name="connsiteX43" fmla="*/ 346235 w 402651"/>
                <a:gd name="connsiteY43" fmla="*/ 207254 h 486830"/>
                <a:gd name="connsiteX44" fmla="*/ 334067 w 402651"/>
                <a:gd name="connsiteY44" fmla="*/ 218588 h 486830"/>
                <a:gd name="connsiteX45" fmla="*/ 332961 w 402651"/>
                <a:gd name="connsiteY45" fmla="*/ 245034 h 486830"/>
                <a:gd name="connsiteX46" fmla="*/ 346788 w 402651"/>
                <a:gd name="connsiteY46" fmla="*/ 254749 h 486830"/>
                <a:gd name="connsiteX47" fmla="*/ 356744 w 402651"/>
                <a:gd name="connsiteY47" fmla="*/ 279576 h 486830"/>
                <a:gd name="connsiteX48" fmla="*/ 378315 w 402651"/>
                <a:gd name="connsiteY48" fmla="*/ 283894 h 486830"/>
                <a:gd name="connsiteX49" fmla="*/ 384399 w 402651"/>
                <a:gd name="connsiteY49" fmla="*/ 294689 h 486830"/>
                <a:gd name="connsiteX50" fmla="*/ 402651 w 402651"/>
                <a:gd name="connsiteY50" fmla="*/ 302785 h 486830"/>
                <a:gd name="connsiteX51" fmla="*/ 377761 w 402651"/>
                <a:gd name="connsiteY51" fmla="*/ 343264 h 486830"/>
                <a:gd name="connsiteX52" fmla="*/ 368359 w 402651"/>
                <a:gd name="connsiteY52" fmla="*/ 344883 h 486830"/>
                <a:gd name="connsiteX53" fmla="*/ 361722 w 402651"/>
                <a:gd name="connsiteY53" fmla="*/ 351899 h 486830"/>
                <a:gd name="connsiteX54" fmla="*/ 365593 w 402651"/>
                <a:gd name="connsiteY54" fmla="*/ 363234 h 486830"/>
                <a:gd name="connsiteX55" fmla="*/ 365040 w 402651"/>
                <a:gd name="connsiteY55" fmla="*/ 384283 h 486830"/>
                <a:gd name="connsiteX56" fmla="*/ 377761 w 402651"/>
                <a:gd name="connsiteY56" fmla="*/ 397236 h 486830"/>
                <a:gd name="connsiteX57" fmla="*/ 369465 w 402651"/>
                <a:gd name="connsiteY57" fmla="*/ 413968 h 486830"/>
                <a:gd name="connsiteX58" fmla="*/ 367253 w 402651"/>
                <a:gd name="connsiteY58" fmla="*/ 415587 h 486830"/>
                <a:gd name="connsiteX59" fmla="*/ 359509 w 402651"/>
                <a:gd name="connsiteY59" fmla="*/ 413968 h 486830"/>
                <a:gd name="connsiteX60" fmla="*/ 338492 w 402651"/>
                <a:gd name="connsiteY60" fmla="*/ 424222 h 486830"/>
                <a:gd name="connsiteX61" fmla="*/ 311390 w 402651"/>
                <a:gd name="connsiteY61" fmla="*/ 420984 h 486830"/>
                <a:gd name="connsiteX62" fmla="*/ 299222 w 402651"/>
                <a:gd name="connsiteY62" fmla="*/ 426381 h 486830"/>
                <a:gd name="connsiteX63" fmla="*/ 295594 w 402651"/>
                <a:gd name="connsiteY63" fmla="*/ 411883 h 486830"/>
                <a:gd name="connsiteX64" fmla="*/ 269909 w 402651"/>
                <a:gd name="connsiteY64" fmla="*/ 460923 h 486830"/>
                <a:gd name="connsiteX65" fmla="*/ 292976 w 402651"/>
                <a:gd name="connsiteY65" fmla="*/ 397414 h 486830"/>
                <a:gd name="connsiteX66" fmla="*/ 300029 w 402651"/>
                <a:gd name="connsiteY66" fmla="*/ 384146 h 486830"/>
                <a:gd name="connsiteX67" fmla="*/ 283216 w 402651"/>
                <a:gd name="connsiteY67" fmla="*/ 386506 h 486830"/>
                <a:gd name="connsiteX68" fmla="*/ 268836 w 402651"/>
                <a:gd name="connsiteY68" fmla="*/ 390824 h 486830"/>
                <a:gd name="connsiteX69" fmla="*/ 271333 w 402651"/>
                <a:gd name="connsiteY69" fmla="*/ 372795 h 486830"/>
                <a:gd name="connsiteX70" fmla="*/ 220683 w 402651"/>
                <a:gd name="connsiteY70" fmla="*/ 486830 h 486830"/>
                <a:gd name="connsiteX71" fmla="*/ 200219 w 402651"/>
                <a:gd name="connsiteY71" fmla="*/ 456066 h 486830"/>
                <a:gd name="connsiteX72" fmla="*/ 188604 w 402651"/>
                <a:gd name="connsiteY72" fmla="*/ 449589 h 486830"/>
                <a:gd name="connsiteX73" fmla="*/ 179201 w 402651"/>
                <a:gd name="connsiteY73" fmla="*/ 446891 h 486830"/>
                <a:gd name="connsiteX74" fmla="*/ 169799 w 402651"/>
                <a:gd name="connsiteY74" fmla="*/ 426921 h 486830"/>
                <a:gd name="connsiteX75" fmla="*/ 158737 w 402651"/>
                <a:gd name="connsiteY75" fmla="*/ 424762 h 486830"/>
                <a:gd name="connsiteX76" fmla="*/ 150441 w 402651"/>
                <a:gd name="connsiteY76" fmla="*/ 429080 h 486830"/>
                <a:gd name="connsiteX77" fmla="*/ 153451 w 402651"/>
                <a:gd name="connsiteY77" fmla="*/ 419362 h 486830"/>
                <a:gd name="connsiteX78" fmla="*/ 161376 w 402651"/>
                <a:gd name="connsiteY78" fmla="*/ 413968 h 486830"/>
                <a:gd name="connsiteX79" fmla="*/ 152316 w 402651"/>
                <a:gd name="connsiteY79" fmla="*/ 401889 h 486830"/>
                <a:gd name="connsiteX80" fmla="*/ 158447 w 402651"/>
                <a:gd name="connsiteY80" fmla="*/ 399038 h 486830"/>
                <a:gd name="connsiteX81" fmla="*/ 166960 w 402651"/>
                <a:gd name="connsiteY81" fmla="*/ 394540 h 486830"/>
                <a:gd name="connsiteX82" fmla="*/ 181901 w 402651"/>
                <a:gd name="connsiteY82" fmla="*/ 391815 h 486830"/>
                <a:gd name="connsiteX83" fmla="*/ 178026 w 402651"/>
                <a:gd name="connsiteY83" fmla="*/ 385621 h 486830"/>
                <a:gd name="connsiteX84" fmla="*/ 166262 w 402651"/>
                <a:gd name="connsiteY84" fmla="*/ 378348 h 486830"/>
                <a:gd name="connsiteX85" fmla="*/ 158241 w 402651"/>
                <a:gd name="connsiteY85" fmla="*/ 381379 h 486830"/>
                <a:gd name="connsiteX86" fmla="*/ 142748 w 402651"/>
                <a:gd name="connsiteY86" fmla="*/ 368966 h 486830"/>
                <a:gd name="connsiteX87" fmla="*/ 136657 w 402651"/>
                <a:gd name="connsiteY87" fmla="*/ 366344 h 486830"/>
                <a:gd name="connsiteX88" fmla="*/ 121170 w 402651"/>
                <a:gd name="connsiteY88" fmla="*/ 359789 h 486830"/>
                <a:gd name="connsiteX89" fmla="*/ 111420 w 402651"/>
                <a:gd name="connsiteY89" fmla="*/ 360097 h 486830"/>
                <a:gd name="connsiteX90" fmla="*/ 101877 w 402651"/>
                <a:gd name="connsiteY90" fmla="*/ 345756 h 486830"/>
                <a:gd name="connsiteX91" fmla="*/ 81531 w 402651"/>
                <a:gd name="connsiteY91" fmla="*/ 336580 h 486830"/>
                <a:gd name="connsiteX92" fmla="*/ 65818 w 402651"/>
                <a:gd name="connsiteY92" fmla="*/ 324913 h 486830"/>
                <a:gd name="connsiteX93" fmla="*/ 68583 w 402651"/>
                <a:gd name="connsiteY93" fmla="*/ 321135 h 486830"/>
                <a:gd name="connsiteX94" fmla="*/ 46459 w 402651"/>
                <a:gd name="connsiteY94" fmla="*/ 304404 h 486830"/>
                <a:gd name="connsiteX95" fmla="*/ 69136 w 402651"/>
                <a:gd name="connsiteY95" fmla="*/ 294689 h 486830"/>
                <a:gd name="connsiteX96" fmla="*/ 58074 w 402651"/>
                <a:gd name="connsiteY96" fmla="*/ 283894 h 486830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00219 w 402651"/>
                <a:gd name="connsiteY71" fmla="*/ 456066 h 460923"/>
                <a:gd name="connsiteX72" fmla="*/ 188604 w 402651"/>
                <a:gd name="connsiteY72" fmla="*/ 449589 h 460923"/>
                <a:gd name="connsiteX73" fmla="*/ 179201 w 402651"/>
                <a:gd name="connsiteY73" fmla="*/ 446891 h 460923"/>
                <a:gd name="connsiteX74" fmla="*/ 169799 w 402651"/>
                <a:gd name="connsiteY74" fmla="*/ 426921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61376 w 402651"/>
                <a:gd name="connsiteY78" fmla="*/ 413968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188604 w 402651"/>
                <a:gd name="connsiteY72" fmla="*/ 449589 h 460923"/>
                <a:gd name="connsiteX73" fmla="*/ 179201 w 402651"/>
                <a:gd name="connsiteY73" fmla="*/ 446891 h 460923"/>
                <a:gd name="connsiteX74" fmla="*/ 169799 w 402651"/>
                <a:gd name="connsiteY74" fmla="*/ 426921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61376 w 402651"/>
                <a:gd name="connsiteY78" fmla="*/ 413968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179201 w 402651"/>
                <a:gd name="connsiteY73" fmla="*/ 446891 h 460923"/>
                <a:gd name="connsiteX74" fmla="*/ 169799 w 402651"/>
                <a:gd name="connsiteY74" fmla="*/ 426921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61376 w 402651"/>
                <a:gd name="connsiteY78" fmla="*/ 413968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169799 w 402651"/>
                <a:gd name="connsiteY74" fmla="*/ 426921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61376 w 402651"/>
                <a:gd name="connsiteY78" fmla="*/ 413968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61376 w 402651"/>
                <a:gd name="connsiteY78" fmla="*/ 413968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244468 w 402651"/>
                <a:gd name="connsiteY75" fmla="*/ 434756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244468 w 402651"/>
                <a:gd name="connsiteY75" fmla="*/ 434756 h 460923"/>
                <a:gd name="connsiteX76" fmla="*/ 217261 w 402651"/>
                <a:gd name="connsiteY76" fmla="*/ 430329 h 460923"/>
                <a:gd name="connsiteX77" fmla="*/ 153451 w 402651"/>
                <a:gd name="connsiteY77" fmla="*/ 419362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244468 w 402651"/>
                <a:gd name="connsiteY75" fmla="*/ 434756 h 460923"/>
                <a:gd name="connsiteX76" fmla="*/ 217261 w 402651"/>
                <a:gd name="connsiteY76" fmla="*/ 430329 h 460923"/>
                <a:gd name="connsiteX77" fmla="*/ 196317 w 402651"/>
                <a:gd name="connsiteY77" fmla="*/ 415614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17261 w 402651"/>
                <a:gd name="connsiteY76" fmla="*/ 430329 h 460923"/>
                <a:gd name="connsiteX77" fmla="*/ 196317 w 402651"/>
                <a:gd name="connsiteY77" fmla="*/ 415614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6317 w 402651"/>
                <a:gd name="connsiteY77" fmla="*/ 415614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6317 w 402651"/>
                <a:gd name="connsiteY77" fmla="*/ 415614 h 460923"/>
                <a:gd name="connsiteX78" fmla="*/ 205502 w 402651"/>
                <a:gd name="connsiteY78" fmla="*/ 457690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6317 w 402651"/>
                <a:gd name="connsiteY77" fmla="*/ 415614 h 460923"/>
                <a:gd name="connsiteX78" fmla="*/ 205502 w 402651"/>
                <a:gd name="connsiteY78" fmla="*/ 457690 h 460923"/>
                <a:gd name="connsiteX79" fmla="*/ 158447 w 402651"/>
                <a:gd name="connsiteY79" fmla="*/ 399038 h 460923"/>
                <a:gd name="connsiteX80" fmla="*/ 166960 w 402651"/>
                <a:gd name="connsiteY80" fmla="*/ 394540 h 460923"/>
                <a:gd name="connsiteX81" fmla="*/ 181901 w 402651"/>
                <a:gd name="connsiteY81" fmla="*/ 391815 h 460923"/>
                <a:gd name="connsiteX82" fmla="*/ 178026 w 402651"/>
                <a:gd name="connsiteY82" fmla="*/ 385621 h 460923"/>
                <a:gd name="connsiteX83" fmla="*/ 166262 w 402651"/>
                <a:gd name="connsiteY83" fmla="*/ 378348 h 460923"/>
                <a:gd name="connsiteX84" fmla="*/ 158241 w 402651"/>
                <a:gd name="connsiteY84" fmla="*/ 381379 h 460923"/>
                <a:gd name="connsiteX85" fmla="*/ 142748 w 402651"/>
                <a:gd name="connsiteY85" fmla="*/ 368966 h 460923"/>
                <a:gd name="connsiteX86" fmla="*/ 136657 w 402651"/>
                <a:gd name="connsiteY86" fmla="*/ 366344 h 460923"/>
                <a:gd name="connsiteX87" fmla="*/ 121170 w 402651"/>
                <a:gd name="connsiteY87" fmla="*/ 359789 h 460923"/>
                <a:gd name="connsiteX88" fmla="*/ 111420 w 402651"/>
                <a:gd name="connsiteY88" fmla="*/ 360097 h 460923"/>
                <a:gd name="connsiteX89" fmla="*/ 101877 w 402651"/>
                <a:gd name="connsiteY89" fmla="*/ 345756 h 460923"/>
                <a:gd name="connsiteX90" fmla="*/ 81531 w 402651"/>
                <a:gd name="connsiteY90" fmla="*/ 336580 h 460923"/>
                <a:gd name="connsiteX91" fmla="*/ 65818 w 402651"/>
                <a:gd name="connsiteY91" fmla="*/ 324913 h 460923"/>
                <a:gd name="connsiteX92" fmla="*/ 68583 w 402651"/>
                <a:gd name="connsiteY92" fmla="*/ 321135 h 460923"/>
                <a:gd name="connsiteX93" fmla="*/ 46459 w 402651"/>
                <a:gd name="connsiteY93" fmla="*/ 304404 h 460923"/>
                <a:gd name="connsiteX94" fmla="*/ 69136 w 402651"/>
                <a:gd name="connsiteY94" fmla="*/ 294689 h 460923"/>
                <a:gd name="connsiteX95" fmla="*/ 58074 w 402651"/>
                <a:gd name="connsiteY95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6317 w 402651"/>
                <a:gd name="connsiteY77" fmla="*/ 415614 h 460923"/>
                <a:gd name="connsiteX78" fmla="*/ 205502 w 402651"/>
                <a:gd name="connsiteY78" fmla="*/ 457690 h 460923"/>
                <a:gd name="connsiteX79" fmla="*/ 158447 w 402651"/>
                <a:gd name="connsiteY79" fmla="*/ 399038 h 460923"/>
                <a:gd name="connsiteX80" fmla="*/ 181901 w 402651"/>
                <a:gd name="connsiteY80" fmla="*/ 391815 h 460923"/>
                <a:gd name="connsiteX81" fmla="*/ 178026 w 402651"/>
                <a:gd name="connsiteY81" fmla="*/ 385621 h 460923"/>
                <a:gd name="connsiteX82" fmla="*/ 166262 w 402651"/>
                <a:gd name="connsiteY82" fmla="*/ 378348 h 460923"/>
                <a:gd name="connsiteX83" fmla="*/ 158241 w 402651"/>
                <a:gd name="connsiteY83" fmla="*/ 381379 h 460923"/>
                <a:gd name="connsiteX84" fmla="*/ 142748 w 402651"/>
                <a:gd name="connsiteY84" fmla="*/ 368966 h 460923"/>
                <a:gd name="connsiteX85" fmla="*/ 136657 w 402651"/>
                <a:gd name="connsiteY85" fmla="*/ 366344 h 460923"/>
                <a:gd name="connsiteX86" fmla="*/ 121170 w 402651"/>
                <a:gd name="connsiteY86" fmla="*/ 359789 h 460923"/>
                <a:gd name="connsiteX87" fmla="*/ 111420 w 402651"/>
                <a:gd name="connsiteY87" fmla="*/ 360097 h 460923"/>
                <a:gd name="connsiteX88" fmla="*/ 101877 w 402651"/>
                <a:gd name="connsiteY88" fmla="*/ 345756 h 460923"/>
                <a:gd name="connsiteX89" fmla="*/ 81531 w 402651"/>
                <a:gd name="connsiteY89" fmla="*/ 336580 h 460923"/>
                <a:gd name="connsiteX90" fmla="*/ 65818 w 402651"/>
                <a:gd name="connsiteY90" fmla="*/ 324913 h 460923"/>
                <a:gd name="connsiteX91" fmla="*/ 68583 w 402651"/>
                <a:gd name="connsiteY91" fmla="*/ 321135 h 460923"/>
                <a:gd name="connsiteX92" fmla="*/ 46459 w 402651"/>
                <a:gd name="connsiteY92" fmla="*/ 304404 h 460923"/>
                <a:gd name="connsiteX93" fmla="*/ 69136 w 402651"/>
                <a:gd name="connsiteY93" fmla="*/ 294689 h 460923"/>
                <a:gd name="connsiteX94" fmla="*/ 58074 w 402651"/>
                <a:gd name="connsiteY94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6317 w 402651"/>
                <a:gd name="connsiteY77" fmla="*/ 415614 h 460923"/>
                <a:gd name="connsiteX78" fmla="*/ 205502 w 402651"/>
                <a:gd name="connsiteY78" fmla="*/ 457690 h 460923"/>
                <a:gd name="connsiteX79" fmla="*/ 181901 w 402651"/>
                <a:gd name="connsiteY79" fmla="*/ 391815 h 460923"/>
                <a:gd name="connsiteX80" fmla="*/ 178026 w 402651"/>
                <a:gd name="connsiteY80" fmla="*/ 385621 h 460923"/>
                <a:gd name="connsiteX81" fmla="*/ 166262 w 402651"/>
                <a:gd name="connsiteY81" fmla="*/ 378348 h 460923"/>
                <a:gd name="connsiteX82" fmla="*/ 158241 w 402651"/>
                <a:gd name="connsiteY82" fmla="*/ 381379 h 460923"/>
                <a:gd name="connsiteX83" fmla="*/ 142748 w 402651"/>
                <a:gd name="connsiteY83" fmla="*/ 368966 h 460923"/>
                <a:gd name="connsiteX84" fmla="*/ 136657 w 402651"/>
                <a:gd name="connsiteY84" fmla="*/ 366344 h 460923"/>
                <a:gd name="connsiteX85" fmla="*/ 121170 w 402651"/>
                <a:gd name="connsiteY85" fmla="*/ 359789 h 460923"/>
                <a:gd name="connsiteX86" fmla="*/ 111420 w 402651"/>
                <a:gd name="connsiteY86" fmla="*/ 360097 h 460923"/>
                <a:gd name="connsiteX87" fmla="*/ 101877 w 402651"/>
                <a:gd name="connsiteY87" fmla="*/ 345756 h 460923"/>
                <a:gd name="connsiteX88" fmla="*/ 81531 w 402651"/>
                <a:gd name="connsiteY88" fmla="*/ 336580 h 460923"/>
                <a:gd name="connsiteX89" fmla="*/ 65818 w 402651"/>
                <a:gd name="connsiteY89" fmla="*/ 324913 h 460923"/>
                <a:gd name="connsiteX90" fmla="*/ 68583 w 402651"/>
                <a:gd name="connsiteY90" fmla="*/ 321135 h 460923"/>
                <a:gd name="connsiteX91" fmla="*/ 46459 w 402651"/>
                <a:gd name="connsiteY91" fmla="*/ 304404 h 460923"/>
                <a:gd name="connsiteX92" fmla="*/ 69136 w 402651"/>
                <a:gd name="connsiteY92" fmla="*/ 294689 h 460923"/>
                <a:gd name="connsiteX93" fmla="*/ 58074 w 402651"/>
                <a:gd name="connsiteY93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86231 w 402651"/>
                <a:gd name="connsiteY77" fmla="*/ 378138 h 460923"/>
                <a:gd name="connsiteX78" fmla="*/ 205502 w 402651"/>
                <a:gd name="connsiteY78" fmla="*/ 457690 h 460923"/>
                <a:gd name="connsiteX79" fmla="*/ 181901 w 402651"/>
                <a:gd name="connsiteY79" fmla="*/ 391815 h 460923"/>
                <a:gd name="connsiteX80" fmla="*/ 178026 w 402651"/>
                <a:gd name="connsiteY80" fmla="*/ 385621 h 460923"/>
                <a:gd name="connsiteX81" fmla="*/ 166262 w 402651"/>
                <a:gd name="connsiteY81" fmla="*/ 378348 h 460923"/>
                <a:gd name="connsiteX82" fmla="*/ 158241 w 402651"/>
                <a:gd name="connsiteY82" fmla="*/ 381379 h 460923"/>
                <a:gd name="connsiteX83" fmla="*/ 142748 w 402651"/>
                <a:gd name="connsiteY83" fmla="*/ 368966 h 460923"/>
                <a:gd name="connsiteX84" fmla="*/ 136657 w 402651"/>
                <a:gd name="connsiteY84" fmla="*/ 366344 h 460923"/>
                <a:gd name="connsiteX85" fmla="*/ 121170 w 402651"/>
                <a:gd name="connsiteY85" fmla="*/ 359789 h 460923"/>
                <a:gd name="connsiteX86" fmla="*/ 111420 w 402651"/>
                <a:gd name="connsiteY86" fmla="*/ 360097 h 460923"/>
                <a:gd name="connsiteX87" fmla="*/ 101877 w 402651"/>
                <a:gd name="connsiteY87" fmla="*/ 345756 h 460923"/>
                <a:gd name="connsiteX88" fmla="*/ 81531 w 402651"/>
                <a:gd name="connsiteY88" fmla="*/ 336580 h 460923"/>
                <a:gd name="connsiteX89" fmla="*/ 65818 w 402651"/>
                <a:gd name="connsiteY89" fmla="*/ 324913 h 460923"/>
                <a:gd name="connsiteX90" fmla="*/ 68583 w 402651"/>
                <a:gd name="connsiteY90" fmla="*/ 321135 h 460923"/>
                <a:gd name="connsiteX91" fmla="*/ 46459 w 402651"/>
                <a:gd name="connsiteY91" fmla="*/ 304404 h 460923"/>
                <a:gd name="connsiteX92" fmla="*/ 69136 w 402651"/>
                <a:gd name="connsiteY92" fmla="*/ 294689 h 460923"/>
                <a:gd name="connsiteX93" fmla="*/ 58074 w 402651"/>
                <a:gd name="connsiteY93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86231 w 402651"/>
                <a:gd name="connsiteY77" fmla="*/ 378138 h 460923"/>
                <a:gd name="connsiteX78" fmla="*/ 192895 w 402651"/>
                <a:gd name="connsiteY78" fmla="*/ 392731 h 460923"/>
                <a:gd name="connsiteX79" fmla="*/ 181901 w 402651"/>
                <a:gd name="connsiteY79" fmla="*/ 391815 h 460923"/>
                <a:gd name="connsiteX80" fmla="*/ 178026 w 402651"/>
                <a:gd name="connsiteY80" fmla="*/ 385621 h 460923"/>
                <a:gd name="connsiteX81" fmla="*/ 166262 w 402651"/>
                <a:gd name="connsiteY81" fmla="*/ 378348 h 460923"/>
                <a:gd name="connsiteX82" fmla="*/ 158241 w 402651"/>
                <a:gd name="connsiteY82" fmla="*/ 381379 h 460923"/>
                <a:gd name="connsiteX83" fmla="*/ 142748 w 402651"/>
                <a:gd name="connsiteY83" fmla="*/ 368966 h 460923"/>
                <a:gd name="connsiteX84" fmla="*/ 136657 w 402651"/>
                <a:gd name="connsiteY84" fmla="*/ 366344 h 460923"/>
                <a:gd name="connsiteX85" fmla="*/ 121170 w 402651"/>
                <a:gd name="connsiteY85" fmla="*/ 359789 h 460923"/>
                <a:gd name="connsiteX86" fmla="*/ 111420 w 402651"/>
                <a:gd name="connsiteY86" fmla="*/ 360097 h 460923"/>
                <a:gd name="connsiteX87" fmla="*/ 101877 w 402651"/>
                <a:gd name="connsiteY87" fmla="*/ 345756 h 460923"/>
                <a:gd name="connsiteX88" fmla="*/ 81531 w 402651"/>
                <a:gd name="connsiteY88" fmla="*/ 336580 h 460923"/>
                <a:gd name="connsiteX89" fmla="*/ 65818 w 402651"/>
                <a:gd name="connsiteY89" fmla="*/ 324913 h 460923"/>
                <a:gd name="connsiteX90" fmla="*/ 68583 w 402651"/>
                <a:gd name="connsiteY90" fmla="*/ 321135 h 460923"/>
                <a:gd name="connsiteX91" fmla="*/ 46459 w 402651"/>
                <a:gd name="connsiteY91" fmla="*/ 304404 h 460923"/>
                <a:gd name="connsiteX92" fmla="*/ 69136 w 402651"/>
                <a:gd name="connsiteY92" fmla="*/ 294689 h 460923"/>
                <a:gd name="connsiteX93" fmla="*/ 58074 w 402651"/>
                <a:gd name="connsiteY93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0014 w 402651"/>
                <a:gd name="connsiteY77" fmla="*/ 376889 h 460923"/>
                <a:gd name="connsiteX78" fmla="*/ 192895 w 402651"/>
                <a:gd name="connsiteY78" fmla="*/ 392731 h 460923"/>
                <a:gd name="connsiteX79" fmla="*/ 181901 w 402651"/>
                <a:gd name="connsiteY79" fmla="*/ 391815 h 460923"/>
                <a:gd name="connsiteX80" fmla="*/ 178026 w 402651"/>
                <a:gd name="connsiteY80" fmla="*/ 385621 h 460923"/>
                <a:gd name="connsiteX81" fmla="*/ 166262 w 402651"/>
                <a:gd name="connsiteY81" fmla="*/ 378348 h 460923"/>
                <a:gd name="connsiteX82" fmla="*/ 158241 w 402651"/>
                <a:gd name="connsiteY82" fmla="*/ 381379 h 460923"/>
                <a:gd name="connsiteX83" fmla="*/ 142748 w 402651"/>
                <a:gd name="connsiteY83" fmla="*/ 368966 h 460923"/>
                <a:gd name="connsiteX84" fmla="*/ 136657 w 402651"/>
                <a:gd name="connsiteY84" fmla="*/ 366344 h 460923"/>
                <a:gd name="connsiteX85" fmla="*/ 121170 w 402651"/>
                <a:gd name="connsiteY85" fmla="*/ 359789 h 460923"/>
                <a:gd name="connsiteX86" fmla="*/ 111420 w 402651"/>
                <a:gd name="connsiteY86" fmla="*/ 360097 h 460923"/>
                <a:gd name="connsiteX87" fmla="*/ 101877 w 402651"/>
                <a:gd name="connsiteY87" fmla="*/ 345756 h 460923"/>
                <a:gd name="connsiteX88" fmla="*/ 81531 w 402651"/>
                <a:gd name="connsiteY88" fmla="*/ 336580 h 460923"/>
                <a:gd name="connsiteX89" fmla="*/ 65818 w 402651"/>
                <a:gd name="connsiteY89" fmla="*/ 324913 h 460923"/>
                <a:gd name="connsiteX90" fmla="*/ 68583 w 402651"/>
                <a:gd name="connsiteY90" fmla="*/ 321135 h 460923"/>
                <a:gd name="connsiteX91" fmla="*/ 46459 w 402651"/>
                <a:gd name="connsiteY91" fmla="*/ 304404 h 460923"/>
                <a:gd name="connsiteX92" fmla="*/ 69136 w 402651"/>
                <a:gd name="connsiteY92" fmla="*/ 294689 h 460923"/>
                <a:gd name="connsiteX93" fmla="*/ 58074 w 402651"/>
                <a:gd name="connsiteY93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0014 w 402651"/>
                <a:gd name="connsiteY77" fmla="*/ 376889 h 460923"/>
                <a:gd name="connsiteX78" fmla="*/ 191634 w 402651"/>
                <a:gd name="connsiteY78" fmla="*/ 386485 h 460923"/>
                <a:gd name="connsiteX79" fmla="*/ 181901 w 402651"/>
                <a:gd name="connsiteY79" fmla="*/ 391815 h 460923"/>
                <a:gd name="connsiteX80" fmla="*/ 178026 w 402651"/>
                <a:gd name="connsiteY80" fmla="*/ 385621 h 460923"/>
                <a:gd name="connsiteX81" fmla="*/ 166262 w 402651"/>
                <a:gd name="connsiteY81" fmla="*/ 378348 h 460923"/>
                <a:gd name="connsiteX82" fmla="*/ 158241 w 402651"/>
                <a:gd name="connsiteY82" fmla="*/ 381379 h 460923"/>
                <a:gd name="connsiteX83" fmla="*/ 142748 w 402651"/>
                <a:gd name="connsiteY83" fmla="*/ 368966 h 460923"/>
                <a:gd name="connsiteX84" fmla="*/ 136657 w 402651"/>
                <a:gd name="connsiteY84" fmla="*/ 366344 h 460923"/>
                <a:gd name="connsiteX85" fmla="*/ 121170 w 402651"/>
                <a:gd name="connsiteY85" fmla="*/ 359789 h 460923"/>
                <a:gd name="connsiteX86" fmla="*/ 111420 w 402651"/>
                <a:gd name="connsiteY86" fmla="*/ 360097 h 460923"/>
                <a:gd name="connsiteX87" fmla="*/ 101877 w 402651"/>
                <a:gd name="connsiteY87" fmla="*/ 345756 h 460923"/>
                <a:gd name="connsiteX88" fmla="*/ 81531 w 402651"/>
                <a:gd name="connsiteY88" fmla="*/ 336580 h 460923"/>
                <a:gd name="connsiteX89" fmla="*/ 65818 w 402651"/>
                <a:gd name="connsiteY89" fmla="*/ 324913 h 460923"/>
                <a:gd name="connsiteX90" fmla="*/ 68583 w 402651"/>
                <a:gd name="connsiteY90" fmla="*/ 321135 h 460923"/>
                <a:gd name="connsiteX91" fmla="*/ 46459 w 402651"/>
                <a:gd name="connsiteY91" fmla="*/ 304404 h 460923"/>
                <a:gd name="connsiteX92" fmla="*/ 69136 w 402651"/>
                <a:gd name="connsiteY92" fmla="*/ 294689 h 460923"/>
                <a:gd name="connsiteX93" fmla="*/ 58074 w 402651"/>
                <a:gd name="connsiteY93" fmla="*/ 283894 h 460923"/>
                <a:gd name="connsiteX0" fmla="*/ 58074 w 402651"/>
                <a:gd name="connsiteY0" fmla="*/ 283894 h 427179"/>
                <a:gd name="connsiteX1" fmla="*/ 51990 w 402651"/>
                <a:gd name="connsiteY1" fmla="*/ 261226 h 427179"/>
                <a:gd name="connsiteX2" fmla="*/ 56415 w 402651"/>
                <a:gd name="connsiteY2" fmla="*/ 258527 h 427179"/>
                <a:gd name="connsiteX3" fmla="*/ 68030 w 402651"/>
                <a:gd name="connsiteY3" fmla="*/ 264464 h 427179"/>
                <a:gd name="connsiteX4" fmla="*/ 71902 w 402651"/>
                <a:gd name="connsiteY4" fmla="*/ 265544 h 427179"/>
                <a:gd name="connsiteX5" fmla="*/ 81857 w 402651"/>
                <a:gd name="connsiteY5" fmla="*/ 251511 h 427179"/>
                <a:gd name="connsiteX6" fmla="*/ 79645 w 402651"/>
                <a:gd name="connsiteY6" fmla="*/ 241256 h 427179"/>
                <a:gd name="connsiteX7" fmla="*/ 44800 w 402651"/>
                <a:gd name="connsiteY7" fmla="*/ 218048 h 427179"/>
                <a:gd name="connsiteX8" fmla="*/ 41481 w 402651"/>
                <a:gd name="connsiteY8" fmla="*/ 212111 h 427179"/>
                <a:gd name="connsiteX9" fmla="*/ 51990 w 402651"/>
                <a:gd name="connsiteY9" fmla="*/ 155440 h 427179"/>
                <a:gd name="connsiteX10" fmla="*/ 38716 w 402651"/>
                <a:gd name="connsiteY10" fmla="*/ 140328 h 427179"/>
                <a:gd name="connsiteX11" fmla="*/ 44800 w 402651"/>
                <a:gd name="connsiteY11" fmla="*/ 113342 h 427179"/>
                <a:gd name="connsiteX12" fmla="*/ 25442 w 402651"/>
                <a:gd name="connsiteY12" fmla="*/ 106325 h 427179"/>
                <a:gd name="connsiteX13" fmla="*/ 13827 w 402651"/>
                <a:gd name="connsiteY13" fmla="*/ 86355 h 427179"/>
                <a:gd name="connsiteX14" fmla="*/ 2212 w 402651"/>
                <a:gd name="connsiteY14" fmla="*/ 60449 h 427179"/>
                <a:gd name="connsiteX15" fmla="*/ 0 w 402651"/>
                <a:gd name="connsiteY15" fmla="*/ 48575 h 427179"/>
                <a:gd name="connsiteX16" fmla="*/ 14933 w 402651"/>
                <a:gd name="connsiteY16" fmla="*/ 31304 h 427179"/>
                <a:gd name="connsiteX17" fmla="*/ 29313 w 402651"/>
                <a:gd name="connsiteY17" fmla="*/ 29685 h 427179"/>
                <a:gd name="connsiteX18" fmla="*/ 57521 w 402651"/>
                <a:gd name="connsiteY18" fmla="*/ 2698 h 427179"/>
                <a:gd name="connsiteX19" fmla="*/ 74667 w 402651"/>
                <a:gd name="connsiteY19" fmla="*/ 6476 h 427179"/>
                <a:gd name="connsiteX20" fmla="*/ 95131 w 402651"/>
                <a:gd name="connsiteY20" fmla="*/ 0 h 427179"/>
                <a:gd name="connsiteX21" fmla="*/ 113937 w 402651"/>
                <a:gd name="connsiteY21" fmla="*/ 2698 h 427179"/>
                <a:gd name="connsiteX22" fmla="*/ 120574 w 402651"/>
                <a:gd name="connsiteY22" fmla="*/ 17811 h 427179"/>
                <a:gd name="connsiteX23" fmla="*/ 131082 w 402651"/>
                <a:gd name="connsiteY23" fmla="*/ 25367 h 427179"/>
                <a:gd name="connsiteX24" fmla="*/ 152653 w 402651"/>
                <a:gd name="connsiteY24" fmla="*/ 34002 h 427179"/>
                <a:gd name="connsiteX25" fmla="*/ 156525 w 402651"/>
                <a:gd name="connsiteY25" fmla="*/ 38860 h 427179"/>
                <a:gd name="connsiteX26" fmla="*/ 162609 w 402651"/>
                <a:gd name="connsiteY26" fmla="*/ 39939 h 427179"/>
                <a:gd name="connsiteX27" fmla="*/ 163162 w 402651"/>
                <a:gd name="connsiteY27" fmla="*/ 56131 h 427179"/>
                <a:gd name="connsiteX28" fmla="*/ 167033 w 402651"/>
                <a:gd name="connsiteY28" fmla="*/ 67465 h 427179"/>
                <a:gd name="connsiteX29" fmla="*/ 180308 w 402651"/>
                <a:gd name="connsiteY29" fmla="*/ 77180 h 427179"/>
                <a:gd name="connsiteX30" fmla="*/ 200772 w 402651"/>
                <a:gd name="connsiteY30" fmla="*/ 84736 h 427179"/>
                <a:gd name="connsiteX31" fmla="*/ 228980 w 402651"/>
                <a:gd name="connsiteY31" fmla="*/ 102547 h 427179"/>
                <a:gd name="connsiteX32" fmla="*/ 235064 w 402651"/>
                <a:gd name="connsiteY32" fmla="*/ 141947 h 427179"/>
                <a:gd name="connsiteX33" fmla="*/ 253316 w 402651"/>
                <a:gd name="connsiteY33" fmla="*/ 149503 h 427179"/>
                <a:gd name="connsiteX34" fmla="*/ 283736 w 402651"/>
                <a:gd name="connsiteY34" fmla="*/ 154900 h 427179"/>
                <a:gd name="connsiteX35" fmla="*/ 293138 w 402651"/>
                <a:gd name="connsiteY35" fmla="*/ 162996 h 427179"/>
                <a:gd name="connsiteX36" fmla="*/ 323005 w 402651"/>
                <a:gd name="connsiteY36" fmla="*/ 135470 h 427179"/>
                <a:gd name="connsiteX37" fmla="*/ 335173 w 402651"/>
                <a:gd name="connsiteY37" fmla="*/ 139248 h 427179"/>
                <a:gd name="connsiteX38" fmla="*/ 337939 w 402651"/>
                <a:gd name="connsiteY38" fmla="*/ 148963 h 427179"/>
                <a:gd name="connsiteX39" fmla="*/ 329642 w 402651"/>
                <a:gd name="connsiteY39" fmla="*/ 153281 h 427179"/>
                <a:gd name="connsiteX40" fmla="*/ 327430 w 402651"/>
                <a:gd name="connsiteY40" fmla="*/ 164076 h 427179"/>
                <a:gd name="connsiteX41" fmla="*/ 342364 w 402651"/>
                <a:gd name="connsiteY41" fmla="*/ 180807 h 427179"/>
                <a:gd name="connsiteX42" fmla="*/ 346235 w 402651"/>
                <a:gd name="connsiteY42" fmla="*/ 191062 h 427179"/>
                <a:gd name="connsiteX43" fmla="*/ 346235 w 402651"/>
                <a:gd name="connsiteY43" fmla="*/ 207254 h 427179"/>
                <a:gd name="connsiteX44" fmla="*/ 334067 w 402651"/>
                <a:gd name="connsiteY44" fmla="*/ 218588 h 427179"/>
                <a:gd name="connsiteX45" fmla="*/ 332961 w 402651"/>
                <a:gd name="connsiteY45" fmla="*/ 245034 h 427179"/>
                <a:gd name="connsiteX46" fmla="*/ 346788 w 402651"/>
                <a:gd name="connsiteY46" fmla="*/ 254749 h 427179"/>
                <a:gd name="connsiteX47" fmla="*/ 356744 w 402651"/>
                <a:gd name="connsiteY47" fmla="*/ 279576 h 427179"/>
                <a:gd name="connsiteX48" fmla="*/ 378315 w 402651"/>
                <a:gd name="connsiteY48" fmla="*/ 283894 h 427179"/>
                <a:gd name="connsiteX49" fmla="*/ 384399 w 402651"/>
                <a:gd name="connsiteY49" fmla="*/ 294689 h 427179"/>
                <a:gd name="connsiteX50" fmla="*/ 402651 w 402651"/>
                <a:gd name="connsiteY50" fmla="*/ 302785 h 427179"/>
                <a:gd name="connsiteX51" fmla="*/ 377761 w 402651"/>
                <a:gd name="connsiteY51" fmla="*/ 343264 h 427179"/>
                <a:gd name="connsiteX52" fmla="*/ 368359 w 402651"/>
                <a:gd name="connsiteY52" fmla="*/ 344883 h 427179"/>
                <a:gd name="connsiteX53" fmla="*/ 361722 w 402651"/>
                <a:gd name="connsiteY53" fmla="*/ 351899 h 427179"/>
                <a:gd name="connsiteX54" fmla="*/ 365593 w 402651"/>
                <a:gd name="connsiteY54" fmla="*/ 363234 h 427179"/>
                <a:gd name="connsiteX55" fmla="*/ 365040 w 402651"/>
                <a:gd name="connsiteY55" fmla="*/ 384283 h 427179"/>
                <a:gd name="connsiteX56" fmla="*/ 377761 w 402651"/>
                <a:gd name="connsiteY56" fmla="*/ 397236 h 427179"/>
                <a:gd name="connsiteX57" fmla="*/ 369465 w 402651"/>
                <a:gd name="connsiteY57" fmla="*/ 413968 h 427179"/>
                <a:gd name="connsiteX58" fmla="*/ 367253 w 402651"/>
                <a:gd name="connsiteY58" fmla="*/ 415587 h 427179"/>
                <a:gd name="connsiteX59" fmla="*/ 359509 w 402651"/>
                <a:gd name="connsiteY59" fmla="*/ 413968 h 427179"/>
                <a:gd name="connsiteX60" fmla="*/ 338492 w 402651"/>
                <a:gd name="connsiteY60" fmla="*/ 424222 h 427179"/>
                <a:gd name="connsiteX61" fmla="*/ 311390 w 402651"/>
                <a:gd name="connsiteY61" fmla="*/ 420984 h 427179"/>
                <a:gd name="connsiteX62" fmla="*/ 299222 w 402651"/>
                <a:gd name="connsiteY62" fmla="*/ 426381 h 427179"/>
                <a:gd name="connsiteX63" fmla="*/ 295594 w 402651"/>
                <a:gd name="connsiteY63" fmla="*/ 411883 h 427179"/>
                <a:gd name="connsiteX64" fmla="*/ 292976 w 402651"/>
                <a:gd name="connsiteY64" fmla="*/ 397414 h 427179"/>
                <a:gd name="connsiteX65" fmla="*/ 300029 w 402651"/>
                <a:gd name="connsiteY65" fmla="*/ 384146 h 427179"/>
                <a:gd name="connsiteX66" fmla="*/ 283216 w 402651"/>
                <a:gd name="connsiteY66" fmla="*/ 386506 h 427179"/>
                <a:gd name="connsiteX67" fmla="*/ 268836 w 402651"/>
                <a:gd name="connsiteY67" fmla="*/ 390824 h 427179"/>
                <a:gd name="connsiteX68" fmla="*/ 271333 w 402651"/>
                <a:gd name="connsiteY68" fmla="*/ 372795 h 427179"/>
                <a:gd name="connsiteX69" fmla="*/ 253462 w 402651"/>
                <a:gd name="connsiteY69" fmla="*/ 373151 h 427179"/>
                <a:gd name="connsiteX70" fmla="*/ 248127 w 402651"/>
                <a:gd name="connsiteY70" fmla="*/ 361126 h 427179"/>
                <a:gd name="connsiteX71" fmla="*/ 237773 w 402651"/>
                <a:gd name="connsiteY71" fmla="*/ 347153 h 427179"/>
                <a:gd name="connsiteX72" fmla="*/ 220806 w 402651"/>
                <a:gd name="connsiteY72" fmla="*/ 349452 h 427179"/>
                <a:gd name="connsiteX73" fmla="*/ 212665 w 402651"/>
                <a:gd name="connsiteY73" fmla="*/ 334479 h 427179"/>
                <a:gd name="connsiteX74" fmla="*/ 196560 w 402651"/>
                <a:gd name="connsiteY74" fmla="*/ 347311 h 427179"/>
                <a:gd name="connsiteX75" fmla="*/ 202132 w 402651"/>
                <a:gd name="connsiteY75" fmla="*/ 364121 h 427179"/>
                <a:gd name="connsiteX76" fmla="*/ 190014 w 402651"/>
                <a:gd name="connsiteY76" fmla="*/ 376889 h 427179"/>
                <a:gd name="connsiteX77" fmla="*/ 191634 w 402651"/>
                <a:gd name="connsiteY77" fmla="*/ 386485 h 427179"/>
                <a:gd name="connsiteX78" fmla="*/ 181901 w 402651"/>
                <a:gd name="connsiteY78" fmla="*/ 391815 h 427179"/>
                <a:gd name="connsiteX79" fmla="*/ 178026 w 402651"/>
                <a:gd name="connsiteY79" fmla="*/ 385621 h 427179"/>
                <a:gd name="connsiteX80" fmla="*/ 166262 w 402651"/>
                <a:gd name="connsiteY80" fmla="*/ 378348 h 427179"/>
                <a:gd name="connsiteX81" fmla="*/ 158241 w 402651"/>
                <a:gd name="connsiteY81" fmla="*/ 381379 h 427179"/>
                <a:gd name="connsiteX82" fmla="*/ 142748 w 402651"/>
                <a:gd name="connsiteY82" fmla="*/ 368966 h 427179"/>
                <a:gd name="connsiteX83" fmla="*/ 136657 w 402651"/>
                <a:gd name="connsiteY83" fmla="*/ 366344 h 427179"/>
                <a:gd name="connsiteX84" fmla="*/ 121170 w 402651"/>
                <a:gd name="connsiteY84" fmla="*/ 359789 h 427179"/>
                <a:gd name="connsiteX85" fmla="*/ 111420 w 402651"/>
                <a:gd name="connsiteY85" fmla="*/ 360097 h 427179"/>
                <a:gd name="connsiteX86" fmla="*/ 101877 w 402651"/>
                <a:gd name="connsiteY86" fmla="*/ 345756 h 427179"/>
                <a:gd name="connsiteX87" fmla="*/ 81531 w 402651"/>
                <a:gd name="connsiteY87" fmla="*/ 336580 h 427179"/>
                <a:gd name="connsiteX88" fmla="*/ 65818 w 402651"/>
                <a:gd name="connsiteY88" fmla="*/ 324913 h 427179"/>
                <a:gd name="connsiteX89" fmla="*/ 68583 w 402651"/>
                <a:gd name="connsiteY89" fmla="*/ 321135 h 427179"/>
                <a:gd name="connsiteX90" fmla="*/ 46459 w 402651"/>
                <a:gd name="connsiteY90" fmla="*/ 304404 h 427179"/>
                <a:gd name="connsiteX91" fmla="*/ 69136 w 402651"/>
                <a:gd name="connsiteY91" fmla="*/ 294689 h 427179"/>
                <a:gd name="connsiteX92" fmla="*/ 58074 w 402651"/>
                <a:gd name="connsiteY92" fmla="*/ 283894 h 4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402651" h="427179">
                  <a:moveTo>
                    <a:pt x="58074" y="283894"/>
                  </a:moveTo>
                  <a:cubicBezTo>
                    <a:pt x="60287" y="274719"/>
                    <a:pt x="49225" y="266623"/>
                    <a:pt x="51990" y="261226"/>
                  </a:cubicBezTo>
                  <a:cubicBezTo>
                    <a:pt x="52543" y="259607"/>
                    <a:pt x="54756" y="258527"/>
                    <a:pt x="56415" y="258527"/>
                  </a:cubicBezTo>
                  <a:cubicBezTo>
                    <a:pt x="63052" y="257448"/>
                    <a:pt x="63605" y="262305"/>
                    <a:pt x="68030" y="264464"/>
                  </a:cubicBezTo>
                  <a:cubicBezTo>
                    <a:pt x="69136" y="265544"/>
                    <a:pt x="70795" y="265544"/>
                    <a:pt x="71902" y="265544"/>
                  </a:cubicBezTo>
                  <a:cubicBezTo>
                    <a:pt x="80198" y="265544"/>
                    <a:pt x="81857" y="258527"/>
                    <a:pt x="81857" y="251511"/>
                  </a:cubicBezTo>
                  <a:cubicBezTo>
                    <a:pt x="81857" y="248272"/>
                    <a:pt x="81857" y="243415"/>
                    <a:pt x="79645" y="241256"/>
                  </a:cubicBezTo>
                  <a:cubicBezTo>
                    <a:pt x="68583" y="225064"/>
                    <a:pt x="55862" y="225604"/>
                    <a:pt x="44800" y="218048"/>
                  </a:cubicBezTo>
                  <a:cubicBezTo>
                    <a:pt x="43141" y="216969"/>
                    <a:pt x="42035" y="214270"/>
                    <a:pt x="41481" y="212111"/>
                  </a:cubicBezTo>
                  <a:cubicBezTo>
                    <a:pt x="38716" y="192681"/>
                    <a:pt x="62499" y="173251"/>
                    <a:pt x="51990" y="155440"/>
                  </a:cubicBezTo>
                  <a:lnTo>
                    <a:pt x="38716" y="140328"/>
                  </a:lnTo>
                  <a:lnTo>
                    <a:pt x="44800" y="113342"/>
                  </a:lnTo>
                  <a:cubicBezTo>
                    <a:pt x="37610" y="112802"/>
                    <a:pt x="30973" y="110643"/>
                    <a:pt x="25442" y="106325"/>
                  </a:cubicBezTo>
                  <a:cubicBezTo>
                    <a:pt x="9955" y="93912"/>
                    <a:pt x="22676" y="99849"/>
                    <a:pt x="13827" y="86355"/>
                  </a:cubicBezTo>
                  <a:cubicBezTo>
                    <a:pt x="10508" y="81498"/>
                    <a:pt x="3318" y="70704"/>
                    <a:pt x="2212" y="60449"/>
                  </a:cubicBezTo>
                  <a:cubicBezTo>
                    <a:pt x="1659" y="57210"/>
                    <a:pt x="553" y="51813"/>
                    <a:pt x="0" y="48575"/>
                  </a:cubicBezTo>
                  <a:lnTo>
                    <a:pt x="14933" y="31304"/>
                  </a:lnTo>
                  <a:lnTo>
                    <a:pt x="29313" y="29685"/>
                  </a:lnTo>
                  <a:lnTo>
                    <a:pt x="57521" y="2698"/>
                  </a:lnTo>
                  <a:lnTo>
                    <a:pt x="74667" y="6476"/>
                  </a:lnTo>
                  <a:lnTo>
                    <a:pt x="95131" y="0"/>
                  </a:lnTo>
                  <a:lnTo>
                    <a:pt x="113937" y="2698"/>
                  </a:lnTo>
                  <a:lnTo>
                    <a:pt x="120574" y="17811"/>
                  </a:lnTo>
                  <a:lnTo>
                    <a:pt x="131082" y="25367"/>
                  </a:lnTo>
                  <a:lnTo>
                    <a:pt x="152653" y="34002"/>
                  </a:lnTo>
                  <a:lnTo>
                    <a:pt x="156525" y="38860"/>
                  </a:lnTo>
                  <a:lnTo>
                    <a:pt x="162609" y="39939"/>
                  </a:lnTo>
                  <a:cubicBezTo>
                    <a:pt x="162793" y="45336"/>
                    <a:pt x="162978" y="50734"/>
                    <a:pt x="163162" y="56131"/>
                  </a:cubicBezTo>
                  <a:lnTo>
                    <a:pt x="167033" y="67465"/>
                  </a:lnTo>
                  <a:lnTo>
                    <a:pt x="180308" y="77180"/>
                  </a:lnTo>
                  <a:lnTo>
                    <a:pt x="200772" y="84736"/>
                  </a:lnTo>
                  <a:lnTo>
                    <a:pt x="228980" y="102547"/>
                  </a:lnTo>
                  <a:lnTo>
                    <a:pt x="235064" y="141947"/>
                  </a:lnTo>
                  <a:cubicBezTo>
                    <a:pt x="241701" y="144646"/>
                    <a:pt x="245572" y="147884"/>
                    <a:pt x="253316" y="149503"/>
                  </a:cubicBezTo>
                  <a:cubicBezTo>
                    <a:pt x="263271" y="151122"/>
                    <a:pt x="274333" y="148963"/>
                    <a:pt x="283736" y="154900"/>
                  </a:cubicBezTo>
                  <a:cubicBezTo>
                    <a:pt x="286501" y="156520"/>
                    <a:pt x="289820" y="164076"/>
                    <a:pt x="293138" y="162996"/>
                  </a:cubicBezTo>
                  <a:cubicBezTo>
                    <a:pt x="308072" y="158678"/>
                    <a:pt x="295351" y="135470"/>
                    <a:pt x="323005" y="135470"/>
                  </a:cubicBezTo>
                  <a:cubicBezTo>
                    <a:pt x="325771" y="135470"/>
                    <a:pt x="332961" y="137089"/>
                    <a:pt x="335173" y="139248"/>
                  </a:cubicBezTo>
                  <a:cubicBezTo>
                    <a:pt x="337386" y="140868"/>
                    <a:pt x="340151" y="146805"/>
                    <a:pt x="337939" y="148963"/>
                  </a:cubicBezTo>
                  <a:cubicBezTo>
                    <a:pt x="336280" y="150583"/>
                    <a:pt x="331855" y="151662"/>
                    <a:pt x="329642" y="153281"/>
                  </a:cubicBezTo>
                  <a:cubicBezTo>
                    <a:pt x="328536" y="154900"/>
                    <a:pt x="326877" y="162456"/>
                    <a:pt x="327430" y="164076"/>
                  </a:cubicBezTo>
                  <a:cubicBezTo>
                    <a:pt x="329642" y="168393"/>
                    <a:pt x="337939" y="178648"/>
                    <a:pt x="342364" y="180807"/>
                  </a:cubicBezTo>
                  <a:lnTo>
                    <a:pt x="346235" y="191062"/>
                  </a:lnTo>
                  <a:lnTo>
                    <a:pt x="346235" y="207254"/>
                  </a:lnTo>
                  <a:lnTo>
                    <a:pt x="334067" y="218588"/>
                  </a:lnTo>
                  <a:cubicBezTo>
                    <a:pt x="333698" y="227403"/>
                    <a:pt x="333330" y="236219"/>
                    <a:pt x="332961" y="245034"/>
                  </a:cubicBezTo>
                  <a:lnTo>
                    <a:pt x="346788" y="254749"/>
                  </a:lnTo>
                  <a:lnTo>
                    <a:pt x="356744" y="279576"/>
                  </a:lnTo>
                  <a:lnTo>
                    <a:pt x="378315" y="283894"/>
                  </a:lnTo>
                  <a:lnTo>
                    <a:pt x="384399" y="294689"/>
                  </a:lnTo>
                  <a:lnTo>
                    <a:pt x="402651" y="302785"/>
                  </a:lnTo>
                  <a:lnTo>
                    <a:pt x="377761" y="343264"/>
                  </a:lnTo>
                  <a:lnTo>
                    <a:pt x="368359" y="344883"/>
                  </a:lnTo>
                  <a:lnTo>
                    <a:pt x="361722" y="351899"/>
                  </a:lnTo>
                  <a:lnTo>
                    <a:pt x="365593" y="363234"/>
                  </a:lnTo>
                  <a:cubicBezTo>
                    <a:pt x="365409" y="370250"/>
                    <a:pt x="365224" y="377267"/>
                    <a:pt x="365040" y="384283"/>
                  </a:cubicBezTo>
                  <a:lnTo>
                    <a:pt x="377761" y="397236"/>
                  </a:lnTo>
                  <a:lnTo>
                    <a:pt x="369465" y="413968"/>
                  </a:lnTo>
                  <a:lnTo>
                    <a:pt x="367253" y="415587"/>
                  </a:lnTo>
                  <a:lnTo>
                    <a:pt x="359509" y="413968"/>
                  </a:lnTo>
                  <a:lnTo>
                    <a:pt x="338492" y="424222"/>
                  </a:lnTo>
                  <a:lnTo>
                    <a:pt x="311390" y="420984"/>
                  </a:lnTo>
                  <a:lnTo>
                    <a:pt x="299222" y="426381"/>
                  </a:lnTo>
                  <a:cubicBezTo>
                    <a:pt x="298853" y="431958"/>
                    <a:pt x="295963" y="406306"/>
                    <a:pt x="295594" y="411883"/>
                  </a:cubicBezTo>
                  <a:lnTo>
                    <a:pt x="292976" y="397414"/>
                  </a:lnTo>
                  <a:lnTo>
                    <a:pt x="300029" y="384146"/>
                  </a:lnTo>
                  <a:lnTo>
                    <a:pt x="283216" y="386506"/>
                  </a:lnTo>
                  <a:lnTo>
                    <a:pt x="268836" y="390824"/>
                  </a:lnTo>
                  <a:lnTo>
                    <a:pt x="271333" y="372795"/>
                  </a:lnTo>
                  <a:lnTo>
                    <a:pt x="253462" y="373151"/>
                  </a:lnTo>
                  <a:lnTo>
                    <a:pt x="248127" y="361126"/>
                  </a:lnTo>
                  <a:lnTo>
                    <a:pt x="237773" y="347153"/>
                  </a:lnTo>
                  <a:lnTo>
                    <a:pt x="220806" y="349452"/>
                  </a:lnTo>
                  <a:lnTo>
                    <a:pt x="212665" y="334479"/>
                  </a:lnTo>
                  <a:lnTo>
                    <a:pt x="196560" y="347311"/>
                  </a:lnTo>
                  <a:lnTo>
                    <a:pt x="202132" y="364121"/>
                  </a:lnTo>
                  <a:lnTo>
                    <a:pt x="190014" y="376889"/>
                  </a:lnTo>
                  <a:lnTo>
                    <a:pt x="191634" y="386485"/>
                  </a:lnTo>
                  <a:lnTo>
                    <a:pt x="181901" y="391815"/>
                  </a:lnTo>
                  <a:lnTo>
                    <a:pt x="178026" y="385621"/>
                  </a:lnTo>
                  <a:lnTo>
                    <a:pt x="166262" y="378348"/>
                  </a:lnTo>
                  <a:lnTo>
                    <a:pt x="158241" y="381379"/>
                  </a:lnTo>
                  <a:lnTo>
                    <a:pt x="142748" y="368966"/>
                  </a:lnTo>
                  <a:lnTo>
                    <a:pt x="136657" y="366344"/>
                  </a:lnTo>
                  <a:lnTo>
                    <a:pt x="121170" y="359789"/>
                  </a:lnTo>
                  <a:lnTo>
                    <a:pt x="111420" y="360097"/>
                  </a:lnTo>
                  <a:lnTo>
                    <a:pt x="101877" y="345756"/>
                  </a:lnTo>
                  <a:lnTo>
                    <a:pt x="81531" y="336580"/>
                  </a:lnTo>
                  <a:cubicBezTo>
                    <a:pt x="87615" y="339279"/>
                    <a:pt x="61946" y="321675"/>
                    <a:pt x="65818" y="324913"/>
                  </a:cubicBezTo>
                  <a:lnTo>
                    <a:pt x="68583" y="321135"/>
                  </a:lnTo>
                  <a:lnTo>
                    <a:pt x="46459" y="304404"/>
                  </a:lnTo>
                  <a:lnTo>
                    <a:pt x="69136" y="294689"/>
                  </a:lnTo>
                  <a:lnTo>
                    <a:pt x="58074" y="283894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63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</p:grpSp>
      <p:sp>
        <p:nvSpPr>
          <p:cNvPr id="16" name="Title 15">
            <a:extLst>
              <a:ext uri="{FF2B5EF4-FFF2-40B4-BE49-F238E27FC236}">
                <a16:creationId xmlns:a16="http://schemas.microsoft.com/office/drawing/2014/main" id="{BF59A814-126A-4DB2-9DBB-F4496829DC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Financování </a:t>
            </a:r>
            <a:r>
              <a:rPr lang="cs-CZ" dirty="0" err="1"/>
              <a:t>elektromobility</a:t>
            </a:r>
            <a:endParaRPr lang="cs-CZ" dirty="0"/>
          </a:p>
        </p:txBody>
      </p:sp>
      <p:sp>
        <p:nvSpPr>
          <p:cNvPr id="67" name="Zástupný symbol pro obsah 12">
            <a:extLst>
              <a:ext uri="{FF2B5EF4-FFF2-40B4-BE49-F238E27FC236}">
                <a16:creationId xmlns:a16="http://schemas.microsoft.com/office/drawing/2014/main" id="{FE403AFA-0D86-4CD5-A11B-B1F361D7ADB4}"/>
              </a:ext>
            </a:extLst>
          </p:cNvPr>
          <p:cNvSpPr txBox="1">
            <a:spLocks/>
          </p:cNvSpPr>
          <p:nvPr/>
        </p:nvSpPr>
        <p:spPr>
          <a:xfrm>
            <a:off x="6343220" y="832930"/>
            <a:ext cx="2732817" cy="2057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 sz="1700"/>
          </a:p>
        </p:txBody>
      </p:sp>
      <p:sp>
        <p:nvSpPr>
          <p:cNvPr id="15" name="Zástupný symbol pro text 9">
            <a:extLst>
              <a:ext uri="{FF2B5EF4-FFF2-40B4-BE49-F238E27FC236}">
                <a16:creationId xmlns:a16="http://schemas.microsoft.com/office/drawing/2014/main" id="{E04A577A-C38F-4ACB-99CB-E755BC099617}"/>
              </a:ext>
            </a:extLst>
          </p:cNvPr>
          <p:cNvSpPr txBox="1">
            <a:spLocks/>
          </p:cNvSpPr>
          <p:nvPr/>
        </p:nvSpPr>
        <p:spPr>
          <a:xfrm>
            <a:off x="252000" y="87142"/>
            <a:ext cx="8280814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600" b="1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2pPr>
            <a:lvl3pPr marL="685783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600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3pPr>
            <a:lvl4pPr marL="1028675" marR="0" indent="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None/>
              <a:tabLst/>
              <a:defRPr sz="600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4pPr>
            <a:lvl5pPr marL="1371566" marR="0" indent="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None/>
              <a:tabLst/>
              <a:defRPr sz="600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/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chemeClr val="bg1"/>
                </a:solidFill>
                <a:latin typeface="+mj-lt"/>
              </a:rPr>
              <a:t>Finanční produkty pro retailové financování</a:t>
            </a:r>
          </a:p>
        </p:txBody>
      </p:sp>
      <p:sp>
        <p:nvSpPr>
          <p:cNvPr id="18" name="Rettangolo con angoli arrotondati in diagonale 102">
            <a:extLst>
              <a:ext uri="{FF2B5EF4-FFF2-40B4-BE49-F238E27FC236}">
                <a16:creationId xmlns:a16="http://schemas.microsoft.com/office/drawing/2014/main" id="{6EBCABFD-A879-4470-A53F-7C433EF6C190}"/>
              </a:ext>
            </a:extLst>
          </p:cNvPr>
          <p:cNvSpPr/>
          <p:nvPr/>
        </p:nvSpPr>
        <p:spPr>
          <a:xfrm>
            <a:off x="339213" y="818181"/>
            <a:ext cx="8343163" cy="3924000"/>
          </a:xfrm>
          <a:prstGeom prst="round2DiagRect">
            <a:avLst>
              <a:gd name="adj1" fmla="val 3888"/>
              <a:gd name="adj2" fmla="val 0"/>
            </a:avLst>
          </a:prstGeom>
          <a:noFill/>
          <a:ln w="19050" cap="rnd" cmpd="sng">
            <a:solidFill>
              <a:srgbClr val="E2001A"/>
            </a:solidFill>
            <a:prstDash val="solid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432000" rIns="72000" bIns="0" rtlCol="0" anchor="t" anchorCtr="0">
            <a:noAutofit/>
          </a:bodyPr>
          <a:lstStyle/>
          <a:p>
            <a:pPr marL="128588" indent="-128588" fontAlgn="ctr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cs-CZ" sz="11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Rettangolo con angoli arrotondati in diagonale 102">
            <a:extLst>
              <a:ext uri="{FF2B5EF4-FFF2-40B4-BE49-F238E27FC236}">
                <a16:creationId xmlns:a16="http://schemas.microsoft.com/office/drawing/2014/main" id="{7AFCB565-C45C-4AF9-B65C-1E990E05728B}"/>
              </a:ext>
            </a:extLst>
          </p:cNvPr>
          <p:cNvSpPr/>
          <p:nvPr/>
        </p:nvSpPr>
        <p:spPr>
          <a:xfrm>
            <a:off x="346587" y="818182"/>
            <a:ext cx="6119595" cy="393636"/>
          </a:xfrm>
          <a:prstGeom prst="round2DiagRect">
            <a:avLst>
              <a:gd name="adj1" fmla="val 41021"/>
              <a:gd name="adj2" fmla="val 0"/>
            </a:avLst>
          </a:prstGeom>
          <a:solidFill>
            <a:srgbClr val="E2001A"/>
          </a:solidFill>
          <a:ln w="19050">
            <a:solidFill>
              <a:srgbClr val="E2001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0" bIns="0" rtlCol="0" anchor="ctr">
            <a:noAutofit/>
          </a:bodyPr>
          <a:lstStyle/>
          <a:p>
            <a:pPr defTabSz="914400">
              <a:lnSpc>
                <a:spcPct val="90000"/>
              </a:lnSpc>
              <a:buClr>
                <a:srgbClr val="E2001A"/>
              </a:buClr>
              <a:buSzPct val="150000"/>
            </a:pPr>
            <a:r>
              <a:rPr lang="cs-CZ" sz="1400" b="1" dirty="0">
                <a:solidFill>
                  <a:srgbClr val="FFFFFF"/>
                </a:solidFill>
                <a:latin typeface="UniCredit (Body)"/>
              </a:rPr>
              <a:t>Komplexní nabídka pro </a:t>
            </a:r>
            <a:r>
              <a:rPr lang="cs-CZ" sz="1400" b="1" dirty="0" err="1">
                <a:solidFill>
                  <a:srgbClr val="FFFFFF"/>
                </a:solidFill>
                <a:latin typeface="UniCredit (Body)"/>
              </a:rPr>
              <a:t>elektromobilitu</a:t>
            </a:r>
            <a:endParaRPr lang="cs-CZ" sz="1400" b="1" dirty="0">
              <a:solidFill>
                <a:srgbClr val="FFFFFF"/>
              </a:solidFill>
              <a:latin typeface="UniCredit (Body)"/>
            </a:endParaRPr>
          </a:p>
        </p:txBody>
      </p:sp>
      <p:pic>
        <p:nvPicPr>
          <p:cNvPr id="71" name="Obrázek 70">
            <a:extLst>
              <a:ext uri="{FF2B5EF4-FFF2-40B4-BE49-F238E27FC236}">
                <a16:creationId xmlns:a16="http://schemas.microsoft.com/office/drawing/2014/main" id="{A758CE5F-3149-4CDD-9D89-35CC5EF6738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2064" t="5366" r="4220" b="5369"/>
          <a:stretch/>
        </p:blipFill>
        <p:spPr>
          <a:xfrm>
            <a:off x="390831" y="1680441"/>
            <a:ext cx="2761465" cy="1974374"/>
          </a:xfrm>
          <a:prstGeom prst="rect">
            <a:avLst/>
          </a:prstGeom>
        </p:spPr>
      </p:pic>
      <p:sp>
        <p:nvSpPr>
          <p:cNvPr id="73" name="Obdélník 72">
            <a:extLst>
              <a:ext uri="{FF2B5EF4-FFF2-40B4-BE49-F238E27FC236}">
                <a16:creationId xmlns:a16="http://schemas.microsoft.com/office/drawing/2014/main" id="{A548A814-1CEA-41D9-8A33-1BF2CA7E0C36}"/>
              </a:ext>
            </a:extLst>
          </p:cNvPr>
          <p:cNvSpPr/>
          <p:nvPr/>
        </p:nvSpPr>
        <p:spPr>
          <a:xfrm>
            <a:off x="416569" y="1297100"/>
            <a:ext cx="807118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Udělat krok k budoucnosti nikdy nebylo snadnější. Jsme vaším partnerem pro komplexní řešení </a:t>
            </a:r>
            <a:r>
              <a:rPr lang="cs-CZ" sz="1100" dirty="0" err="1">
                <a:solidFill>
                  <a:srgbClr val="000000"/>
                </a:solidFill>
                <a:latin typeface="UniCredit" panose="02000506040000020004" pitchFamily="2" charset="-18"/>
              </a:rPr>
              <a:t>elektromobility</a:t>
            </a: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. Kromě financování samotných elektromobilů poskytujeme také financování na pořízení nabíjecích stanic a </a:t>
            </a:r>
            <a:r>
              <a:rPr lang="cs-CZ" sz="1100" dirty="0" err="1">
                <a:solidFill>
                  <a:srgbClr val="000000"/>
                </a:solidFill>
                <a:latin typeface="UniCredit" panose="02000506040000020004" pitchFamily="2" charset="-18"/>
              </a:rPr>
              <a:t>fotovoltaických</a:t>
            </a: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 elektráren. </a:t>
            </a:r>
            <a:endParaRPr lang="cs-CZ" sz="1100" dirty="0"/>
          </a:p>
        </p:txBody>
      </p:sp>
      <p:sp>
        <p:nvSpPr>
          <p:cNvPr id="74" name="Obdélník 73">
            <a:extLst>
              <a:ext uri="{FF2B5EF4-FFF2-40B4-BE49-F238E27FC236}">
                <a16:creationId xmlns:a16="http://schemas.microsoft.com/office/drawing/2014/main" id="{C54B632A-E715-4863-AA88-A688E03210A6}"/>
              </a:ext>
            </a:extLst>
          </p:cNvPr>
          <p:cNvSpPr/>
          <p:nvPr/>
        </p:nvSpPr>
        <p:spPr>
          <a:xfrm>
            <a:off x="3294697" y="1925419"/>
            <a:ext cx="4970017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200"/>
            <a:r>
              <a:rPr lang="cs-CZ" sz="1200" b="1" dirty="0">
                <a:solidFill>
                  <a:srgbClr val="FF0000"/>
                </a:solidFill>
                <a:latin typeface="UniCredit" panose="02000506040000020004" pitchFamily="2" charset="-18"/>
              </a:rPr>
              <a:t>Financování elektromobilu </a:t>
            </a:r>
            <a:endParaRPr lang="cs-CZ" sz="1200" dirty="0">
              <a:solidFill>
                <a:srgbClr val="FF0000"/>
              </a:solidFill>
              <a:latin typeface="UniCredit" panose="02000506040000020004" pitchFamily="2" charset="-18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Délka financování </a:t>
            </a:r>
            <a:r>
              <a:rPr lang="cs-CZ" sz="1100" b="1" dirty="0">
                <a:solidFill>
                  <a:srgbClr val="000000"/>
                </a:solidFill>
                <a:latin typeface="UniCredit" panose="02000506040000020004" pitchFamily="2" charset="-18"/>
              </a:rPr>
              <a:t>až 7 let </a:t>
            </a:r>
            <a:endParaRPr lang="cs-CZ" sz="1100" dirty="0">
              <a:solidFill>
                <a:srgbClr val="000000"/>
              </a:solidFill>
              <a:latin typeface="UniCredit" panose="02000506040000020004" pitchFamily="2" charset="-18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Možnost financovat nejen nové vozy, ale také ojeté elektromobily, a to vč. </a:t>
            </a:r>
            <a:r>
              <a:rPr lang="cs-CZ" sz="1100" b="1" dirty="0" err="1">
                <a:solidFill>
                  <a:srgbClr val="000000"/>
                </a:solidFill>
                <a:latin typeface="UniCredit" panose="02000506040000020004" pitchFamily="2" charset="-18"/>
              </a:rPr>
              <a:t>wallboxů</a:t>
            </a:r>
            <a:r>
              <a:rPr lang="cs-CZ" sz="1100" b="1" dirty="0">
                <a:solidFill>
                  <a:srgbClr val="000000"/>
                </a:solidFill>
                <a:latin typeface="UniCredit" panose="02000506040000020004" pitchFamily="2" charset="-18"/>
              </a:rPr>
              <a:t> </a:t>
            </a:r>
            <a:endParaRPr lang="cs-CZ" sz="1100" dirty="0">
              <a:solidFill>
                <a:srgbClr val="000000"/>
              </a:solidFill>
              <a:latin typeface="UniCredit" panose="02000506040000020004" pitchFamily="2" charset="-18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Financování formou úvěru, včetně úvěru s poslední flexibilní splátkou, finančního leasingu nebo operativního leasingu 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Zvýhodněná úroková sazba 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Zvýhodněné pojištění v případě, že je sjednáno v rámci financování (je součástí splátek) </a:t>
            </a:r>
          </a:p>
        </p:txBody>
      </p:sp>
      <p:sp>
        <p:nvSpPr>
          <p:cNvPr id="75" name="Obdélník 74">
            <a:extLst>
              <a:ext uri="{FF2B5EF4-FFF2-40B4-BE49-F238E27FC236}">
                <a16:creationId xmlns:a16="http://schemas.microsoft.com/office/drawing/2014/main" id="{A6CB69D9-6172-4323-BFB3-9347A700BEC5}"/>
              </a:ext>
            </a:extLst>
          </p:cNvPr>
          <p:cNvSpPr/>
          <p:nvPr/>
        </p:nvSpPr>
        <p:spPr>
          <a:xfrm>
            <a:off x="346587" y="3543859"/>
            <a:ext cx="3841955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200"/>
            <a:r>
              <a:rPr lang="cs-CZ" sz="1200" b="1" dirty="0">
                <a:solidFill>
                  <a:srgbClr val="FF0000"/>
                </a:solidFill>
                <a:latin typeface="UniCredit" panose="02000506040000020004" pitchFamily="2" charset="-18"/>
              </a:rPr>
              <a:t>Financování nabíjecích stanic </a:t>
            </a:r>
            <a:endParaRPr lang="cs-CZ" sz="1200" dirty="0">
              <a:solidFill>
                <a:srgbClr val="FF0000"/>
              </a:solidFill>
              <a:latin typeface="UniCredit" panose="02000506040000020004" pitchFamily="2" charset="-18"/>
            </a:endParaRPr>
          </a:p>
          <a:p>
            <a:pPr marL="176213" indent="-176213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Délka financování </a:t>
            </a:r>
            <a:r>
              <a:rPr lang="cs-CZ" sz="1100" b="1" dirty="0">
                <a:solidFill>
                  <a:srgbClr val="000000"/>
                </a:solidFill>
                <a:latin typeface="UniCredit" panose="02000506040000020004" pitchFamily="2" charset="-18"/>
              </a:rPr>
              <a:t>až 10 let </a:t>
            </a:r>
            <a:endParaRPr lang="cs-CZ" sz="1100" dirty="0">
              <a:solidFill>
                <a:srgbClr val="000000"/>
              </a:solidFill>
              <a:latin typeface="UniCredit" panose="02000506040000020004" pitchFamily="2" charset="-18"/>
            </a:endParaRPr>
          </a:p>
          <a:p>
            <a:pPr marL="176213" indent="-176213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Financování buď </a:t>
            </a:r>
            <a:r>
              <a:rPr lang="cs-CZ" sz="1100" b="1" dirty="0">
                <a:solidFill>
                  <a:srgbClr val="000000"/>
                </a:solidFill>
                <a:latin typeface="UniCredit" panose="02000506040000020004" pitchFamily="2" charset="-18"/>
              </a:rPr>
              <a:t>společně s elektromobilem/elektromobily nebo </a:t>
            </a:r>
            <a:r>
              <a:rPr lang="cs-CZ" sz="1100" b="1" dirty="0" err="1">
                <a:solidFill>
                  <a:srgbClr val="000000"/>
                </a:solidFill>
                <a:latin typeface="UniCredit" panose="02000506040000020004" pitchFamily="2" charset="-18"/>
              </a:rPr>
              <a:t>fotovoltaickou</a:t>
            </a:r>
            <a:r>
              <a:rPr lang="cs-CZ" sz="1100" b="1" dirty="0">
                <a:solidFill>
                  <a:srgbClr val="000000"/>
                </a:solidFill>
                <a:latin typeface="UniCredit" panose="02000506040000020004" pitchFamily="2" charset="-18"/>
              </a:rPr>
              <a:t> elektrárnou </a:t>
            </a: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formou úvěru </a:t>
            </a:r>
          </a:p>
          <a:p>
            <a:pPr marL="176213" indent="-176213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Financování </a:t>
            </a:r>
            <a:r>
              <a:rPr lang="cs-CZ" sz="1100" b="1" dirty="0">
                <a:solidFill>
                  <a:srgbClr val="000000"/>
                </a:solidFill>
                <a:latin typeface="UniCredit" panose="02000506040000020004" pitchFamily="2" charset="-18"/>
              </a:rPr>
              <a:t>až 100 % investičních nákladů včetně případné dotace </a:t>
            </a:r>
            <a:endParaRPr lang="cs-CZ" sz="1100" dirty="0">
              <a:solidFill>
                <a:srgbClr val="000000"/>
              </a:solidFill>
              <a:latin typeface="UniCredit" panose="02000506040000020004" pitchFamily="2" charset="-18"/>
            </a:endParaRPr>
          </a:p>
        </p:txBody>
      </p:sp>
      <p:sp>
        <p:nvSpPr>
          <p:cNvPr id="78" name="Obdélník 77">
            <a:extLst>
              <a:ext uri="{FF2B5EF4-FFF2-40B4-BE49-F238E27FC236}">
                <a16:creationId xmlns:a16="http://schemas.microsoft.com/office/drawing/2014/main" id="{A9D520B2-FC4A-4922-B67E-07B739E238A5}"/>
              </a:ext>
            </a:extLst>
          </p:cNvPr>
          <p:cNvSpPr/>
          <p:nvPr/>
        </p:nvSpPr>
        <p:spPr>
          <a:xfrm>
            <a:off x="4117750" y="3511217"/>
            <a:ext cx="4572000" cy="1123384"/>
          </a:xfrm>
          <a:prstGeom prst="rect">
            <a:avLst/>
          </a:prstGeom>
        </p:spPr>
        <p:txBody>
          <a:bodyPr>
            <a:spAutoFit/>
          </a:bodyPr>
          <a:lstStyle/>
          <a:p>
            <a:pPr marR="2200"/>
            <a:r>
              <a:rPr lang="cs-CZ" sz="1200" b="1" dirty="0">
                <a:solidFill>
                  <a:srgbClr val="FF0000"/>
                </a:solidFill>
                <a:latin typeface="UniCredit" panose="02000506040000020004" pitchFamily="2" charset="-18"/>
              </a:rPr>
              <a:t>Financování </a:t>
            </a:r>
            <a:r>
              <a:rPr lang="cs-CZ" sz="1200" b="1" dirty="0" err="1">
                <a:solidFill>
                  <a:srgbClr val="FF0000"/>
                </a:solidFill>
                <a:latin typeface="UniCredit" panose="02000506040000020004" pitchFamily="2" charset="-18"/>
              </a:rPr>
              <a:t>fotovoltaických</a:t>
            </a:r>
            <a:r>
              <a:rPr lang="cs-CZ" sz="1200" b="1" dirty="0">
                <a:solidFill>
                  <a:srgbClr val="FF0000"/>
                </a:solidFill>
                <a:latin typeface="UniCredit" panose="02000506040000020004" pitchFamily="2" charset="-18"/>
              </a:rPr>
              <a:t> zařízení </a:t>
            </a:r>
            <a:endParaRPr lang="cs-CZ" sz="1200" dirty="0">
              <a:solidFill>
                <a:srgbClr val="FF0000"/>
              </a:solidFill>
              <a:latin typeface="UniCredit" panose="02000506040000020004" pitchFamily="2" charset="-18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Délka financování </a:t>
            </a:r>
            <a:r>
              <a:rPr lang="cs-CZ" sz="1100" b="1" dirty="0">
                <a:solidFill>
                  <a:srgbClr val="000000"/>
                </a:solidFill>
                <a:latin typeface="UniCredit" panose="02000506040000020004" pitchFamily="2" charset="-18"/>
              </a:rPr>
              <a:t>až 10 let </a:t>
            </a:r>
            <a:endParaRPr lang="cs-CZ" sz="1100" dirty="0">
              <a:solidFill>
                <a:srgbClr val="000000"/>
              </a:solidFill>
              <a:latin typeface="UniCredit" panose="02000506040000020004" pitchFamily="2" charset="-18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Financování </a:t>
            </a:r>
            <a:r>
              <a:rPr lang="cs-CZ" sz="1100" b="1" dirty="0">
                <a:solidFill>
                  <a:srgbClr val="000000"/>
                </a:solidFill>
                <a:latin typeface="UniCredit" panose="02000506040000020004" pitchFamily="2" charset="-18"/>
              </a:rPr>
              <a:t>až 100 % investičních nákladů </a:t>
            </a: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(</a:t>
            </a:r>
            <a:r>
              <a:rPr lang="cs-CZ" sz="1100" dirty="0" err="1">
                <a:solidFill>
                  <a:srgbClr val="000000"/>
                </a:solidFill>
                <a:latin typeface="UniCredit" panose="02000506040000020004" pitchFamily="2" charset="-18"/>
              </a:rPr>
              <a:t>fotovoltaické</a:t>
            </a: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 panely, střídač, akumulace, nosná konstrukce, kabeláž atd.), </a:t>
            </a:r>
            <a:r>
              <a:rPr lang="cs-CZ" sz="1100" b="1" dirty="0">
                <a:solidFill>
                  <a:srgbClr val="000000"/>
                </a:solidFill>
                <a:latin typeface="UniCredit" panose="02000506040000020004" pitchFamily="2" charset="-18"/>
              </a:rPr>
              <a:t>včetně nákladů na projektovou dokumentaci a inženýrskou činnost ve výstavbě a včetně případné dotace </a:t>
            </a:r>
            <a:endParaRPr lang="cs-CZ" sz="1100" dirty="0">
              <a:solidFill>
                <a:srgbClr val="000000"/>
              </a:solidFill>
              <a:latin typeface="UniCredit" panose="02000506040000020004" pitchFamily="2" charset="-18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UniCredit" panose="02000506040000020004" pitchFamily="2" charset="-18"/>
              </a:rPr>
              <a:t>Financování formou úvěru </a:t>
            </a:r>
          </a:p>
        </p:txBody>
      </p:sp>
    </p:spTree>
    <p:extLst>
      <p:ext uri="{BB962C8B-B14F-4D97-AF65-F5344CB8AC3E}">
        <p14:creationId xmlns:p14="http://schemas.microsoft.com/office/powerpoint/2010/main" val="10819294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98DB3A7-9184-494F-89B0-E650DFA399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6180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98DB3A7-9184-494F-89B0-E650DFA399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104">
            <a:extLst>
              <a:ext uri="{FF2B5EF4-FFF2-40B4-BE49-F238E27FC236}">
                <a16:creationId xmlns:a16="http://schemas.microsoft.com/office/drawing/2014/main" id="{5A4DC093-EEC3-460C-9E4C-ED10EC345F5C}"/>
              </a:ext>
            </a:extLst>
          </p:cNvPr>
          <p:cNvGrpSpPr/>
          <p:nvPr/>
        </p:nvGrpSpPr>
        <p:grpSpPr>
          <a:xfrm>
            <a:off x="3899244" y="832929"/>
            <a:ext cx="4783132" cy="3473012"/>
            <a:chOff x="4089421" y="1088999"/>
            <a:chExt cx="4335442" cy="3147946"/>
          </a:xfrm>
          <a:solidFill>
            <a:schemeClr val="bg2"/>
          </a:solidFill>
        </p:grpSpPr>
        <p:grpSp>
          <p:nvGrpSpPr>
            <p:cNvPr id="10" name="Graphic 259">
              <a:extLst>
                <a:ext uri="{FF2B5EF4-FFF2-40B4-BE49-F238E27FC236}">
                  <a16:creationId xmlns:a16="http://schemas.microsoft.com/office/drawing/2014/main" id="{C04C9F89-EE8B-469B-A6F9-51E800D504AC}"/>
                </a:ext>
              </a:extLst>
            </p:cNvPr>
            <p:cNvGrpSpPr/>
            <p:nvPr/>
          </p:nvGrpSpPr>
          <p:grpSpPr>
            <a:xfrm>
              <a:off x="4089421" y="1088999"/>
              <a:ext cx="4335442" cy="3147946"/>
              <a:chOff x="3666633" y="1269492"/>
              <a:chExt cx="6202566" cy="4462432"/>
            </a:xfrm>
            <a:grpFill/>
          </p:grpSpPr>
          <p:sp>
            <p:nvSpPr>
              <p:cNvPr id="12" name="Freeform 1048">
                <a:extLst>
                  <a:ext uri="{FF2B5EF4-FFF2-40B4-BE49-F238E27FC236}">
                    <a16:creationId xmlns:a16="http://schemas.microsoft.com/office/drawing/2014/main" id="{121451BC-2E2C-4542-B46A-76DE808F8CA0}"/>
                  </a:ext>
                </a:extLst>
              </p:cNvPr>
              <p:cNvSpPr/>
              <p:nvPr/>
            </p:nvSpPr>
            <p:spPr>
              <a:xfrm>
                <a:off x="7128075" y="4294641"/>
                <a:ext cx="402650" cy="513276"/>
              </a:xfrm>
              <a:custGeom>
                <a:avLst/>
                <a:gdLst>
                  <a:gd name="connsiteX0" fmla="*/ 57275 w 402650"/>
                  <a:gd name="connsiteY0" fmla="*/ 283471 h 513276"/>
                  <a:gd name="connsiteX1" fmla="*/ 51191 w 402650"/>
                  <a:gd name="connsiteY1" fmla="*/ 260803 h 513276"/>
                  <a:gd name="connsiteX2" fmla="*/ 55616 w 402650"/>
                  <a:gd name="connsiteY2" fmla="*/ 258104 h 513276"/>
                  <a:gd name="connsiteX3" fmla="*/ 67231 w 402650"/>
                  <a:gd name="connsiteY3" fmla="*/ 264041 h 513276"/>
                  <a:gd name="connsiteX4" fmla="*/ 71103 w 402650"/>
                  <a:gd name="connsiteY4" fmla="*/ 265121 h 513276"/>
                  <a:gd name="connsiteX5" fmla="*/ 81058 w 402650"/>
                  <a:gd name="connsiteY5" fmla="*/ 251088 h 513276"/>
                  <a:gd name="connsiteX6" fmla="*/ 78846 w 402650"/>
                  <a:gd name="connsiteY6" fmla="*/ 240833 h 513276"/>
                  <a:gd name="connsiteX7" fmla="*/ 44001 w 402650"/>
                  <a:gd name="connsiteY7" fmla="*/ 217625 h 513276"/>
                  <a:gd name="connsiteX8" fmla="*/ 40682 w 402650"/>
                  <a:gd name="connsiteY8" fmla="*/ 211688 h 513276"/>
                  <a:gd name="connsiteX9" fmla="*/ 51191 w 402650"/>
                  <a:gd name="connsiteY9" fmla="*/ 155017 h 513276"/>
                  <a:gd name="connsiteX10" fmla="*/ 37917 w 402650"/>
                  <a:gd name="connsiteY10" fmla="*/ 139905 h 513276"/>
                  <a:gd name="connsiteX11" fmla="*/ 44001 w 402650"/>
                  <a:gd name="connsiteY11" fmla="*/ 112919 h 513276"/>
                  <a:gd name="connsiteX12" fmla="*/ 24643 w 402650"/>
                  <a:gd name="connsiteY12" fmla="*/ 105902 h 513276"/>
                  <a:gd name="connsiteX13" fmla="*/ 13028 w 402650"/>
                  <a:gd name="connsiteY13" fmla="*/ 85932 h 513276"/>
                  <a:gd name="connsiteX14" fmla="*/ 1413 w 402650"/>
                  <a:gd name="connsiteY14" fmla="*/ 60026 h 513276"/>
                  <a:gd name="connsiteX15" fmla="*/ -799 w 402650"/>
                  <a:gd name="connsiteY15" fmla="*/ 48152 h 513276"/>
                  <a:gd name="connsiteX16" fmla="*/ 14134 w 402650"/>
                  <a:gd name="connsiteY16" fmla="*/ 30881 h 513276"/>
                  <a:gd name="connsiteX17" fmla="*/ 28514 w 402650"/>
                  <a:gd name="connsiteY17" fmla="*/ 29262 h 513276"/>
                  <a:gd name="connsiteX18" fmla="*/ 56722 w 402650"/>
                  <a:gd name="connsiteY18" fmla="*/ 2275 h 513276"/>
                  <a:gd name="connsiteX19" fmla="*/ 73868 w 402650"/>
                  <a:gd name="connsiteY19" fmla="*/ 6053 h 513276"/>
                  <a:gd name="connsiteX20" fmla="*/ 94332 w 402650"/>
                  <a:gd name="connsiteY20" fmla="*/ -423 h 513276"/>
                  <a:gd name="connsiteX21" fmla="*/ 113138 w 402650"/>
                  <a:gd name="connsiteY21" fmla="*/ 2275 h 513276"/>
                  <a:gd name="connsiteX22" fmla="*/ 119775 w 402650"/>
                  <a:gd name="connsiteY22" fmla="*/ 17388 h 513276"/>
                  <a:gd name="connsiteX23" fmla="*/ 130283 w 402650"/>
                  <a:gd name="connsiteY23" fmla="*/ 24944 h 513276"/>
                  <a:gd name="connsiteX24" fmla="*/ 151854 w 402650"/>
                  <a:gd name="connsiteY24" fmla="*/ 33579 h 513276"/>
                  <a:gd name="connsiteX25" fmla="*/ 155726 w 402650"/>
                  <a:gd name="connsiteY25" fmla="*/ 38437 h 513276"/>
                  <a:gd name="connsiteX26" fmla="*/ 161810 w 402650"/>
                  <a:gd name="connsiteY26" fmla="*/ 39516 h 513276"/>
                  <a:gd name="connsiteX27" fmla="*/ 162363 w 402650"/>
                  <a:gd name="connsiteY27" fmla="*/ 55708 h 513276"/>
                  <a:gd name="connsiteX28" fmla="*/ 166234 w 402650"/>
                  <a:gd name="connsiteY28" fmla="*/ 67042 h 513276"/>
                  <a:gd name="connsiteX29" fmla="*/ 179509 w 402650"/>
                  <a:gd name="connsiteY29" fmla="*/ 76757 h 513276"/>
                  <a:gd name="connsiteX30" fmla="*/ 199973 w 402650"/>
                  <a:gd name="connsiteY30" fmla="*/ 84313 h 513276"/>
                  <a:gd name="connsiteX31" fmla="*/ 228181 w 402650"/>
                  <a:gd name="connsiteY31" fmla="*/ 102124 h 513276"/>
                  <a:gd name="connsiteX32" fmla="*/ 234265 w 402650"/>
                  <a:gd name="connsiteY32" fmla="*/ 141524 h 513276"/>
                  <a:gd name="connsiteX33" fmla="*/ 252517 w 402650"/>
                  <a:gd name="connsiteY33" fmla="*/ 149080 h 513276"/>
                  <a:gd name="connsiteX34" fmla="*/ 282937 w 402650"/>
                  <a:gd name="connsiteY34" fmla="*/ 154477 h 513276"/>
                  <a:gd name="connsiteX35" fmla="*/ 292339 w 402650"/>
                  <a:gd name="connsiteY35" fmla="*/ 162573 h 513276"/>
                  <a:gd name="connsiteX36" fmla="*/ 322206 w 402650"/>
                  <a:gd name="connsiteY36" fmla="*/ 135047 h 513276"/>
                  <a:gd name="connsiteX37" fmla="*/ 334374 w 402650"/>
                  <a:gd name="connsiteY37" fmla="*/ 138825 h 513276"/>
                  <a:gd name="connsiteX38" fmla="*/ 337140 w 402650"/>
                  <a:gd name="connsiteY38" fmla="*/ 148540 h 513276"/>
                  <a:gd name="connsiteX39" fmla="*/ 328843 w 402650"/>
                  <a:gd name="connsiteY39" fmla="*/ 152858 h 513276"/>
                  <a:gd name="connsiteX40" fmla="*/ 326631 w 402650"/>
                  <a:gd name="connsiteY40" fmla="*/ 163653 h 513276"/>
                  <a:gd name="connsiteX41" fmla="*/ 341565 w 402650"/>
                  <a:gd name="connsiteY41" fmla="*/ 180384 h 513276"/>
                  <a:gd name="connsiteX42" fmla="*/ 345436 w 402650"/>
                  <a:gd name="connsiteY42" fmla="*/ 190639 h 513276"/>
                  <a:gd name="connsiteX43" fmla="*/ 345436 w 402650"/>
                  <a:gd name="connsiteY43" fmla="*/ 206831 h 513276"/>
                  <a:gd name="connsiteX44" fmla="*/ 333268 w 402650"/>
                  <a:gd name="connsiteY44" fmla="*/ 218165 h 513276"/>
                  <a:gd name="connsiteX45" fmla="*/ 332162 w 402650"/>
                  <a:gd name="connsiteY45" fmla="*/ 244611 h 513276"/>
                  <a:gd name="connsiteX46" fmla="*/ 345989 w 402650"/>
                  <a:gd name="connsiteY46" fmla="*/ 254326 h 513276"/>
                  <a:gd name="connsiteX47" fmla="*/ 355945 w 402650"/>
                  <a:gd name="connsiteY47" fmla="*/ 279153 h 513276"/>
                  <a:gd name="connsiteX48" fmla="*/ 377516 w 402650"/>
                  <a:gd name="connsiteY48" fmla="*/ 283471 h 513276"/>
                  <a:gd name="connsiteX49" fmla="*/ 383600 w 402650"/>
                  <a:gd name="connsiteY49" fmla="*/ 294266 h 513276"/>
                  <a:gd name="connsiteX50" fmla="*/ 401852 w 402650"/>
                  <a:gd name="connsiteY50" fmla="*/ 302362 h 513276"/>
                  <a:gd name="connsiteX51" fmla="*/ 376962 w 402650"/>
                  <a:gd name="connsiteY51" fmla="*/ 342841 h 513276"/>
                  <a:gd name="connsiteX52" fmla="*/ 367560 w 402650"/>
                  <a:gd name="connsiteY52" fmla="*/ 344460 h 513276"/>
                  <a:gd name="connsiteX53" fmla="*/ 360923 w 402650"/>
                  <a:gd name="connsiteY53" fmla="*/ 351476 h 513276"/>
                  <a:gd name="connsiteX54" fmla="*/ 364794 w 402650"/>
                  <a:gd name="connsiteY54" fmla="*/ 362811 h 513276"/>
                  <a:gd name="connsiteX55" fmla="*/ 364241 w 402650"/>
                  <a:gd name="connsiteY55" fmla="*/ 383860 h 513276"/>
                  <a:gd name="connsiteX56" fmla="*/ 376962 w 402650"/>
                  <a:gd name="connsiteY56" fmla="*/ 396813 h 513276"/>
                  <a:gd name="connsiteX57" fmla="*/ 368666 w 402650"/>
                  <a:gd name="connsiteY57" fmla="*/ 413545 h 513276"/>
                  <a:gd name="connsiteX58" fmla="*/ 366454 w 402650"/>
                  <a:gd name="connsiteY58" fmla="*/ 415164 h 513276"/>
                  <a:gd name="connsiteX59" fmla="*/ 358710 w 402650"/>
                  <a:gd name="connsiteY59" fmla="*/ 413545 h 513276"/>
                  <a:gd name="connsiteX60" fmla="*/ 337693 w 402650"/>
                  <a:gd name="connsiteY60" fmla="*/ 423799 h 513276"/>
                  <a:gd name="connsiteX61" fmla="*/ 310591 w 402650"/>
                  <a:gd name="connsiteY61" fmla="*/ 420561 h 513276"/>
                  <a:gd name="connsiteX62" fmla="*/ 298423 w 402650"/>
                  <a:gd name="connsiteY62" fmla="*/ 425958 h 513276"/>
                  <a:gd name="connsiteX63" fmla="*/ 297317 w 402650"/>
                  <a:gd name="connsiteY63" fmla="*/ 442690 h 513276"/>
                  <a:gd name="connsiteX64" fmla="*/ 269110 w 402650"/>
                  <a:gd name="connsiteY64" fmla="*/ 460500 h 513276"/>
                  <a:gd name="connsiteX65" fmla="*/ 261919 w 402650"/>
                  <a:gd name="connsiteY65" fmla="*/ 463199 h 513276"/>
                  <a:gd name="connsiteX66" fmla="*/ 247539 w 402650"/>
                  <a:gd name="connsiteY66" fmla="*/ 499900 h 513276"/>
                  <a:gd name="connsiteX67" fmla="*/ 237030 w 402650"/>
                  <a:gd name="connsiteY67" fmla="*/ 504758 h 513276"/>
                  <a:gd name="connsiteX68" fmla="*/ 222650 w 402650"/>
                  <a:gd name="connsiteY68" fmla="*/ 509076 h 513276"/>
                  <a:gd name="connsiteX69" fmla="*/ 213800 w 402650"/>
                  <a:gd name="connsiteY69" fmla="*/ 508536 h 513276"/>
                  <a:gd name="connsiteX70" fmla="*/ 219884 w 402650"/>
                  <a:gd name="connsiteY70" fmla="*/ 486407 h 513276"/>
                  <a:gd name="connsiteX71" fmla="*/ 199420 w 402650"/>
                  <a:gd name="connsiteY71" fmla="*/ 455643 h 513276"/>
                  <a:gd name="connsiteX72" fmla="*/ 187805 w 402650"/>
                  <a:gd name="connsiteY72" fmla="*/ 449166 h 513276"/>
                  <a:gd name="connsiteX73" fmla="*/ 178402 w 402650"/>
                  <a:gd name="connsiteY73" fmla="*/ 446468 h 513276"/>
                  <a:gd name="connsiteX74" fmla="*/ 169000 w 402650"/>
                  <a:gd name="connsiteY74" fmla="*/ 426498 h 513276"/>
                  <a:gd name="connsiteX75" fmla="*/ 157938 w 402650"/>
                  <a:gd name="connsiteY75" fmla="*/ 424339 h 513276"/>
                  <a:gd name="connsiteX76" fmla="*/ 149642 w 402650"/>
                  <a:gd name="connsiteY76" fmla="*/ 428657 h 513276"/>
                  <a:gd name="connsiteX77" fmla="*/ 143558 w 402650"/>
                  <a:gd name="connsiteY77" fmla="*/ 435673 h 513276"/>
                  <a:gd name="connsiteX78" fmla="*/ 133602 w 402650"/>
                  <a:gd name="connsiteY78" fmla="*/ 435133 h 513276"/>
                  <a:gd name="connsiteX79" fmla="*/ 129730 w 402650"/>
                  <a:gd name="connsiteY79" fmla="*/ 418942 h 513276"/>
                  <a:gd name="connsiteX80" fmla="*/ 122540 w 402650"/>
                  <a:gd name="connsiteY80" fmla="*/ 421640 h 513276"/>
                  <a:gd name="connsiteX81" fmla="*/ 98204 w 402650"/>
                  <a:gd name="connsiteY81" fmla="*/ 479931 h 513276"/>
                  <a:gd name="connsiteX82" fmla="*/ 107054 w 402650"/>
                  <a:gd name="connsiteY82" fmla="*/ 484788 h 513276"/>
                  <a:gd name="connsiteX83" fmla="*/ 109266 w 402650"/>
                  <a:gd name="connsiteY83" fmla="*/ 490725 h 513276"/>
                  <a:gd name="connsiteX84" fmla="*/ 109819 w 402650"/>
                  <a:gd name="connsiteY84" fmla="*/ 512854 h 513276"/>
                  <a:gd name="connsiteX85" fmla="*/ 90461 w 402650"/>
                  <a:gd name="connsiteY85" fmla="*/ 502059 h 513276"/>
                  <a:gd name="connsiteX86" fmla="*/ 79952 w 402650"/>
                  <a:gd name="connsiteY86" fmla="*/ 488026 h 513276"/>
                  <a:gd name="connsiteX87" fmla="*/ 66678 w 402650"/>
                  <a:gd name="connsiteY87" fmla="*/ 482629 h 513276"/>
                  <a:gd name="connsiteX88" fmla="*/ 57275 w 402650"/>
                  <a:gd name="connsiteY88" fmla="*/ 467517 h 513276"/>
                  <a:gd name="connsiteX89" fmla="*/ 43448 w 402650"/>
                  <a:gd name="connsiteY89" fmla="*/ 465898 h 513276"/>
                  <a:gd name="connsiteX90" fmla="*/ 27961 w 402650"/>
                  <a:gd name="connsiteY90" fmla="*/ 456183 h 513276"/>
                  <a:gd name="connsiteX91" fmla="*/ 14687 w 402650"/>
                  <a:gd name="connsiteY91" fmla="*/ 458881 h 513276"/>
                  <a:gd name="connsiteX92" fmla="*/ 13028 w 402650"/>
                  <a:gd name="connsiteY92" fmla="*/ 444848 h 513276"/>
                  <a:gd name="connsiteX93" fmla="*/ 17453 w 402650"/>
                  <a:gd name="connsiteY93" fmla="*/ 433514 h 513276"/>
                  <a:gd name="connsiteX94" fmla="*/ 28514 w 402650"/>
                  <a:gd name="connsiteY94" fmla="*/ 421101 h 513276"/>
                  <a:gd name="connsiteX95" fmla="*/ 24643 w 402650"/>
                  <a:gd name="connsiteY95" fmla="*/ 398432 h 513276"/>
                  <a:gd name="connsiteX96" fmla="*/ 25749 w 402650"/>
                  <a:gd name="connsiteY96" fmla="*/ 386019 h 513276"/>
                  <a:gd name="connsiteX97" fmla="*/ 36258 w 402650"/>
                  <a:gd name="connsiteY97" fmla="*/ 374145 h 513276"/>
                  <a:gd name="connsiteX98" fmla="*/ 20771 w 402650"/>
                  <a:gd name="connsiteY98" fmla="*/ 355254 h 513276"/>
                  <a:gd name="connsiteX99" fmla="*/ 14134 w 402650"/>
                  <a:gd name="connsiteY99" fmla="*/ 340142 h 513276"/>
                  <a:gd name="connsiteX100" fmla="*/ 10816 w 402650"/>
                  <a:gd name="connsiteY100" fmla="*/ 319633 h 513276"/>
                  <a:gd name="connsiteX101" fmla="*/ 34045 w 402650"/>
                  <a:gd name="connsiteY101" fmla="*/ 310457 h 513276"/>
                  <a:gd name="connsiteX102" fmla="*/ 65019 w 402650"/>
                  <a:gd name="connsiteY102" fmla="*/ 324490 h 513276"/>
                  <a:gd name="connsiteX103" fmla="*/ 67784 w 402650"/>
                  <a:gd name="connsiteY103" fmla="*/ 320712 h 513276"/>
                  <a:gd name="connsiteX104" fmla="*/ 45660 w 402650"/>
                  <a:gd name="connsiteY104" fmla="*/ 303981 h 513276"/>
                  <a:gd name="connsiteX105" fmla="*/ 68337 w 402650"/>
                  <a:gd name="connsiteY105" fmla="*/ 294266 h 513276"/>
                  <a:gd name="connsiteX106" fmla="*/ 57275 w 402650"/>
                  <a:gd name="connsiteY106" fmla="*/ 283471 h 513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402650" h="513276">
                    <a:moveTo>
                      <a:pt x="57275" y="283471"/>
                    </a:moveTo>
                    <a:cubicBezTo>
                      <a:pt x="59488" y="274296"/>
                      <a:pt x="48426" y="266200"/>
                      <a:pt x="51191" y="260803"/>
                    </a:cubicBezTo>
                    <a:cubicBezTo>
                      <a:pt x="51744" y="259184"/>
                      <a:pt x="53957" y="258104"/>
                      <a:pt x="55616" y="258104"/>
                    </a:cubicBezTo>
                    <a:cubicBezTo>
                      <a:pt x="62253" y="257025"/>
                      <a:pt x="62806" y="261882"/>
                      <a:pt x="67231" y="264041"/>
                    </a:cubicBezTo>
                    <a:cubicBezTo>
                      <a:pt x="68337" y="265121"/>
                      <a:pt x="69996" y="265121"/>
                      <a:pt x="71103" y="265121"/>
                    </a:cubicBezTo>
                    <a:cubicBezTo>
                      <a:pt x="79399" y="265121"/>
                      <a:pt x="81058" y="258104"/>
                      <a:pt x="81058" y="251088"/>
                    </a:cubicBezTo>
                    <a:cubicBezTo>
                      <a:pt x="81058" y="247849"/>
                      <a:pt x="81058" y="242992"/>
                      <a:pt x="78846" y="240833"/>
                    </a:cubicBezTo>
                    <a:cubicBezTo>
                      <a:pt x="67784" y="224641"/>
                      <a:pt x="55063" y="225181"/>
                      <a:pt x="44001" y="217625"/>
                    </a:cubicBezTo>
                    <a:cubicBezTo>
                      <a:pt x="42342" y="216546"/>
                      <a:pt x="41236" y="213847"/>
                      <a:pt x="40682" y="211688"/>
                    </a:cubicBezTo>
                    <a:cubicBezTo>
                      <a:pt x="37917" y="192258"/>
                      <a:pt x="61700" y="172828"/>
                      <a:pt x="51191" y="155017"/>
                    </a:cubicBezTo>
                    <a:lnTo>
                      <a:pt x="37917" y="139905"/>
                    </a:lnTo>
                    <a:lnTo>
                      <a:pt x="44001" y="112919"/>
                    </a:lnTo>
                    <a:cubicBezTo>
                      <a:pt x="36811" y="112379"/>
                      <a:pt x="30174" y="110220"/>
                      <a:pt x="24643" y="105902"/>
                    </a:cubicBezTo>
                    <a:cubicBezTo>
                      <a:pt x="9156" y="93489"/>
                      <a:pt x="21877" y="99426"/>
                      <a:pt x="13028" y="85932"/>
                    </a:cubicBezTo>
                    <a:cubicBezTo>
                      <a:pt x="9709" y="81075"/>
                      <a:pt x="2519" y="70281"/>
                      <a:pt x="1413" y="60026"/>
                    </a:cubicBezTo>
                    <a:cubicBezTo>
                      <a:pt x="860" y="56787"/>
                      <a:pt x="-246" y="51390"/>
                      <a:pt x="-799" y="48152"/>
                    </a:cubicBezTo>
                    <a:lnTo>
                      <a:pt x="14134" y="30881"/>
                    </a:lnTo>
                    <a:lnTo>
                      <a:pt x="28514" y="29262"/>
                    </a:lnTo>
                    <a:lnTo>
                      <a:pt x="56722" y="2275"/>
                    </a:lnTo>
                    <a:lnTo>
                      <a:pt x="73868" y="6053"/>
                    </a:lnTo>
                    <a:lnTo>
                      <a:pt x="94332" y="-423"/>
                    </a:lnTo>
                    <a:lnTo>
                      <a:pt x="113138" y="2275"/>
                    </a:lnTo>
                    <a:lnTo>
                      <a:pt x="119775" y="17388"/>
                    </a:lnTo>
                    <a:lnTo>
                      <a:pt x="130283" y="24944"/>
                    </a:lnTo>
                    <a:lnTo>
                      <a:pt x="151854" y="33579"/>
                    </a:lnTo>
                    <a:lnTo>
                      <a:pt x="155726" y="38437"/>
                    </a:lnTo>
                    <a:lnTo>
                      <a:pt x="161810" y="39516"/>
                    </a:lnTo>
                    <a:lnTo>
                      <a:pt x="162363" y="55708"/>
                    </a:lnTo>
                    <a:lnTo>
                      <a:pt x="166234" y="67042"/>
                    </a:lnTo>
                    <a:lnTo>
                      <a:pt x="179509" y="76757"/>
                    </a:lnTo>
                    <a:lnTo>
                      <a:pt x="199973" y="84313"/>
                    </a:lnTo>
                    <a:lnTo>
                      <a:pt x="228181" y="102124"/>
                    </a:lnTo>
                    <a:lnTo>
                      <a:pt x="234265" y="141524"/>
                    </a:lnTo>
                    <a:cubicBezTo>
                      <a:pt x="240902" y="144223"/>
                      <a:pt x="244773" y="147461"/>
                      <a:pt x="252517" y="149080"/>
                    </a:cubicBezTo>
                    <a:cubicBezTo>
                      <a:pt x="262472" y="150699"/>
                      <a:pt x="273534" y="148540"/>
                      <a:pt x="282937" y="154477"/>
                    </a:cubicBezTo>
                    <a:cubicBezTo>
                      <a:pt x="285702" y="156097"/>
                      <a:pt x="289021" y="163653"/>
                      <a:pt x="292339" y="162573"/>
                    </a:cubicBezTo>
                    <a:cubicBezTo>
                      <a:pt x="307273" y="158255"/>
                      <a:pt x="294552" y="135047"/>
                      <a:pt x="322206" y="135047"/>
                    </a:cubicBezTo>
                    <a:cubicBezTo>
                      <a:pt x="324972" y="135047"/>
                      <a:pt x="332162" y="136666"/>
                      <a:pt x="334374" y="138825"/>
                    </a:cubicBezTo>
                    <a:cubicBezTo>
                      <a:pt x="336587" y="140445"/>
                      <a:pt x="339352" y="146382"/>
                      <a:pt x="337140" y="148540"/>
                    </a:cubicBezTo>
                    <a:cubicBezTo>
                      <a:pt x="335481" y="150160"/>
                      <a:pt x="331056" y="151239"/>
                      <a:pt x="328843" y="152858"/>
                    </a:cubicBezTo>
                    <a:cubicBezTo>
                      <a:pt x="327737" y="154477"/>
                      <a:pt x="326078" y="162033"/>
                      <a:pt x="326631" y="163653"/>
                    </a:cubicBezTo>
                    <a:cubicBezTo>
                      <a:pt x="328843" y="167970"/>
                      <a:pt x="337140" y="178225"/>
                      <a:pt x="341565" y="180384"/>
                    </a:cubicBezTo>
                    <a:lnTo>
                      <a:pt x="345436" y="190639"/>
                    </a:lnTo>
                    <a:lnTo>
                      <a:pt x="345436" y="206831"/>
                    </a:lnTo>
                    <a:lnTo>
                      <a:pt x="333268" y="218165"/>
                    </a:lnTo>
                    <a:lnTo>
                      <a:pt x="332162" y="244611"/>
                    </a:lnTo>
                    <a:lnTo>
                      <a:pt x="345989" y="254326"/>
                    </a:lnTo>
                    <a:lnTo>
                      <a:pt x="355945" y="279153"/>
                    </a:lnTo>
                    <a:lnTo>
                      <a:pt x="377516" y="283471"/>
                    </a:lnTo>
                    <a:lnTo>
                      <a:pt x="383600" y="294266"/>
                    </a:lnTo>
                    <a:lnTo>
                      <a:pt x="401852" y="302362"/>
                    </a:lnTo>
                    <a:lnTo>
                      <a:pt x="376962" y="342841"/>
                    </a:lnTo>
                    <a:lnTo>
                      <a:pt x="367560" y="344460"/>
                    </a:lnTo>
                    <a:lnTo>
                      <a:pt x="360923" y="351476"/>
                    </a:lnTo>
                    <a:lnTo>
                      <a:pt x="364794" y="362811"/>
                    </a:lnTo>
                    <a:lnTo>
                      <a:pt x="364241" y="383860"/>
                    </a:lnTo>
                    <a:lnTo>
                      <a:pt x="376962" y="396813"/>
                    </a:lnTo>
                    <a:lnTo>
                      <a:pt x="368666" y="413545"/>
                    </a:lnTo>
                    <a:lnTo>
                      <a:pt x="366454" y="415164"/>
                    </a:lnTo>
                    <a:lnTo>
                      <a:pt x="358710" y="413545"/>
                    </a:lnTo>
                    <a:lnTo>
                      <a:pt x="337693" y="423799"/>
                    </a:lnTo>
                    <a:lnTo>
                      <a:pt x="310591" y="420561"/>
                    </a:lnTo>
                    <a:lnTo>
                      <a:pt x="298423" y="425958"/>
                    </a:lnTo>
                    <a:lnTo>
                      <a:pt x="297317" y="442690"/>
                    </a:lnTo>
                    <a:lnTo>
                      <a:pt x="269110" y="460500"/>
                    </a:lnTo>
                    <a:lnTo>
                      <a:pt x="261919" y="463199"/>
                    </a:lnTo>
                    <a:lnTo>
                      <a:pt x="247539" y="499900"/>
                    </a:lnTo>
                    <a:lnTo>
                      <a:pt x="237030" y="504758"/>
                    </a:lnTo>
                    <a:lnTo>
                      <a:pt x="222650" y="509076"/>
                    </a:lnTo>
                    <a:lnTo>
                      <a:pt x="213800" y="508536"/>
                    </a:lnTo>
                    <a:lnTo>
                      <a:pt x="219884" y="486407"/>
                    </a:lnTo>
                    <a:lnTo>
                      <a:pt x="199420" y="455643"/>
                    </a:lnTo>
                    <a:lnTo>
                      <a:pt x="187805" y="449166"/>
                    </a:lnTo>
                    <a:lnTo>
                      <a:pt x="178402" y="446468"/>
                    </a:lnTo>
                    <a:lnTo>
                      <a:pt x="169000" y="426498"/>
                    </a:lnTo>
                    <a:lnTo>
                      <a:pt x="157938" y="424339"/>
                    </a:lnTo>
                    <a:lnTo>
                      <a:pt x="149642" y="428657"/>
                    </a:lnTo>
                    <a:lnTo>
                      <a:pt x="143558" y="435673"/>
                    </a:lnTo>
                    <a:lnTo>
                      <a:pt x="133602" y="435133"/>
                    </a:lnTo>
                    <a:lnTo>
                      <a:pt x="129730" y="418942"/>
                    </a:lnTo>
                    <a:lnTo>
                      <a:pt x="122540" y="421640"/>
                    </a:lnTo>
                    <a:lnTo>
                      <a:pt x="98204" y="479931"/>
                    </a:lnTo>
                    <a:lnTo>
                      <a:pt x="107054" y="484788"/>
                    </a:lnTo>
                    <a:lnTo>
                      <a:pt x="109266" y="490725"/>
                    </a:lnTo>
                    <a:lnTo>
                      <a:pt x="109819" y="512854"/>
                    </a:lnTo>
                    <a:cubicBezTo>
                      <a:pt x="103735" y="511774"/>
                      <a:pt x="93779" y="507456"/>
                      <a:pt x="90461" y="502059"/>
                    </a:cubicBezTo>
                    <a:cubicBezTo>
                      <a:pt x="86589" y="496662"/>
                      <a:pt x="86589" y="491804"/>
                      <a:pt x="79952" y="488026"/>
                    </a:cubicBezTo>
                    <a:cubicBezTo>
                      <a:pt x="76080" y="485328"/>
                      <a:pt x="70549" y="485328"/>
                      <a:pt x="66678" y="482629"/>
                    </a:cubicBezTo>
                    <a:cubicBezTo>
                      <a:pt x="62253" y="479931"/>
                      <a:pt x="60041" y="469136"/>
                      <a:pt x="57275" y="467517"/>
                    </a:cubicBezTo>
                    <a:cubicBezTo>
                      <a:pt x="54510" y="465898"/>
                      <a:pt x="46766" y="467517"/>
                      <a:pt x="43448" y="465898"/>
                    </a:cubicBezTo>
                    <a:cubicBezTo>
                      <a:pt x="37917" y="463739"/>
                      <a:pt x="36258" y="455103"/>
                      <a:pt x="27961" y="456183"/>
                    </a:cubicBezTo>
                    <a:cubicBezTo>
                      <a:pt x="21877" y="457802"/>
                      <a:pt x="22984" y="462659"/>
                      <a:pt x="14687" y="458881"/>
                    </a:cubicBezTo>
                    <a:lnTo>
                      <a:pt x="13028" y="444848"/>
                    </a:lnTo>
                    <a:lnTo>
                      <a:pt x="17453" y="433514"/>
                    </a:lnTo>
                    <a:lnTo>
                      <a:pt x="28514" y="421101"/>
                    </a:lnTo>
                    <a:lnTo>
                      <a:pt x="24643" y="398432"/>
                    </a:lnTo>
                    <a:lnTo>
                      <a:pt x="25749" y="386019"/>
                    </a:lnTo>
                    <a:lnTo>
                      <a:pt x="36258" y="374145"/>
                    </a:lnTo>
                    <a:lnTo>
                      <a:pt x="20771" y="355254"/>
                    </a:lnTo>
                    <a:lnTo>
                      <a:pt x="14134" y="340142"/>
                    </a:lnTo>
                    <a:lnTo>
                      <a:pt x="10816" y="319633"/>
                    </a:lnTo>
                    <a:lnTo>
                      <a:pt x="34045" y="310457"/>
                    </a:lnTo>
                    <a:cubicBezTo>
                      <a:pt x="40129" y="313156"/>
                      <a:pt x="61147" y="321252"/>
                      <a:pt x="65019" y="324490"/>
                    </a:cubicBezTo>
                    <a:lnTo>
                      <a:pt x="67784" y="320712"/>
                    </a:lnTo>
                    <a:lnTo>
                      <a:pt x="45660" y="303981"/>
                    </a:lnTo>
                    <a:lnTo>
                      <a:pt x="68337" y="294266"/>
                    </a:lnTo>
                    <a:lnTo>
                      <a:pt x="57275" y="283471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13" name="Freeform 1049">
                <a:extLst>
                  <a:ext uri="{FF2B5EF4-FFF2-40B4-BE49-F238E27FC236}">
                    <a16:creationId xmlns:a16="http://schemas.microsoft.com/office/drawing/2014/main" id="{1CEAFD49-B4EA-4824-AABA-D8EB58D6A99B}"/>
                  </a:ext>
                </a:extLst>
              </p:cNvPr>
              <p:cNvSpPr/>
              <p:nvPr/>
            </p:nvSpPr>
            <p:spPr>
              <a:xfrm>
                <a:off x="5085506" y="2646326"/>
                <a:ext cx="663217" cy="1202560"/>
              </a:xfrm>
              <a:custGeom>
                <a:avLst/>
                <a:gdLst>
                  <a:gd name="connsiteX0" fmla="*/ 400431 w 663217"/>
                  <a:gd name="connsiteY0" fmla="*/ 1157990 h 1202560"/>
                  <a:gd name="connsiteX1" fmla="*/ 428639 w 663217"/>
                  <a:gd name="connsiteY1" fmla="*/ 1159609 h 1202560"/>
                  <a:gd name="connsiteX2" fmla="*/ 428086 w 663217"/>
                  <a:gd name="connsiteY2" fmla="*/ 1162847 h 1202560"/>
                  <a:gd name="connsiteX3" fmla="*/ 415918 w 663217"/>
                  <a:gd name="connsiteY3" fmla="*/ 1170943 h 1202560"/>
                  <a:gd name="connsiteX4" fmla="*/ 395453 w 663217"/>
                  <a:gd name="connsiteY4" fmla="*/ 1161768 h 1202560"/>
                  <a:gd name="connsiteX5" fmla="*/ 400431 w 663217"/>
                  <a:gd name="connsiteY5" fmla="*/ 1157990 h 1202560"/>
                  <a:gd name="connsiteX6" fmla="*/ 116142 w 663217"/>
                  <a:gd name="connsiteY6" fmla="*/ 711639 h 1202560"/>
                  <a:gd name="connsiteX7" fmla="*/ 92912 w 663217"/>
                  <a:gd name="connsiteY7" fmla="*/ 710559 h 1202560"/>
                  <a:gd name="connsiteX8" fmla="*/ 92359 w 663217"/>
                  <a:gd name="connsiteY8" fmla="*/ 692748 h 1202560"/>
                  <a:gd name="connsiteX9" fmla="*/ 81297 w 663217"/>
                  <a:gd name="connsiteY9" fmla="*/ 684113 h 1202560"/>
                  <a:gd name="connsiteX10" fmla="*/ 81850 w 663217"/>
                  <a:gd name="connsiteY10" fmla="*/ 675477 h 1202560"/>
                  <a:gd name="connsiteX11" fmla="*/ 70235 w 663217"/>
                  <a:gd name="connsiteY11" fmla="*/ 659825 h 1202560"/>
                  <a:gd name="connsiteX12" fmla="*/ 58620 w 663217"/>
                  <a:gd name="connsiteY12" fmla="*/ 670620 h 1202560"/>
                  <a:gd name="connsiteX13" fmla="*/ 58067 w 663217"/>
                  <a:gd name="connsiteY13" fmla="*/ 683573 h 1202560"/>
                  <a:gd name="connsiteX14" fmla="*/ 48665 w 663217"/>
                  <a:gd name="connsiteY14" fmla="*/ 692209 h 1202560"/>
                  <a:gd name="connsiteX15" fmla="*/ 40921 w 663217"/>
                  <a:gd name="connsiteY15" fmla="*/ 684653 h 1202560"/>
                  <a:gd name="connsiteX16" fmla="*/ 26541 w 663217"/>
                  <a:gd name="connsiteY16" fmla="*/ 682494 h 1202560"/>
                  <a:gd name="connsiteX17" fmla="*/ 21010 w 663217"/>
                  <a:gd name="connsiteY17" fmla="*/ 676557 h 1202560"/>
                  <a:gd name="connsiteX18" fmla="*/ 9948 w 663217"/>
                  <a:gd name="connsiteY18" fmla="*/ 671159 h 1202560"/>
                  <a:gd name="connsiteX19" fmla="*/ 546 w 663217"/>
                  <a:gd name="connsiteY19" fmla="*/ 650650 h 1202560"/>
                  <a:gd name="connsiteX20" fmla="*/ -561 w 663217"/>
                  <a:gd name="connsiteY20" fmla="*/ 641475 h 1202560"/>
                  <a:gd name="connsiteX21" fmla="*/ 12161 w 663217"/>
                  <a:gd name="connsiteY21" fmla="*/ 632839 h 1202560"/>
                  <a:gd name="connsiteX22" fmla="*/ 19351 w 663217"/>
                  <a:gd name="connsiteY22" fmla="*/ 637157 h 1202560"/>
                  <a:gd name="connsiteX23" fmla="*/ 27647 w 663217"/>
                  <a:gd name="connsiteY23" fmla="*/ 629061 h 1202560"/>
                  <a:gd name="connsiteX24" fmla="*/ 21010 w 663217"/>
                  <a:gd name="connsiteY24" fmla="*/ 623124 h 1202560"/>
                  <a:gd name="connsiteX25" fmla="*/ 21563 w 663217"/>
                  <a:gd name="connsiteY25" fmla="*/ 615568 h 1202560"/>
                  <a:gd name="connsiteX26" fmla="*/ 27647 w 663217"/>
                  <a:gd name="connsiteY26" fmla="*/ 615028 h 1202560"/>
                  <a:gd name="connsiteX27" fmla="*/ 33178 w 663217"/>
                  <a:gd name="connsiteY27" fmla="*/ 619346 h 1202560"/>
                  <a:gd name="connsiteX28" fmla="*/ 45899 w 663217"/>
                  <a:gd name="connsiteY28" fmla="*/ 614489 h 1202560"/>
                  <a:gd name="connsiteX29" fmla="*/ 58067 w 663217"/>
                  <a:gd name="connsiteY29" fmla="*/ 592360 h 1202560"/>
                  <a:gd name="connsiteX30" fmla="*/ 74660 w 663217"/>
                  <a:gd name="connsiteY30" fmla="*/ 583724 h 1202560"/>
                  <a:gd name="connsiteX31" fmla="*/ 86275 w 663217"/>
                  <a:gd name="connsiteY31" fmla="*/ 580486 h 1202560"/>
                  <a:gd name="connsiteX32" fmla="*/ 106739 w 663217"/>
                  <a:gd name="connsiteY32" fmla="*/ 577248 h 1202560"/>
                  <a:gd name="connsiteX33" fmla="*/ 120567 w 663217"/>
                  <a:gd name="connsiteY33" fmla="*/ 574009 h 1202560"/>
                  <a:gd name="connsiteX34" fmla="*/ 126098 w 663217"/>
                  <a:gd name="connsiteY34" fmla="*/ 574549 h 1202560"/>
                  <a:gd name="connsiteX35" fmla="*/ 127204 w 663217"/>
                  <a:gd name="connsiteY35" fmla="*/ 572930 h 1202560"/>
                  <a:gd name="connsiteX36" fmla="*/ 146009 w 663217"/>
                  <a:gd name="connsiteY36" fmla="*/ 578867 h 1202560"/>
                  <a:gd name="connsiteX37" fmla="*/ 160389 w 663217"/>
                  <a:gd name="connsiteY37" fmla="*/ 621505 h 1202560"/>
                  <a:gd name="connsiteX38" fmla="*/ 167579 w 663217"/>
                  <a:gd name="connsiteY38" fmla="*/ 633379 h 1202560"/>
                  <a:gd name="connsiteX39" fmla="*/ 157071 w 663217"/>
                  <a:gd name="connsiteY39" fmla="*/ 644713 h 1202560"/>
                  <a:gd name="connsiteX40" fmla="*/ 155965 w 663217"/>
                  <a:gd name="connsiteY40" fmla="*/ 646872 h 1202560"/>
                  <a:gd name="connsiteX41" fmla="*/ 173663 w 663217"/>
                  <a:gd name="connsiteY41" fmla="*/ 650110 h 1202560"/>
                  <a:gd name="connsiteX42" fmla="*/ 175876 w 663217"/>
                  <a:gd name="connsiteY42" fmla="*/ 684113 h 1202560"/>
                  <a:gd name="connsiteX43" fmla="*/ 174217 w 663217"/>
                  <a:gd name="connsiteY43" fmla="*/ 684113 h 1202560"/>
                  <a:gd name="connsiteX44" fmla="*/ 168686 w 663217"/>
                  <a:gd name="connsiteY44" fmla="*/ 669001 h 1202560"/>
                  <a:gd name="connsiteX45" fmla="*/ 167026 w 663217"/>
                  <a:gd name="connsiteY45" fmla="*/ 669540 h 1202560"/>
                  <a:gd name="connsiteX46" fmla="*/ 161495 w 663217"/>
                  <a:gd name="connsiteY46" fmla="*/ 683573 h 1202560"/>
                  <a:gd name="connsiteX47" fmla="*/ 165920 w 663217"/>
                  <a:gd name="connsiteY47" fmla="*/ 698146 h 1202560"/>
                  <a:gd name="connsiteX48" fmla="*/ 147668 w 663217"/>
                  <a:gd name="connsiteY48" fmla="*/ 699765 h 1202560"/>
                  <a:gd name="connsiteX49" fmla="*/ 132735 w 663217"/>
                  <a:gd name="connsiteY49" fmla="*/ 715417 h 1202560"/>
                  <a:gd name="connsiteX50" fmla="*/ 116142 w 663217"/>
                  <a:gd name="connsiteY50" fmla="*/ 711639 h 1202560"/>
                  <a:gd name="connsiteX51" fmla="*/ 226760 w 663217"/>
                  <a:gd name="connsiteY51" fmla="*/ 440158 h 1202560"/>
                  <a:gd name="connsiteX52" fmla="*/ 230632 w 663217"/>
                  <a:gd name="connsiteY52" fmla="*/ 432062 h 1202560"/>
                  <a:gd name="connsiteX53" fmla="*/ 243353 w 663217"/>
                  <a:gd name="connsiteY53" fmla="*/ 421807 h 1202560"/>
                  <a:gd name="connsiteX54" fmla="*/ 249990 w 663217"/>
                  <a:gd name="connsiteY54" fmla="*/ 412092 h 1202560"/>
                  <a:gd name="connsiteX55" fmla="*/ 254968 w 663217"/>
                  <a:gd name="connsiteY55" fmla="*/ 406695 h 1202560"/>
                  <a:gd name="connsiteX56" fmla="*/ 252756 w 663217"/>
                  <a:gd name="connsiteY56" fmla="*/ 404536 h 1202560"/>
                  <a:gd name="connsiteX57" fmla="*/ 215145 w 663217"/>
                  <a:gd name="connsiteY57" fmla="*/ 433141 h 1202560"/>
                  <a:gd name="connsiteX58" fmla="*/ 197999 w 663217"/>
                  <a:gd name="connsiteY58" fmla="*/ 425046 h 1202560"/>
                  <a:gd name="connsiteX59" fmla="*/ 190809 w 663217"/>
                  <a:gd name="connsiteY59" fmla="*/ 414251 h 1202560"/>
                  <a:gd name="connsiteX60" fmla="*/ 183619 w 663217"/>
                  <a:gd name="connsiteY60" fmla="*/ 409394 h 1202560"/>
                  <a:gd name="connsiteX61" fmla="*/ 183066 w 663217"/>
                  <a:gd name="connsiteY61" fmla="*/ 403996 h 1202560"/>
                  <a:gd name="connsiteX62" fmla="*/ 202424 w 663217"/>
                  <a:gd name="connsiteY62" fmla="*/ 402377 h 1202560"/>
                  <a:gd name="connsiteX63" fmla="*/ 211827 w 663217"/>
                  <a:gd name="connsiteY63" fmla="*/ 397520 h 1202560"/>
                  <a:gd name="connsiteX64" fmla="*/ 213486 w 663217"/>
                  <a:gd name="connsiteY64" fmla="*/ 391583 h 1202560"/>
                  <a:gd name="connsiteX65" fmla="*/ 210721 w 663217"/>
                  <a:gd name="connsiteY65" fmla="*/ 380249 h 1202560"/>
                  <a:gd name="connsiteX66" fmla="*/ 221782 w 663217"/>
                  <a:gd name="connsiteY66" fmla="*/ 378629 h 1202560"/>
                  <a:gd name="connsiteX67" fmla="*/ 223442 w 663217"/>
                  <a:gd name="connsiteY67" fmla="*/ 365676 h 1202560"/>
                  <a:gd name="connsiteX68" fmla="*/ 228420 w 663217"/>
                  <a:gd name="connsiteY68" fmla="*/ 367835 h 1202560"/>
                  <a:gd name="connsiteX69" fmla="*/ 234504 w 663217"/>
                  <a:gd name="connsiteY69" fmla="*/ 366216 h 1202560"/>
                  <a:gd name="connsiteX70" fmla="*/ 227866 w 663217"/>
                  <a:gd name="connsiteY70" fmla="*/ 357040 h 1202560"/>
                  <a:gd name="connsiteX71" fmla="*/ 235057 w 663217"/>
                  <a:gd name="connsiteY71" fmla="*/ 348945 h 1202560"/>
                  <a:gd name="connsiteX72" fmla="*/ 233397 w 663217"/>
                  <a:gd name="connsiteY72" fmla="*/ 343547 h 1202560"/>
                  <a:gd name="connsiteX73" fmla="*/ 231185 w 663217"/>
                  <a:gd name="connsiteY73" fmla="*/ 343008 h 1202560"/>
                  <a:gd name="connsiteX74" fmla="*/ 233950 w 663217"/>
                  <a:gd name="connsiteY74" fmla="*/ 341389 h 1202560"/>
                  <a:gd name="connsiteX75" fmla="*/ 238375 w 663217"/>
                  <a:gd name="connsiteY75" fmla="*/ 335991 h 1202560"/>
                  <a:gd name="connsiteX76" fmla="*/ 222336 w 663217"/>
                  <a:gd name="connsiteY76" fmla="*/ 329515 h 1202560"/>
                  <a:gd name="connsiteX77" fmla="*/ 222336 w 663217"/>
                  <a:gd name="connsiteY77" fmla="*/ 313323 h 1202560"/>
                  <a:gd name="connsiteX78" fmla="*/ 223995 w 663217"/>
                  <a:gd name="connsiteY78" fmla="*/ 312783 h 1202560"/>
                  <a:gd name="connsiteX79" fmla="*/ 230632 w 663217"/>
                  <a:gd name="connsiteY79" fmla="*/ 315482 h 1202560"/>
                  <a:gd name="connsiteX80" fmla="*/ 231185 w 663217"/>
                  <a:gd name="connsiteY80" fmla="*/ 317101 h 1202560"/>
                  <a:gd name="connsiteX81" fmla="*/ 238375 w 663217"/>
                  <a:gd name="connsiteY81" fmla="*/ 312783 h 1202560"/>
                  <a:gd name="connsiteX82" fmla="*/ 234504 w 663217"/>
                  <a:gd name="connsiteY82" fmla="*/ 309005 h 1202560"/>
                  <a:gd name="connsiteX83" fmla="*/ 234504 w 663217"/>
                  <a:gd name="connsiteY83" fmla="*/ 296591 h 1202560"/>
                  <a:gd name="connsiteX84" fmla="*/ 231738 w 663217"/>
                  <a:gd name="connsiteY84" fmla="*/ 292813 h 1202560"/>
                  <a:gd name="connsiteX85" fmla="*/ 234504 w 663217"/>
                  <a:gd name="connsiteY85" fmla="*/ 279860 h 1202560"/>
                  <a:gd name="connsiteX86" fmla="*/ 240588 w 663217"/>
                  <a:gd name="connsiteY86" fmla="*/ 285797 h 1202560"/>
                  <a:gd name="connsiteX87" fmla="*/ 246119 w 663217"/>
                  <a:gd name="connsiteY87" fmla="*/ 286337 h 1202560"/>
                  <a:gd name="connsiteX88" fmla="*/ 243353 w 663217"/>
                  <a:gd name="connsiteY88" fmla="*/ 280400 h 1202560"/>
                  <a:gd name="connsiteX89" fmla="*/ 247225 w 663217"/>
                  <a:gd name="connsiteY89" fmla="*/ 273923 h 1202560"/>
                  <a:gd name="connsiteX90" fmla="*/ 251649 w 663217"/>
                  <a:gd name="connsiteY90" fmla="*/ 278241 h 1202560"/>
                  <a:gd name="connsiteX91" fmla="*/ 258840 w 663217"/>
                  <a:gd name="connsiteY91" fmla="*/ 276622 h 1202560"/>
                  <a:gd name="connsiteX92" fmla="*/ 273220 w 663217"/>
                  <a:gd name="connsiteY92" fmla="*/ 274463 h 1202560"/>
                  <a:gd name="connsiteX93" fmla="*/ 273773 w 663217"/>
                  <a:gd name="connsiteY93" fmla="*/ 272844 h 1202560"/>
                  <a:gd name="connsiteX94" fmla="*/ 263264 w 663217"/>
                  <a:gd name="connsiteY94" fmla="*/ 257731 h 1202560"/>
                  <a:gd name="connsiteX95" fmla="*/ 272114 w 663217"/>
                  <a:gd name="connsiteY95" fmla="*/ 254493 h 1202560"/>
                  <a:gd name="connsiteX96" fmla="*/ 268795 w 663217"/>
                  <a:gd name="connsiteY96" fmla="*/ 238841 h 1202560"/>
                  <a:gd name="connsiteX97" fmla="*/ 286494 w 663217"/>
                  <a:gd name="connsiteY97" fmla="*/ 235603 h 1202560"/>
                  <a:gd name="connsiteX98" fmla="*/ 289813 w 663217"/>
                  <a:gd name="connsiteY98" fmla="*/ 222649 h 1202560"/>
                  <a:gd name="connsiteX99" fmla="*/ 296450 w 663217"/>
                  <a:gd name="connsiteY99" fmla="*/ 214554 h 1202560"/>
                  <a:gd name="connsiteX100" fmla="*/ 295344 w 663217"/>
                  <a:gd name="connsiteY100" fmla="*/ 213474 h 1202560"/>
                  <a:gd name="connsiteX101" fmla="*/ 293684 w 663217"/>
                  <a:gd name="connsiteY101" fmla="*/ 209156 h 1202560"/>
                  <a:gd name="connsiteX102" fmla="*/ 300875 w 663217"/>
                  <a:gd name="connsiteY102" fmla="*/ 197822 h 1202560"/>
                  <a:gd name="connsiteX103" fmla="*/ 319680 w 663217"/>
                  <a:gd name="connsiteY103" fmla="*/ 206997 h 1202560"/>
                  <a:gd name="connsiteX104" fmla="*/ 328529 w 663217"/>
                  <a:gd name="connsiteY104" fmla="*/ 206997 h 1202560"/>
                  <a:gd name="connsiteX105" fmla="*/ 334613 w 663217"/>
                  <a:gd name="connsiteY105" fmla="*/ 213474 h 1202560"/>
                  <a:gd name="connsiteX106" fmla="*/ 352312 w 663217"/>
                  <a:gd name="connsiteY106" fmla="*/ 213474 h 1202560"/>
                  <a:gd name="connsiteX107" fmla="*/ 356184 w 663217"/>
                  <a:gd name="connsiteY107" fmla="*/ 212934 h 1202560"/>
                  <a:gd name="connsiteX108" fmla="*/ 364480 w 663217"/>
                  <a:gd name="connsiteY108" fmla="*/ 215093 h 1202560"/>
                  <a:gd name="connsiteX109" fmla="*/ 379967 w 663217"/>
                  <a:gd name="connsiteY109" fmla="*/ 211315 h 1202560"/>
                  <a:gd name="connsiteX110" fmla="*/ 398772 w 663217"/>
                  <a:gd name="connsiteY110" fmla="*/ 212934 h 1202560"/>
                  <a:gd name="connsiteX111" fmla="*/ 407621 w 663217"/>
                  <a:gd name="connsiteY111" fmla="*/ 204839 h 1202560"/>
                  <a:gd name="connsiteX112" fmla="*/ 415365 w 663217"/>
                  <a:gd name="connsiteY112" fmla="*/ 206997 h 1202560"/>
                  <a:gd name="connsiteX113" fmla="*/ 420896 w 663217"/>
                  <a:gd name="connsiteY113" fmla="*/ 212395 h 1202560"/>
                  <a:gd name="connsiteX114" fmla="*/ 415365 w 663217"/>
                  <a:gd name="connsiteY114" fmla="*/ 230745 h 1202560"/>
                  <a:gd name="connsiteX115" fmla="*/ 417024 w 663217"/>
                  <a:gd name="connsiteY115" fmla="*/ 242079 h 1202560"/>
                  <a:gd name="connsiteX116" fmla="*/ 397113 w 663217"/>
                  <a:gd name="connsiteY116" fmla="*/ 251255 h 1202560"/>
                  <a:gd name="connsiteX117" fmla="*/ 376648 w 663217"/>
                  <a:gd name="connsiteY117" fmla="*/ 269066 h 1202560"/>
                  <a:gd name="connsiteX118" fmla="*/ 348994 w 663217"/>
                  <a:gd name="connsiteY118" fmla="*/ 283638 h 1202560"/>
                  <a:gd name="connsiteX119" fmla="*/ 345675 w 663217"/>
                  <a:gd name="connsiteY119" fmla="*/ 292813 h 1202560"/>
                  <a:gd name="connsiteX120" fmla="*/ 342357 w 663217"/>
                  <a:gd name="connsiteY120" fmla="*/ 296591 h 1202560"/>
                  <a:gd name="connsiteX121" fmla="*/ 343463 w 663217"/>
                  <a:gd name="connsiteY121" fmla="*/ 298750 h 1202560"/>
                  <a:gd name="connsiteX122" fmla="*/ 362821 w 663217"/>
                  <a:gd name="connsiteY122" fmla="*/ 300909 h 1202560"/>
                  <a:gd name="connsiteX123" fmla="*/ 351206 w 663217"/>
                  <a:gd name="connsiteY123" fmla="*/ 309545 h 1202560"/>
                  <a:gd name="connsiteX124" fmla="*/ 327423 w 663217"/>
                  <a:gd name="connsiteY124" fmla="*/ 317641 h 1202560"/>
                  <a:gd name="connsiteX125" fmla="*/ 339591 w 663217"/>
                  <a:gd name="connsiteY125" fmla="*/ 320879 h 1202560"/>
                  <a:gd name="connsiteX126" fmla="*/ 326870 w 663217"/>
                  <a:gd name="connsiteY126" fmla="*/ 329515 h 1202560"/>
                  <a:gd name="connsiteX127" fmla="*/ 318020 w 663217"/>
                  <a:gd name="connsiteY127" fmla="*/ 332213 h 1202560"/>
                  <a:gd name="connsiteX128" fmla="*/ 316914 w 663217"/>
                  <a:gd name="connsiteY128" fmla="*/ 334912 h 1202560"/>
                  <a:gd name="connsiteX129" fmla="*/ 322445 w 663217"/>
                  <a:gd name="connsiteY129" fmla="*/ 337071 h 1202560"/>
                  <a:gd name="connsiteX130" fmla="*/ 338485 w 663217"/>
                  <a:gd name="connsiteY130" fmla="*/ 330594 h 1202560"/>
                  <a:gd name="connsiteX131" fmla="*/ 351206 w 663217"/>
                  <a:gd name="connsiteY131" fmla="*/ 328975 h 1202560"/>
                  <a:gd name="connsiteX132" fmla="*/ 355631 w 663217"/>
                  <a:gd name="connsiteY132" fmla="*/ 326816 h 1202560"/>
                  <a:gd name="connsiteX133" fmla="*/ 367246 w 663217"/>
                  <a:gd name="connsiteY133" fmla="*/ 320339 h 1202560"/>
                  <a:gd name="connsiteX134" fmla="*/ 394900 w 663217"/>
                  <a:gd name="connsiteY134" fmla="*/ 318720 h 1202560"/>
                  <a:gd name="connsiteX135" fmla="*/ 402090 w 663217"/>
                  <a:gd name="connsiteY135" fmla="*/ 323578 h 1202560"/>
                  <a:gd name="connsiteX136" fmla="*/ 463484 w 663217"/>
                  <a:gd name="connsiteY136" fmla="*/ 333293 h 1202560"/>
                  <a:gd name="connsiteX137" fmla="*/ 480630 w 663217"/>
                  <a:gd name="connsiteY137" fmla="*/ 352183 h 1202560"/>
                  <a:gd name="connsiteX138" fmla="*/ 480076 w 663217"/>
                  <a:gd name="connsiteY138" fmla="*/ 360819 h 1202560"/>
                  <a:gd name="connsiteX139" fmla="*/ 472886 w 663217"/>
                  <a:gd name="connsiteY139" fmla="*/ 373772 h 1202560"/>
                  <a:gd name="connsiteX140" fmla="*/ 461271 w 663217"/>
                  <a:gd name="connsiteY140" fmla="*/ 389424 h 1202560"/>
                  <a:gd name="connsiteX141" fmla="*/ 454634 w 663217"/>
                  <a:gd name="connsiteY141" fmla="*/ 409394 h 1202560"/>
                  <a:gd name="connsiteX142" fmla="*/ 432511 w 663217"/>
                  <a:gd name="connsiteY142" fmla="*/ 438539 h 1202560"/>
                  <a:gd name="connsiteX143" fmla="*/ 404856 w 663217"/>
                  <a:gd name="connsiteY143" fmla="*/ 470382 h 1202560"/>
                  <a:gd name="connsiteX144" fmla="*/ 379414 w 663217"/>
                  <a:gd name="connsiteY144" fmla="*/ 469843 h 1202560"/>
                  <a:gd name="connsiteX145" fmla="*/ 370564 w 663217"/>
                  <a:gd name="connsiteY145" fmla="*/ 474160 h 1202560"/>
                  <a:gd name="connsiteX146" fmla="*/ 387157 w 663217"/>
                  <a:gd name="connsiteY146" fmla="*/ 475240 h 1202560"/>
                  <a:gd name="connsiteX147" fmla="*/ 395453 w 663217"/>
                  <a:gd name="connsiteY147" fmla="*/ 483336 h 1202560"/>
                  <a:gd name="connsiteX148" fmla="*/ 410387 w 663217"/>
                  <a:gd name="connsiteY148" fmla="*/ 491971 h 1202560"/>
                  <a:gd name="connsiteX149" fmla="*/ 409281 w 663217"/>
                  <a:gd name="connsiteY149" fmla="*/ 497908 h 1202560"/>
                  <a:gd name="connsiteX150" fmla="*/ 381073 w 663217"/>
                  <a:gd name="connsiteY150" fmla="*/ 500607 h 1202560"/>
                  <a:gd name="connsiteX151" fmla="*/ 358949 w 663217"/>
                  <a:gd name="connsiteY151" fmla="*/ 518418 h 1202560"/>
                  <a:gd name="connsiteX152" fmla="*/ 342357 w 663217"/>
                  <a:gd name="connsiteY152" fmla="*/ 513560 h 1202560"/>
                  <a:gd name="connsiteX153" fmla="*/ 334613 w 663217"/>
                  <a:gd name="connsiteY153" fmla="*/ 516259 h 1202560"/>
                  <a:gd name="connsiteX154" fmla="*/ 342357 w 663217"/>
                  <a:gd name="connsiteY154" fmla="*/ 522196 h 1202560"/>
                  <a:gd name="connsiteX155" fmla="*/ 374436 w 663217"/>
                  <a:gd name="connsiteY155" fmla="*/ 528673 h 1202560"/>
                  <a:gd name="connsiteX156" fmla="*/ 400984 w 663217"/>
                  <a:gd name="connsiteY156" fmla="*/ 517338 h 1202560"/>
                  <a:gd name="connsiteX157" fmla="*/ 406515 w 663217"/>
                  <a:gd name="connsiteY157" fmla="*/ 525974 h 1202560"/>
                  <a:gd name="connsiteX158" fmla="*/ 414812 w 663217"/>
                  <a:gd name="connsiteY158" fmla="*/ 532990 h 1202560"/>
                  <a:gd name="connsiteX159" fmla="*/ 436382 w 663217"/>
                  <a:gd name="connsiteY159" fmla="*/ 547563 h 1202560"/>
                  <a:gd name="connsiteX160" fmla="*/ 445785 w 663217"/>
                  <a:gd name="connsiteY160" fmla="*/ 564834 h 1202560"/>
                  <a:gd name="connsiteX161" fmla="*/ 459612 w 663217"/>
                  <a:gd name="connsiteY161" fmla="*/ 581565 h 1202560"/>
                  <a:gd name="connsiteX162" fmla="*/ 461824 w 663217"/>
                  <a:gd name="connsiteY162" fmla="*/ 588582 h 1202560"/>
                  <a:gd name="connsiteX163" fmla="*/ 464590 w 663217"/>
                  <a:gd name="connsiteY163" fmla="*/ 634458 h 1202560"/>
                  <a:gd name="connsiteX164" fmla="*/ 470121 w 663217"/>
                  <a:gd name="connsiteY164" fmla="*/ 649571 h 1202560"/>
                  <a:gd name="connsiteX165" fmla="*/ 471227 w 663217"/>
                  <a:gd name="connsiteY165" fmla="*/ 666842 h 1202560"/>
                  <a:gd name="connsiteX166" fmla="*/ 477864 w 663217"/>
                  <a:gd name="connsiteY166" fmla="*/ 686272 h 1202560"/>
                  <a:gd name="connsiteX167" fmla="*/ 479523 w 663217"/>
                  <a:gd name="connsiteY167" fmla="*/ 697066 h 1202560"/>
                  <a:gd name="connsiteX168" fmla="*/ 483395 w 663217"/>
                  <a:gd name="connsiteY168" fmla="*/ 701384 h 1202560"/>
                  <a:gd name="connsiteX169" fmla="*/ 501647 w 663217"/>
                  <a:gd name="connsiteY169" fmla="*/ 707861 h 1202560"/>
                  <a:gd name="connsiteX170" fmla="*/ 517134 w 663217"/>
                  <a:gd name="connsiteY170" fmla="*/ 720274 h 1202560"/>
                  <a:gd name="connsiteX171" fmla="*/ 526536 w 663217"/>
                  <a:gd name="connsiteY171" fmla="*/ 741863 h 1202560"/>
                  <a:gd name="connsiteX172" fmla="*/ 532067 w 663217"/>
                  <a:gd name="connsiteY172" fmla="*/ 748880 h 1202560"/>
                  <a:gd name="connsiteX173" fmla="*/ 534279 w 663217"/>
                  <a:gd name="connsiteY173" fmla="*/ 753197 h 1202560"/>
                  <a:gd name="connsiteX174" fmla="*/ 543682 w 663217"/>
                  <a:gd name="connsiteY174" fmla="*/ 762912 h 1202560"/>
                  <a:gd name="connsiteX175" fmla="*/ 543682 w 663217"/>
                  <a:gd name="connsiteY175" fmla="*/ 766151 h 1202560"/>
                  <a:gd name="connsiteX176" fmla="*/ 538704 w 663217"/>
                  <a:gd name="connsiteY176" fmla="*/ 779104 h 1202560"/>
                  <a:gd name="connsiteX177" fmla="*/ 547001 w 663217"/>
                  <a:gd name="connsiteY177" fmla="*/ 807709 h 1202560"/>
                  <a:gd name="connsiteX178" fmla="*/ 557509 w 663217"/>
                  <a:gd name="connsiteY178" fmla="*/ 821203 h 1202560"/>
                  <a:gd name="connsiteX179" fmla="*/ 556403 w 663217"/>
                  <a:gd name="connsiteY179" fmla="*/ 824981 h 1202560"/>
                  <a:gd name="connsiteX180" fmla="*/ 532067 w 663217"/>
                  <a:gd name="connsiteY180" fmla="*/ 816885 h 1202560"/>
                  <a:gd name="connsiteX181" fmla="*/ 511603 w 663217"/>
                  <a:gd name="connsiteY181" fmla="*/ 813107 h 1202560"/>
                  <a:gd name="connsiteX182" fmla="*/ 504412 w 663217"/>
                  <a:gd name="connsiteY182" fmla="*/ 813107 h 1202560"/>
                  <a:gd name="connsiteX183" fmla="*/ 513815 w 663217"/>
                  <a:gd name="connsiteY183" fmla="*/ 818504 h 1202560"/>
                  <a:gd name="connsiteX184" fmla="*/ 530408 w 663217"/>
                  <a:gd name="connsiteY184" fmla="*/ 821742 h 1202560"/>
                  <a:gd name="connsiteX185" fmla="*/ 534833 w 663217"/>
                  <a:gd name="connsiteY185" fmla="*/ 825520 h 1202560"/>
                  <a:gd name="connsiteX186" fmla="*/ 545341 w 663217"/>
                  <a:gd name="connsiteY186" fmla="*/ 833616 h 1202560"/>
                  <a:gd name="connsiteX187" fmla="*/ 555850 w 663217"/>
                  <a:gd name="connsiteY187" fmla="*/ 846570 h 1202560"/>
                  <a:gd name="connsiteX188" fmla="*/ 558062 w 663217"/>
                  <a:gd name="connsiteY188" fmla="*/ 848189 h 1202560"/>
                  <a:gd name="connsiteX189" fmla="*/ 567465 w 663217"/>
                  <a:gd name="connsiteY189" fmla="*/ 881652 h 1202560"/>
                  <a:gd name="connsiteX190" fmla="*/ 559722 w 663217"/>
                  <a:gd name="connsiteY190" fmla="*/ 899462 h 1202560"/>
                  <a:gd name="connsiteX191" fmla="*/ 544235 w 663217"/>
                  <a:gd name="connsiteY191" fmla="*/ 907558 h 1202560"/>
                  <a:gd name="connsiteX192" fmla="*/ 555297 w 663217"/>
                  <a:gd name="connsiteY192" fmla="*/ 922131 h 1202560"/>
                  <a:gd name="connsiteX193" fmla="*/ 564700 w 663217"/>
                  <a:gd name="connsiteY193" fmla="*/ 925909 h 1202560"/>
                  <a:gd name="connsiteX194" fmla="*/ 577421 w 663217"/>
                  <a:gd name="connsiteY194" fmla="*/ 910257 h 1202560"/>
                  <a:gd name="connsiteX195" fmla="*/ 605075 w 663217"/>
                  <a:gd name="connsiteY195" fmla="*/ 910797 h 1202560"/>
                  <a:gd name="connsiteX196" fmla="*/ 616690 w 663217"/>
                  <a:gd name="connsiteY196" fmla="*/ 909177 h 1202560"/>
                  <a:gd name="connsiteX197" fmla="*/ 629411 w 663217"/>
                  <a:gd name="connsiteY197" fmla="*/ 916194 h 1202560"/>
                  <a:gd name="connsiteX198" fmla="*/ 641026 w 663217"/>
                  <a:gd name="connsiteY198" fmla="*/ 921591 h 1202560"/>
                  <a:gd name="connsiteX199" fmla="*/ 655960 w 663217"/>
                  <a:gd name="connsiteY199" fmla="*/ 933465 h 1202560"/>
                  <a:gd name="connsiteX200" fmla="*/ 662597 w 663217"/>
                  <a:gd name="connsiteY200" fmla="*/ 958292 h 1202560"/>
                  <a:gd name="connsiteX201" fmla="*/ 649876 w 663217"/>
                  <a:gd name="connsiteY201" fmla="*/ 1010106 h 1202560"/>
                  <a:gd name="connsiteX202" fmla="*/ 628305 w 663217"/>
                  <a:gd name="connsiteY202" fmla="*/ 1030075 h 1202560"/>
                  <a:gd name="connsiteX203" fmla="*/ 618903 w 663217"/>
                  <a:gd name="connsiteY203" fmla="*/ 1037092 h 1202560"/>
                  <a:gd name="connsiteX204" fmla="*/ 621115 w 663217"/>
                  <a:gd name="connsiteY204" fmla="*/ 1043569 h 1202560"/>
                  <a:gd name="connsiteX205" fmla="*/ 611712 w 663217"/>
                  <a:gd name="connsiteY205" fmla="*/ 1047347 h 1202560"/>
                  <a:gd name="connsiteX206" fmla="*/ 596226 w 663217"/>
                  <a:gd name="connsiteY206" fmla="*/ 1046807 h 1202560"/>
                  <a:gd name="connsiteX207" fmla="*/ 587376 w 663217"/>
                  <a:gd name="connsiteY207" fmla="*/ 1051125 h 1202560"/>
                  <a:gd name="connsiteX208" fmla="*/ 594566 w 663217"/>
                  <a:gd name="connsiteY208" fmla="*/ 1058141 h 1202560"/>
                  <a:gd name="connsiteX209" fmla="*/ 593460 w 663217"/>
                  <a:gd name="connsiteY209" fmla="*/ 1060300 h 1202560"/>
                  <a:gd name="connsiteX210" fmla="*/ 589589 w 663217"/>
                  <a:gd name="connsiteY210" fmla="*/ 1071634 h 1202560"/>
                  <a:gd name="connsiteX211" fmla="*/ 567465 w 663217"/>
                  <a:gd name="connsiteY211" fmla="*/ 1074873 h 1202560"/>
                  <a:gd name="connsiteX212" fmla="*/ 548660 w 663217"/>
                  <a:gd name="connsiteY212" fmla="*/ 1082429 h 1202560"/>
                  <a:gd name="connsiteX213" fmla="*/ 566912 w 663217"/>
                  <a:gd name="connsiteY213" fmla="*/ 1084048 h 1202560"/>
                  <a:gd name="connsiteX214" fmla="*/ 572443 w 663217"/>
                  <a:gd name="connsiteY214" fmla="*/ 1087286 h 1202560"/>
                  <a:gd name="connsiteX215" fmla="*/ 581845 w 663217"/>
                  <a:gd name="connsiteY215" fmla="*/ 1091064 h 1202560"/>
                  <a:gd name="connsiteX216" fmla="*/ 589589 w 663217"/>
                  <a:gd name="connsiteY216" fmla="*/ 1096461 h 1202560"/>
                  <a:gd name="connsiteX217" fmla="*/ 621668 w 663217"/>
                  <a:gd name="connsiteY217" fmla="*/ 1097541 h 1202560"/>
                  <a:gd name="connsiteX218" fmla="*/ 627752 w 663217"/>
                  <a:gd name="connsiteY218" fmla="*/ 1099700 h 1202560"/>
                  <a:gd name="connsiteX219" fmla="*/ 621668 w 663217"/>
                  <a:gd name="connsiteY219" fmla="*/ 1123987 h 1202560"/>
                  <a:gd name="connsiteX220" fmla="*/ 598991 w 663217"/>
                  <a:gd name="connsiteY220" fmla="*/ 1134782 h 1202560"/>
                  <a:gd name="connsiteX221" fmla="*/ 588482 w 663217"/>
                  <a:gd name="connsiteY221" fmla="*/ 1149894 h 1202560"/>
                  <a:gd name="connsiteX222" fmla="*/ 574655 w 663217"/>
                  <a:gd name="connsiteY222" fmla="*/ 1146116 h 1202560"/>
                  <a:gd name="connsiteX223" fmla="*/ 551425 w 663217"/>
                  <a:gd name="connsiteY223" fmla="*/ 1153672 h 1202560"/>
                  <a:gd name="connsiteX224" fmla="*/ 529302 w 663217"/>
                  <a:gd name="connsiteY224" fmla="*/ 1163927 h 1202560"/>
                  <a:gd name="connsiteX225" fmla="*/ 520452 w 663217"/>
                  <a:gd name="connsiteY225" fmla="*/ 1159609 h 1202560"/>
                  <a:gd name="connsiteX226" fmla="*/ 511603 w 663217"/>
                  <a:gd name="connsiteY226" fmla="*/ 1155291 h 1202560"/>
                  <a:gd name="connsiteX227" fmla="*/ 465143 w 663217"/>
                  <a:gd name="connsiteY227" fmla="*/ 1153132 h 1202560"/>
                  <a:gd name="connsiteX228" fmla="*/ 454634 w 663217"/>
                  <a:gd name="connsiteY228" fmla="*/ 1156910 h 1202560"/>
                  <a:gd name="connsiteX229" fmla="*/ 441360 w 663217"/>
                  <a:gd name="connsiteY229" fmla="*/ 1149354 h 1202560"/>
                  <a:gd name="connsiteX230" fmla="*/ 413705 w 663217"/>
                  <a:gd name="connsiteY230" fmla="*/ 1148275 h 1202560"/>
                  <a:gd name="connsiteX231" fmla="*/ 390476 w 663217"/>
                  <a:gd name="connsiteY231" fmla="*/ 1152053 h 1202560"/>
                  <a:gd name="connsiteX232" fmla="*/ 367799 w 663217"/>
                  <a:gd name="connsiteY232" fmla="*/ 1155291 h 1202560"/>
                  <a:gd name="connsiteX233" fmla="*/ 362821 w 663217"/>
                  <a:gd name="connsiteY233" fmla="*/ 1162308 h 1202560"/>
                  <a:gd name="connsiteX234" fmla="*/ 354525 w 663217"/>
                  <a:gd name="connsiteY234" fmla="*/ 1166086 h 1202560"/>
                  <a:gd name="connsiteX235" fmla="*/ 335719 w 663217"/>
                  <a:gd name="connsiteY235" fmla="*/ 1158530 h 1202560"/>
                  <a:gd name="connsiteX236" fmla="*/ 315255 w 663217"/>
                  <a:gd name="connsiteY236" fmla="*/ 1152593 h 1202560"/>
                  <a:gd name="connsiteX237" fmla="*/ 288707 w 663217"/>
                  <a:gd name="connsiteY237" fmla="*/ 1142878 h 1202560"/>
                  <a:gd name="connsiteX238" fmla="*/ 263817 w 663217"/>
                  <a:gd name="connsiteY238" fmla="*/ 1147195 h 1202560"/>
                  <a:gd name="connsiteX239" fmla="*/ 255521 w 663217"/>
                  <a:gd name="connsiteY239" fmla="*/ 1147735 h 1202560"/>
                  <a:gd name="connsiteX240" fmla="*/ 246672 w 663217"/>
                  <a:gd name="connsiteY240" fmla="*/ 1153672 h 1202560"/>
                  <a:gd name="connsiteX241" fmla="*/ 238375 w 663217"/>
                  <a:gd name="connsiteY241" fmla="*/ 1176880 h 1202560"/>
                  <a:gd name="connsiteX242" fmla="*/ 225654 w 663217"/>
                  <a:gd name="connsiteY242" fmla="*/ 1189834 h 1202560"/>
                  <a:gd name="connsiteX243" fmla="*/ 219017 w 663217"/>
                  <a:gd name="connsiteY243" fmla="*/ 1188214 h 1202560"/>
                  <a:gd name="connsiteX244" fmla="*/ 198553 w 663217"/>
                  <a:gd name="connsiteY244" fmla="*/ 1174182 h 1202560"/>
                  <a:gd name="connsiteX245" fmla="*/ 193022 w 663217"/>
                  <a:gd name="connsiteY245" fmla="*/ 1173642 h 1202560"/>
                  <a:gd name="connsiteX246" fmla="*/ 149327 w 663217"/>
                  <a:gd name="connsiteY246" fmla="*/ 1169324 h 1202560"/>
                  <a:gd name="connsiteX247" fmla="*/ 143796 w 663217"/>
                  <a:gd name="connsiteY247" fmla="*/ 1171483 h 1202560"/>
                  <a:gd name="connsiteX248" fmla="*/ 133288 w 663217"/>
                  <a:gd name="connsiteY248" fmla="*/ 1177960 h 1202560"/>
                  <a:gd name="connsiteX249" fmla="*/ 115589 w 663217"/>
                  <a:gd name="connsiteY249" fmla="*/ 1185516 h 1202560"/>
                  <a:gd name="connsiteX250" fmla="*/ 106186 w 663217"/>
                  <a:gd name="connsiteY250" fmla="*/ 1202247 h 1202560"/>
                  <a:gd name="connsiteX251" fmla="*/ 91253 w 663217"/>
                  <a:gd name="connsiteY251" fmla="*/ 1185516 h 1202560"/>
                  <a:gd name="connsiteX252" fmla="*/ 70788 w 663217"/>
                  <a:gd name="connsiteY252" fmla="*/ 1186056 h 1202560"/>
                  <a:gd name="connsiteX253" fmla="*/ 71895 w 663217"/>
                  <a:gd name="connsiteY253" fmla="*/ 1175801 h 1202560"/>
                  <a:gd name="connsiteX254" fmla="*/ 78532 w 663217"/>
                  <a:gd name="connsiteY254" fmla="*/ 1172562 h 1202560"/>
                  <a:gd name="connsiteX255" fmla="*/ 96784 w 663217"/>
                  <a:gd name="connsiteY255" fmla="*/ 1167165 h 1202560"/>
                  <a:gd name="connsiteX256" fmla="*/ 118354 w 663217"/>
                  <a:gd name="connsiteY256" fmla="*/ 1155831 h 1202560"/>
                  <a:gd name="connsiteX257" fmla="*/ 121120 w 663217"/>
                  <a:gd name="connsiteY257" fmla="*/ 1152053 h 1202560"/>
                  <a:gd name="connsiteX258" fmla="*/ 136053 w 663217"/>
                  <a:gd name="connsiteY258" fmla="*/ 1138020 h 1202560"/>
                  <a:gd name="connsiteX259" fmla="*/ 147668 w 663217"/>
                  <a:gd name="connsiteY259" fmla="*/ 1132623 h 1202560"/>
                  <a:gd name="connsiteX260" fmla="*/ 164261 w 663217"/>
                  <a:gd name="connsiteY260" fmla="*/ 1119670 h 1202560"/>
                  <a:gd name="connsiteX261" fmla="*/ 172004 w 663217"/>
                  <a:gd name="connsiteY261" fmla="*/ 1104557 h 1202560"/>
                  <a:gd name="connsiteX262" fmla="*/ 175876 w 663217"/>
                  <a:gd name="connsiteY262" fmla="*/ 1093763 h 1202560"/>
                  <a:gd name="connsiteX263" fmla="*/ 197999 w 663217"/>
                  <a:gd name="connsiteY263" fmla="*/ 1090524 h 1202560"/>
                  <a:gd name="connsiteX264" fmla="*/ 201318 w 663217"/>
                  <a:gd name="connsiteY264" fmla="*/ 1074873 h 1202560"/>
                  <a:gd name="connsiteX265" fmla="*/ 238375 w 663217"/>
                  <a:gd name="connsiteY265" fmla="*/ 1074873 h 1202560"/>
                  <a:gd name="connsiteX266" fmla="*/ 249990 w 663217"/>
                  <a:gd name="connsiteY266" fmla="*/ 1076492 h 1202560"/>
                  <a:gd name="connsiteX267" fmla="*/ 265477 w 663217"/>
                  <a:gd name="connsiteY267" fmla="*/ 1081349 h 1202560"/>
                  <a:gd name="connsiteX268" fmla="*/ 297003 w 663217"/>
                  <a:gd name="connsiteY268" fmla="*/ 1081889 h 1202560"/>
                  <a:gd name="connsiteX269" fmla="*/ 299215 w 663217"/>
                  <a:gd name="connsiteY269" fmla="*/ 1072714 h 1202560"/>
                  <a:gd name="connsiteX270" fmla="*/ 300322 w 663217"/>
                  <a:gd name="connsiteY270" fmla="*/ 1068936 h 1202560"/>
                  <a:gd name="connsiteX271" fmla="*/ 324658 w 663217"/>
                  <a:gd name="connsiteY271" fmla="*/ 1048966 h 1202560"/>
                  <a:gd name="connsiteX272" fmla="*/ 342910 w 663217"/>
                  <a:gd name="connsiteY272" fmla="*/ 1025758 h 1202560"/>
                  <a:gd name="connsiteX273" fmla="*/ 342910 w 663217"/>
                  <a:gd name="connsiteY273" fmla="*/ 1024138 h 1202560"/>
                  <a:gd name="connsiteX274" fmla="*/ 340697 w 663217"/>
                  <a:gd name="connsiteY274" fmla="*/ 1024138 h 1202560"/>
                  <a:gd name="connsiteX275" fmla="*/ 322998 w 663217"/>
                  <a:gd name="connsiteY275" fmla="*/ 1036012 h 1202560"/>
                  <a:gd name="connsiteX276" fmla="*/ 311383 w 663217"/>
                  <a:gd name="connsiteY276" fmla="*/ 1041949 h 1202560"/>
                  <a:gd name="connsiteX277" fmla="*/ 293131 w 663217"/>
                  <a:gd name="connsiteY277" fmla="*/ 1045188 h 1202560"/>
                  <a:gd name="connsiteX278" fmla="*/ 265477 w 663217"/>
                  <a:gd name="connsiteY278" fmla="*/ 1059760 h 1202560"/>
                  <a:gd name="connsiteX279" fmla="*/ 234504 w 663217"/>
                  <a:gd name="connsiteY279" fmla="*/ 1028456 h 1202560"/>
                  <a:gd name="connsiteX280" fmla="*/ 206296 w 663217"/>
                  <a:gd name="connsiteY280" fmla="*/ 1030075 h 1202560"/>
                  <a:gd name="connsiteX281" fmla="*/ 215145 w 663217"/>
                  <a:gd name="connsiteY281" fmla="*/ 1020900 h 1202560"/>
                  <a:gd name="connsiteX282" fmla="*/ 205190 w 663217"/>
                  <a:gd name="connsiteY282" fmla="*/ 1012804 h 1202560"/>
                  <a:gd name="connsiteX283" fmla="*/ 201871 w 663217"/>
                  <a:gd name="connsiteY283" fmla="*/ 1002550 h 1202560"/>
                  <a:gd name="connsiteX284" fmla="*/ 189703 w 663217"/>
                  <a:gd name="connsiteY284" fmla="*/ 1006328 h 1202560"/>
                  <a:gd name="connsiteX285" fmla="*/ 176982 w 663217"/>
                  <a:gd name="connsiteY285" fmla="*/ 1007947 h 1202560"/>
                  <a:gd name="connsiteX286" fmla="*/ 164261 w 663217"/>
                  <a:gd name="connsiteY286" fmla="*/ 1014963 h 1202560"/>
                  <a:gd name="connsiteX287" fmla="*/ 150434 w 663217"/>
                  <a:gd name="connsiteY287" fmla="*/ 1012804 h 1202560"/>
                  <a:gd name="connsiteX288" fmla="*/ 143243 w 663217"/>
                  <a:gd name="connsiteY288" fmla="*/ 1001470 h 1202560"/>
                  <a:gd name="connsiteX289" fmla="*/ 149880 w 663217"/>
                  <a:gd name="connsiteY289" fmla="*/ 985818 h 1202560"/>
                  <a:gd name="connsiteX290" fmla="*/ 139372 w 663217"/>
                  <a:gd name="connsiteY290" fmla="*/ 979881 h 1202560"/>
                  <a:gd name="connsiteX291" fmla="*/ 141584 w 663217"/>
                  <a:gd name="connsiteY291" fmla="*/ 973944 h 1202560"/>
                  <a:gd name="connsiteX292" fmla="*/ 155965 w 663217"/>
                  <a:gd name="connsiteY292" fmla="*/ 968007 h 1202560"/>
                  <a:gd name="connsiteX293" fmla="*/ 159283 w 663217"/>
                  <a:gd name="connsiteY293" fmla="*/ 965309 h 1202560"/>
                  <a:gd name="connsiteX294" fmla="*/ 175323 w 663217"/>
                  <a:gd name="connsiteY294" fmla="*/ 963150 h 1202560"/>
                  <a:gd name="connsiteX295" fmla="*/ 207402 w 663217"/>
                  <a:gd name="connsiteY295" fmla="*/ 954514 h 1202560"/>
                  <a:gd name="connsiteX296" fmla="*/ 233397 w 663217"/>
                  <a:gd name="connsiteY296" fmla="*/ 935084 h 1202560"/>
                  <a:gd name="connsiteX297" fmla="*/ 239481 w 663217"/>
                  <a:gd name="connsiteY297" fmla="*/ 912955 h 1202560"/>
                  <a:gd name="connsiteX298" fmla="*/ 240034 w 663217"/>
                  <a:gd name="connsiteY298" fmla="*/ 904860 h 1202560"/>
                  <a:gd name="connsiteX299" fmla="*/ 243353 w 663217"/>
                  <a:gd name="connsiteY299" fmla="*/ 890827 h 1202560"/>
                  <a:gd name="connsiteX300" fmla="*/ 232844 w 663217"/>
                  <a:gd name="connsiteY300" fmla="*/ 875715 h 1202560"/>
                  <a:gd name="connsiteX301" fmla="*/ 220123 w 663217"/>
                  <a:gd name="connsiteY301" fmla="*/ 874635 h 1202560"/>
                  <a:gd name="connsiteX302" fmla="*/ 212933 w 663217"/>
                  <a:gd name="connsiteY302" fmla="*/ 878413 h 1202560"/>
                  <a:gd name="connsiteX303" fmla="*/ 198553 w 663217"/>
                  <a:gd name="connsiteY303" fmla="*/ 877334 h 1202560"/>
                  <a:gd name="connsiteX304" fmla="*/ 197999 w 663217"/>
                  <a:gd name="connsiteY304" fmla="*/ 875175 h 1202560"/>
                  <a:gd name="connsiteX305" fmla="*/ 228420 w 663217"/>
                  <a:gd name="connsiteY305" fmla="*/ 854665 h 1202560"/>
                  <a:gd name="connsiteX306" fmla="*/ 234504 w 663217"/>
                  <a:gd name="connsiteY306" fmla="*/ 844950 h 1202560"/>
                  <a:gd name="connsiteX307" fmla="*/ 242247 w 663217"/>
                  <a:gd name="connsiteY307" fmla="*/ 838474 h 1202560"/>
                  <a:gd name="connsiteX308" fmla="*/ 300875 w 663217"/>
                  <a:gd name="connsiteY308" fmla="*/ 831457 h 1202560"/>
                  <a:gd name="connsiteX309" fmla="*/ 306959 w 663217"/>
                  <a:gd name="connsiteY309" fmla="*/ 831997 h 1202560"/>
                  <a:gd name="connsiteX310" fmla="*/ 320786 w 663217"/>
                  <a:gd name="connsiteY310" fmla="*/ 841712 h 1202560"/>
                  <a:gd name="connsiteX311" fmla="*/ 321339 w 663217"/>
                  <a:gd name="connsiteY311" fmla="*/ 833076 h 1202560"/>
                  <a:gd name="connsiteX312" fmla="*/ 326870 w 663217"/>
                  <a:gd name="connsiteY312" fmla="*/ 821742 h 1202560"/>
                  <a:gd name="connsiteX313" fmla="*/ 329082 w 663217"/>
                  <a:gd name="connsiteY313" fmla="*/ 807709 h 1202560"/>
                  <a:gd name="connsiteX314" fmla="*/ 335166 w 663217"/>
                  <a:gd name="connsiteY314" fmla="*/ 799614 h 1202560"/>
                  <a:gd name="connsiteX315" fmla="*/ 344016 w 663217"/>
                  <a:gd name="connsiteY315" fmla="*/ 793137 h 1202560"/>
                  <a:gd name="connsiteX316" fmla="*/ 338485 w 663217"/>
                  <a:gd name="connsiteY316" fmla="*/ 784501 h 1202560"/>
                  <a:gd name="connsiteX317" fmla="*/ 338485 w 663217"/>
                  <a:gd name="connsiteY317" fmla="*/ 771548 h 1202560"/>
                  <a:gd name="connsiteX318" fmla="*/ 348994 w 663217"/>
                  <a:gd name="connsiteY318" fmla="*/ 761293 h 1202560"/>
                  <a:gd name="connsiteX319" fmla="*/ 352312 w 663217"/>
                  <a:gd name="connsiteY319" fmla="*/ 752118 h 1202560"/>
                  <a:gd name="connsiteX320" fmla="*/ 356184 w 663217"/>
                  <a:gd name="connsiteY320" fmla="*/ 745641 h 1202560"/>
                  <a:gd name="connsiteX321" fmla="*/ 356184 w 663217"/>
                  <a:gd name="connsiteY321" fmla="*/ 739165 h 1202560"/>
                  <a:gd name="connsiteX322" fmla="*/ 355078 w 663217"/>
                  <a:gd name="connsiteY322" fmla="*/ 736466 h 1202560"/>
                  <a:gd name="connsiteX323" fmla="*/ 346781 w 663217"/>
                  <a:gd name="connsiteY323" fmla="*/ 735926 h 1202560"/>
                  <a:gd name="connsiteX324" fmla="*/ 325764 w 663217"/>
                  <a:gd name="connsiteY324" fmla="*/ 748340 h 1202560"/>
                  <a:gd name="connsiteX325" fmla="*/ 325211 w 663217"/>
                  <a:gd name="connsiteY325" fmla="*/ 732148 h 1202560"/>
                  <a:gd name="connsiteX326" fmla="*/ 322998 w 663217"/>
                  <a:gd name="connsiteY326" fmla="*/ 727830 h 1202560"/>
                  <a:gd name="connsiteX327" fmla="*/ 314702 w 663217"/>
                  <a:gd name="connsiteY327" fmla="*/ 702463 h 1202560"/>
                  <a:gd name="connsiteX328" fmla="*/ 309171 w 663217"/>
                  <a:gd name="connsiteY328" fmla="*/ 690589 h 1202560"/>
                  <a:gd name="connsiteX329" fmla="*/ 308618 w 663217"/>
                  <a:gd name="connsiteY329" fmla="*/ 687891 h 1202560"/>
                  <a:gd name="connsiteX330" fmla="*/ 322998 w 663217"/>
                  <a:gd name="connsiteY330" fmla="*/ 663603 h 1202560"/>
                  <a:gd name="connsiteX331" fmla="*/ 327976 w 663217"/>
                  <a:gd name="connsiteY331" fmla="*/ 654428 h 1202560"/>
                  <a:gd name="connsiteX332" fmla="*/ 335719 w 663217"/>
                  <a:gd name="connsiteY332" fmla="*/ 649031 h 1202560"/>
                  <a:gd name="connsiteX333" fmla="*/ 352312 w 663217"/>
                  <a:gd name="connsiteY333" fmla="*/ 642014 h 1202560"/>
                  <a:gd name="connsiteX334" fmla="*/ 318574 w 663217"/>
                  <a:gd name="connsiteY334" fmla="*/ 637157 h 1202560"/>
                  <a:gd name="connsiteX335" fmla="*/ 316361 w 663217"/>
                  <a:gd name="connsiteY335" fmla="*/ 645792 h 1202560"/>
                  <a:gd name="connsiteX336" fmla="*/ 303087 w 663217"/>
                  <a:gd name="connsiteY336" fmla="*/ 649031 h 1202560"/>
                  <a:gd name="connsiteX337" fmla="*/ 288707 w 663217"/>
                  <a:gd name="connsiteY337" fmla="*/ 653888 h 1202560"/>
                  <a:gd name="connsiteX338" fmla="*/ 274879 w 663217"/>
                  <a:gd name="connsiteY338" fmla="*/ 645253 h 1202560"/>
                  <a:gd name="connsiteX339" fmla="*/ 267689 w 663217"/>
                  <a:gd name="connsiteY339" fmla="*/ 642014 h 1202560"/>
                  <a:gd name="connsiteX340" fmla="*/ 263264 w 663217"/>
                  <a:gd name="connsiteY340" fmla="*/ 639316 h 1202560"/>
                  <a:gd name="connsiteX341" fmla="*/ 262158 w 663217"/>
                  <a:gd name="connsiteY341" fmla="*/ 653888 h 1202560"/>
                  <a:gd name="connsiteX342" fmla="*/ 258287 w 663217"/>
                  <a:gd name="connsiteY342" fmla="*/ 659286 h 1202560"/>
                  <a:gd name="connsiteX343" fmla="*/ 230079 w 663217"/>
                  <a:gd name="connsiteY343" fmla="*/ 640935 h 1202560"/>
                  <a:gd name="connsiteX344" fmla="*/ 218464 w 663217"/>
                  <a:gd name="connsiteY344" fmla="*/ 659825 h 1202560"/>
                  <a:gd name="connsiteX345" fmla="*/ 215698 w 663217"/>
                  <a:gd name="connsiteY345" fmla="*/ 657127 h 1202560"/>
                  <a:gd name="connsiteX346" fmla="*/ 205190 w 663217"/>
                  <a:gd name="connsiteY346" fmla="*/ 633919 h 1202560"/>
                  <a:gd name="connsiteX347" fmla="*/ 208508 w 663217"/>
                  <a:gd name="connsiteY347" fmla="*/ 622045 h 1202560"/>
                  <a:gd name="connsiteX348" fmla="*/ 219017 w 663217"/>
                  <a:gd name="connsiteY348" fmla="*/ 612330 h 1202560"/>
                  <a:gd name="connsiteX349" fmla="*/ 226760 w 663217"/>
                  <a:gd name="connsiteY349" fmla="*/ 600456 h 1202560"/>
                  <a:gd name="connsiteX350" fmla="*/ 236163 w 663217"/>
                  <a:gd name="connsiteY350" fmla="*/ 590741 h 1202560"/>
                  <a:gd name="connsiteX351" fmla="*/ 242800 w 663217"/>
                  <a:gd name="connsiteY351" fmla="*/ 577787 h 1202560"/>
                  <a:gd name="connsiteX352" fmla="*/ 254968 w 663217"/>
                  <a:gd name="connsiteY352" fmla="*/ 564834 h 1202560"/>
                  <a:gd name="connsiteX353" fmla="*/ 246672 w 663217"/>
                  <a:gd name="connsiteY353" fmla="*/ 541086 h 1202560"/>
                  <a:gd name="connsiteX354" fmla="*/ 251096 w 663217"/>
                  <a:gd name="connsiteY354" fmla="*/ 519497 h 1202560"/>
                  <a:gd name="connsiteX355" fmla="*/ 261052 w 663217"/>
                  <a:gd name="connsiteY355" fmla="*/ 506004 h 1202560"/>
                  <a:gd name="connsiteX356" fmla="*/ 257180 w 663217"/>
                  <a:gd name="connsiteY356" fmla="*/ 488733 h 1202560"/>
                  <a:gd name="connsiteX357" fmla="*/ 251649 w 663217"/>
                  <a:gd name="connsiteY357" fmla="*/ 490352 h 1202560"/>
                  <a:gd name="connsiteX358" fmla="*/ 252203 w 663217"/>
                  <a:gd name="connsiteY358" fmla="*/ 493590 h 1202560"/>
                  <a:gd name="connsiteX359" fmla="*/ 251649 w 663217"/>
                  <a:gd name="connsiteY359" fmla="*/ 502766 h 1202560"/>
                  <a:gd name="connsiteX360" fmla="*/ 246119 w 663217"/>
                  <a:gd name="connsiteY360" fmla="*/ 513021 h 1202560"/>
                  <a:gd name="connsiteX361" fmla="*/ 240588 w 663217"/>
                  <a:gd name="connsiteY361" fmla="*/ 511941 h 1202560"/>
                  <a:gd name="connsiteX362" fmla="*/ 234504 w 663217"/>
                  <a:gd name="connsiteY362" fmla="*/ 503845 h 1202560"/>
                  <a:gd name="connsiteX363" fmla="*/ 227866 w 663217"/>
                  <a:gd name="connsiteY363" fmla="*/ 511401 h 1202560"/>
                  <a:gd name="connsiteX364" fmla="*/ 222336 w 663217"/>
                  <a:gd name="connsiteY364" fmla="*/ 508163 h 1202560"/>
                  <a:gd name="connsiteX365" fmla="*/ 223995 w 663217"/>
                  <a:gd name="connsiteY365" fmla="*/ 496829 h 1202560"/>
                  <a:gd name="connsiteX366" fmla="*/ 213486 w 663217"/>
                  <a:gd name="connsiteY366" fmla="*/ 496829 h 1202560"/>
                  <a:gd name="connsiteX367" fmla="*/ 211827 w 663217"/>
                  <a:gd name="connsiteY367" fmla="*/ 519497 h 1202560"/>
                  <a:gd name="connsiteX368" fmla="*/ 197999 w 663217"/>
                  <a:gd name="connsiteY368" fmla="*/ 517338 h 1202560"/>
                  <a:gd name="connsiteX369" fmla="*/ 195787 w 663217"/>
                  <a:gd name="connsiteY369" fmla="*/ 513560 h 1202560"/>
                  <a:gd name="connsiteX370" fmla="*/ 197999 w 663217"/>
                  <a:gd name="connsiteY370" fmla="*/ 502226 h 1202560"/>
                  <a:gd name="connsiteX371" fmla="*/ 210721 w 663217"/>
                  <a:gd name="connsiteY371" fmla="*/ 480637 h 1202560"/>
                  <a:gd name="connsiteX372" fmla="*/ 210168 w 663217"/>
                  <a:gd name="connsiteY372" fmla="*/ 472541 h 1202560"/>
                  <a:gd name="connsiteX373" fmla="*/ 214039 w 663217"/>
                  <a:gd name="connsiteY373" fmla="*/ 460667 h 1202560"/>
                  <a:gd name="connsiteX374" fmla="*/ 226760 w 663217"/>
                  <a:gd name="connsiteY374" fmla="*/ 440158 h 1202560"/>
                  <a:gd name="connsiteX375" fmla="*/ 550872 w 663217"/>
                  <a:gd name="connsiteY375" fmla="*/ 44001 h 1202560"/>
                  <a:gd name="connsiteX376" fmla="*/ 543682 w 663217"/>
                  <a:gd name="connsiteY376" fmla="*/ 46700 h 1202560"/>
                  <a:gd name="connsiteX377" fmla="*/ 537598 w 663217"/>
                  <a:gd name="connsiteY377" fmla="*/ 31048 h 1202560"/>
                  <a:gd name="connsiteX378" fmla="*/ 548660 w 663217"/>
                  <a:gd name="connsiteY378" fmla="*/ 26730 h 1202560"/>
                  <a:gd name="connsiteX379" fmla="*/ 550319 w 663217"/>
                  <a:gd name="connsiteY379" fmla="*/ 15396 h 1202560"/>
                  <a:gd name="connsiteX380" fmla="*/ 548107 w 663217"/>
                  <a:gd name="connsiteY380" fmla="*/ 11618 h 1202560"/>
                  <a:gd name="connsiteX381" fmla="*/ 557509 w 663217"/>
                  <a:gd name="connsiteY381" fmla="*/ -256 h 1202560"/>
                  <a:gd name="connsiteX382" fmla="*/ 559169 w 663217"/>
                  <a:gd name="connsiteY382" fmla="*/ 1363 h 1202560"/>
                  <a:gd name="connsiteX383" fmla="*/ 569677 w 663217"/>
                  <a:gd name="connsiteY383" fmla="*/ 26730 h 1202560"/>
                  <a:gd name="connsiteX384" fmla="*/ 566359 w 663217"/>
                  <a:gd name="connsiteY384" fmla="*/ 37524 h 1202560"/>
                  <a:gd name="connsiteX385" fmla="*/ 565806 w 663217"/>
                  <a:gd name="connsiteY385" fmla="*/ 48858 h 1202560"/>
                  <a:gd name="connsiteX386" fmla="*/ 559722 w 663217"/>
                  <a:gd name="connsiteY386" fmla="*/ 57494 h 1202560"/>
                  <a:gd name="connsiteX387" fmla="*/ 553638 w 663217"/>
                  <a:gd name="connsiteY387" fmla="*/ 79623 h 1202560"/>
                  <a:gd name="connsiteX388" fmla="*/ 547554 w 663217"/>
                  <a:gd name="connsiteY388" fmla="*/ 82861 h 1202560"/>
                  <a:gd name="connsiteX389" fmla="*/ 550872 w 663217"/>
                  <a:gd name="connsiteY389" fmla="*/ 44001 h 1202560"/>
                  <a:gd name="connsiteX390" fmla="*/ 427533 w 663217"/>
                  <a:gd name="connsiteY390" fmla="*/ 157883 h 1202560"/>
                  <a:gd name="connsiteX391" fmla="*/ 428639 w 663217"/>
                  <a:gd name="connsiteY391" fmla="*/ 160581 h 1202560"/>
                  <a:gd name="connsiteX392" fmla="*/ 429192 w 663217"/>
                  <a:gd name="connsiteY392" fmla="*/ 167058 h 1202560"/>
                  <a:gd name="connsiteX393" fmla="*/ 446338 w 663217"/>
                  <a:gd name="connsiteY393" fmla="*/ 178392 h 1202560"/>
                  <a:gd name="connsiteX394" fmla="*/ 436935 w 663217"/>
                  <a:gd name="connsiteY394" fmla="*/ 182170 h 1202560"/>
                  <a:gd name="connsiteX395" fmla="*/ 433617 w 663217"/>
                  <a:gd name="connsiteY395" fmla="*/ 178392 h 1202560"/>
                  <a:gd name="connsiteX396" fmla="*/ 419789 w 663217"/>
                  <a:gd name="connsiteY396" fmla="*/ 177313 h 1202560"/>
                  <a:gd name="connsiteX397" fmla="*/ 417577 w 663217"/>
                  <a:gd name="connsiteY397" fmla="*/ 169756 h 1202560"/>
                  <a:gd name="connsiteX398" fmla="*/ 409834 w 663217"/>
                  <a:gd name="connsiteY398" fmla="*/ 167598 h 1202560"/>
                  <a:gd name="connsiteX399" fmla="*/ 415918 w 663217"/>
                  <a:gd name="connsiteY399" fmla="*/ 155724 h 1202560"/>
                  <a:gd name="connsiteX400" fmla="*/ 426427 w 663217"/>
                  <a:gd name="connsiteY400" fmla="*/ 156263 h 1202560"/>
                  <a:gd name="connsiteX401" fmla="*/ 427533 w 663217"/>
                  <a:gd name="connsiteY401" fmla="*/ 157883 h 1202560"/>
                  <a:gd name="connsiteX402" fmla="*/ 212933 w 663217"/>
                  <a:gd name="connsiteY402" fmla="*/ 226427 h 1202560"/>
                  <a:gd name="connsiteX403" fmla="*/ 217358 w 663217"/>
                  <a:gd name="connsiteY403" fmla="*/ 227507 h 1202560"/>
                  <a:gd name="connsiteX404" fmla="*/ 221782 w 663217"/>
                  <a:gd name="connsiteY404" fmla="*/ 228047 h 1202560"/>
                  <a:gd name="connsiteX405" fmla="*/ 219570 w 663217"/>
                  <a:gd name="connsiteY405" fmla="*/ 233444 h 1202560"/>
                  <a:gd name="connsiteX406" fmla="*/ 205190 w 663217"/>
                  <a:gd name="connsiteY406" fmla="*/ 233444 h 1202560"/>
                  <a:gd name="connsiteX407" fmla="*/ 203530 w 663217"/>
                  <a:gd name="connsiteY407" fmla="*/ 239381 h 1202560"/>
                  <a:gd name="connsiteX408" fmla="*/ 200765 w 663217"/>
                  <a:gd name="connsiteY408" fmla="*/ 242619 h 1202560"/>
                  <a:gd name="connsiteX409" fmla="*/ 198553 w 663217"/>
                  <a:gd name="connsiteY409" fmla="*/ 250175 h 1202560"/>
                  <a:gd name="connsiteX410" fmla="*/ 191915 w 663217"/>
                  <a:gd name="connsiteY410" fmla="*/ 253414 h 1202560"/>
                  <a:gd name="connsiteX411" fmla="*/ 186385 w 663217"/>
                  <a:gd name="connsiteY411" fmla="*/ 257731 h 1202560"/>
                  <a:gd name="connsiteX412" fmla="*/ 181960 w 663217"/>
                  <a:gd name="connsiteY412" fmla="*/ 253953 h 1202560"/>
                  <a:gd name="connsiteX413" fmla="*/ 173663 w 663217"/>
                  <a:gd name="connsiteY413" fmla="*/ 264208 h 1202560"/>
                  <a:gd name="connsiteX414" fmla="*/ 167026 w 663217"/>
                  <a:gd name="connsiteY414" fmla="*/ 267446 h 1202560"/>
                  <a:gd name="connsiteX415" fmla="*/ 156518 w 663217"/>
                  <a:gd name="connsiteY415" fmla="*/ 272844 h 1202560"/>
                  <a:gd name="connsiteX416" fmla="*/ 153752 w 663217"/>
                  <a:gd name="connsiteY416" fmla="*/ 271764 h 1202560"/>
                  <a:gd name="connsiteX417" fmla="*/ 152093 w 663217"/>
                  <a:gd name="connsiteY417" fmla="*/ 269605 h 1202560"/>
                  <a:gd name="connsiteX418" fmla="*/ 160389 w 663217"/>
                  <a:gd name="connsiteY418" fmla="*/ 256112 h 1202560"/>
                  <a:gd name="connsiteX419" fmla="*/ 155411 w 663217"/>
                  <a:gd name="connsiteY419" fmla="*/ 245857 h 1202560"/>
                  <a:gd name="connsiteX420" fmla="*/ 158177 w 663217"/>
                  <a:gd name="connsiteY420" fmla="*/ 226427 h 1202560"/>
                  <a:gd name="connsiteX421" fmla="*/ 167026 w 663217"/>
                  <a:gd name="connsiteY421" fmla="*/ 222649 h 1202560"/>
                  <a:gd name="connsiteX422" fmla="*/ 179194 w 663217"/>
                  <a:gd name="connsiteY422" fmla="*/ 229126 h 1202560"/>
                  <a:gd name="connsiteX423" fmla="*/ 182513 w 663217"/>
                  <a:gd name="connsiteY423" fmla="*/ 226427 h 1202560"/>
                  <a:gd name="connsiteX424" fmla="*/ 183619 w 663217"/>
                  <a:gd name="connsiteY424" fmla="*/ 214554 h 1202560"/>
                  <a:gd name="connsiteX425" fmla="*/ 199106 w 663217"/>
                  <a:gd name="connsiteY425" fmla="*/ 210236 h 1202560"/>
                  <a:gd name="connsiteX426" fmla="*/ 215698 w 663217"/>
                  <a:gd name="connsiteY426" fmla="*/ 197822 h 1202560"/>
                  <a:gd name="connsiteX427" fmla="*/ 220123 w 663217"/>
                  <a:gd name="connsiteY427" fmla="*/ 199981 h 1202560"/>
                  <a:gd name="connsiteX428" fmla="*/ 220676 w 663217"/>
                  <a:gd name="connsiteY428" fmla="*/ 213474 h 1202560"/>
                  <a:gd name="connsiteX429" fmla="*/ 213486 w 663217"/>
                  <a:gd name="connsiteY429" fmla="*/ 223189 h 1202560"/>
                  <a:gd name="connsiteX430" fmla="*/ 212933 w 663217"/>
                  <a:gd name="connsiteY430" fmla="*/ 226427 h 1202560"/>
                  <a:gd name="connsiteX431" fmla="*/ 205743 w 663217"/>
                  <a:gd name="connsiteY431" fmla="*/ 352183 h 1202560"/>
                  <a:gd name="connsiteX432" fmla="*/ 202977 w 663217"/>
                  <a:gd name="connsiteY432" fmla="*/ 350564 h 1202560"/>
                  <a:gd name="connsiteX433" fmla="*/ 199106 w 663217"/>
                  <a:gd name="connsiteY433" fmla="*/ 354342 h 1202560"/>
                  <a:gd name="connsiteX434" fmla="*/ 188044 w 663217"/>
                  <a:gd name="connsiteY434" fmla="*/ 352183 h 1202560"/>
                  <a:gd name="connsiteX435" fmla="*/ 179747 w 663217"/>
                  <a:gd name="connsiteY435" fmla="*/ 339230 h 1202560"/>
                  <a:gd name="connsiteX436" fmla="*/ 180301 w 663217"/>
                  <a:gd name="connsiteY436" fmla="*/ 330594 h 1202560"/>
                  <a:gd name="connsiteX437" fmla="*/ 174770 w 663217"/>
                  <a:gd name="connsiteY437" fmla="*/ 324117 h 1202560"/>
                  <a:gd name="connsiteX438" fmla="*/ 162602 w 663217"/>
                  <a:gd name="connsiteY438" fmla="*/ 315482 h 1202560"/>
                  <a:gd name="connsiteX439" fmla="*/ 163155 w 663217"/>
                  <a:gd name="connsiteY439" fmla="*/ 313323 h 1202560"/>
                  <a:gd name="connsiteX440" fmla="*/ 172004 w 663217"/>
                  <a:gd name="connsiteY440" fmla="*/ 311704 h 1202560"/>
                  <a:gd name="connsiteX441" fmla="*/ 176429 w 663217"/>
                  <a:gd name="connsiteY441" fmla="*/ 310085 h 1202560"/>
                  <a:gd name="connsiteX442" fmla="*/ 189703 w 663217"/>
                  <a:gd name="connsiteY442" fmla="*/ 312243 h 1202560"/>
                  <a:gd name="connsiteX443" fmla="*/ 190256 w 663217"/>
                  <a:gd name="connsiteY443" fmla="*/ 297671 h 1202560"/>
                  <a:gd name="connsiteX444" fmla="*/ 195787 w 663217"/>
                  <a:gd name="connsiteY444" fmla="*/ 294972 h 1202560"/>
                  <a:gd name="connsiteX445" fmla="*/ 199106 w 663217"/>
                  <a:gd name="connsiteY445" fmla="*/ 301989 h 1202560"/>
                  <a:gd name="connsiteX446" fmla="*/ 197446 w 663217"/>
                  <a:gd name="connsiteY446" fmla="*/ 321419 h 1202560"/>
                  <a:gd name="connsiteX447" fmla="*/ 200765 w 663217"/>
                  <a:gd name="connsiteY447" fmla="*/ 330594 h 1202560"/>
                  <a:gd name="connsiteX448" fmla="*/ 205743 w 663217"/>
                  <a:gd name="connsiteY448" fmla="*/ 334912 h 1202560"/>
                  <a:gd name="connsiteX449" fmla="*/ 212933 w 663217"/>
                  <a:gd name="connsiteY449" fmla="*/ 342468 h 1202560"/>
                  <a:gd name="connsiteX450" fmla="*/ 217911 w 663217"/>
                  <a:gd name="connsiteY450" fmla="*/ 344627 h 1202560"/>
                  <a:gd name="connsiteX451" fmla="*/ 219017 w 663217"/>
                  <a:gd name="connsiteY451" fmla="*/ 347865 h 1202560"/>
                  <a:gd name="connsiteX452" fmla="*/ 217358 w 663217"/>
                  <a:gd name="connsiteY452" fmla="*/ 357580 h 1202560"/>
                  <a:gd name="connsiteX453" fmla="*/ 203530 w 663217"/>
                  <a:gd name="connsiteY453" fmla="*/ 372153 h 1202560"/>
                  <a:gd name="connsiteX454" fmla="*/ 199659 w 663217"/>
                  <a:gd name="connsiteY454" fmla="*/ 369454 h 1202560"/>
                  <a:gd name="connsiteX455" fmla="*/ 204084 w 663217"/>
                  <a:gd name="connsiteY455" fmla="*/ 364057 h 1202560"/>
                  <a:gd name="connsiteX456" fmla="*/ 205743 w 663217"/>
                  <a:gd name="connsiteY456" fmla="*/ 352183 h 1202560"/>
                  <a:gd name="connsiteX457" fmla="*/ 199106 w 663217"/>
                  <a:gd name="connsiteY457" fmla="*/ 437459 h 1202560"/>
                  <a:gd name="connsiteX458" fmla="*/ 204084 w 663217"/>
                  <a:gd name="connsiteY458" fmla="*/ 443396 h 1202560"/>
                  <a:gd name="connsiteX459" fmla="*/ 202977 w 663217"/>
                  <a:gd name="connsiteY459" fmla="*/ 449873 h 1202560"/>
                  <a:gd name="connsiteX460" fmla="*/ 200765 w 663217"/>
                  <a:gd name="connsiteY460" fmla="*/ 451492 h 1202560"/>
                  <a:gd name="connsiteX461" fmla="*/ 189150 w 663217"/>
                  <a:gd name="connsiteY461" fmla="*/ 451492 h 1202560"/>
                  <a:gd name="connsiteX462" fmla="*/ 172557 w 663217"/>
                  <a:gd name="connsiteY462" fmla="*/ 456889 h 1202560"/>
                  <a:gd name="connsiteX463" fmla="*/ 163708 w 663217"/>
                  <a:gd name="connsiteY463" fmla="*/ 455270 h 1202560"/>
                  <a:gd name="connsiteX464" fmla="*/ 162602 w 663217"/>
                  <a:gd name="connsiteY464" fmla="*/ 452572 h 1202560"/>
                  <a:gd name="connsiteX465" fmla="*/ 165367 w 663217"/>
                  <a:gd name="connsiteY465" fmla="*/ 449333 h 1202560"/>
                  <a:gd name="connsiteX466" fmla="*/ 176982 w 663217"/>
                  <a:gd name="connsiteY466" fmla="*/ 445015 h 1202560"/>
                  <a:gd name="connsiteX467" fmla="*/ 179747 w 663217"/>
                  <a:gd name="connsiteY467" fmla="*/ 441777 h 1202560"/>
                  <a:gd name="connsiteX468" fmla="*/ 179194 w 663217"/>
                  <a:gd name="connsiteY468" fmla="*/ 438539 h 1202560"/>
                  <a:gd name="connsiteX469" fmla="*/ 172004 w 663217"/>
                  <a:gd name="connsiteY469" fmla="*/ 430983 h 1202560"/>
                  <a:gd name="connsiteX470" fmla="*/ 169792 w 663217"/>
                  <a:gd name="connsiteY470" fmla="*/ 426665 h 1202560"/>
                  <a:gd name="connsiteX471" fmla="*/ 169792 w 663217"/>
                  <a:gd name="connsiteY471" fmla="*/ 423966 h 1202560"/>
                  <a:gd name="connsiteX472" fmla="*/ 172004 w 663217"/>
                  <a:gd name="connsiteY472" fmla="*/ 420188 h 1202560"/>
                  <a:gd name="connsiteX473" fmla="*/ 175876 w 663217"/>
                  <a:gd name="connsiteY473" fmla="*/ 418029 h 1202560"/>
                  <a:gd name="connsiteX474" fmla="*/ 177535 w 663217"/>
                  <a:gd name="connsiteY474" fmla="*/ 416410 h 1202560"/>
                  <a:gd name="connsiteX475" fmla="*/ 179747 w 663217"/>
                  <a:gd name="connsiteY475" fmla="*/ 416950 h 1202560"/>
                  <a:gd name="connsiteX476" fmla="*/ 181960 w 663217"/>
                  <a:gd name="connsiteY476" fmla="*/ 419109 h 1202560"/>
                  <a:gd name="connsiteX477" fmla="*/ 188044 w 663217"/>
                  <a:gd name="connsiteY477" fmla="*/ 430443 h 1202560"/>
                  <a:gd name="connsiteX478" fmla="*/ 199106 w 663217"/>
                  <a:gd name="connsiteY478" fmla="*/ 437459 h 1202560"/>
                  <a:gd name="connsiteX479" fmla="*/ 205743 w 663217"/>
                  <a:gd name="connsiteY479" fmla="*/ 536768 h 1202560"/>
                  <a:gd name="connsiteX480" fmla="*/ 198553 w 663217"/>
                  <a:gd name="connsiteY480" fmla="*/ 551881 h 1202560"/>
                  <a:gd name="connsiteX481" fmla="*/ 191362 w 663217"/>
                  <a:gd name="connsiteY481" fmla="*/ 570771 h 1202560"/>
                  <a:gd name="connsiteX482" fmla="*/ 175323 w 663217"/>
                  <a:gd name="connsiteY482" fmla="*/ 574009 h 1202560"/>
                  <a:gd name="connsiteX483" fmla="*/ 174217 w 663217"/>
                  <a:gd name="connsiteY483" fmla="*/ 570231 h 1202560"/>
                  <a:gd name="connsiteX484" fmla="*/ 174770 w 663217"/>
                  <a:gd name="connsiteY484" fmla="*/ 566453 h 1202560"/>
                  <a:gd name="connsiteX485" fmla="*/ 182513 w 663217"/>
                  <a:gd name="connsiteY485" fmla="*/ 555659 h 1202560"/>
                  <a:gd name="connsiteX486" fmla="*/ 196893 w 663217"/>
                  <a:gd name="connsiteY486" fmla="*/ 529212 h 1202560"/>
                  <a:gd name="connsiteX487" fmla="*/ 200765 w 663217"/>
                  <a:gd name="connsiteY487" fmla="*/ 525974 h 1202560"/>
                  <a:gd name="connsiteX488" fmla="*/ 210168 w 663217"/>
                  <a:gd name="connsiteY488" fmla="*/ 525974 h 1202560"/>
                  <a:gd name="connsiteX489" fmla="*/ 205743 w 663217"/>
                  <a:gd name="connsiteY489" fmla="*/ 536768 h 1202560"/>
                  <a:gd name="connsiteX490" fmla="*/ 151540 w 663217"/>
                  <a:gd name="connsiteY490" fmla="*/ 535149 h 1202560"/>
                  <a:gd name="connsiteX491" fmla="*/ 146009 w 663217"/>
                  <a:gd name="connsiteY491" fmla="*/ 530292 h 1202560"/>
                  <a:gd name="connsiteX492" fmla="*/ 148221 w 663217"/>
                  <a:gd name="connsiteY492" fmla="*/ 525974 h 1202560"/>
                  <a:gd name="connsiteX493" fmla="*/ 149880 w 663217"/>
                  <a:gd name="connsiteY493" fmla="*/ 521116 h 1202560"/>
                  <a:gd name="connsiteX494" fmla="*/ 150987 w 663217"/>
                  <a:gd name="connsiteY494" fmla="*/ 514640 h 1202560"/>
                  <a:gd name="connsiteX495" fmla="*/ 148221 w 663217"/>
                  <a:gd name="connsiteY495" fmla="*/ 512481 h 1202560"/>
                  <a:gd name="connsiteX496" fmla="*/ 142690 w 663217"/>
                  <a:gd name="connsiteY496" fmla="*/ 519497 h 1202560"/>
                  <a:gd name="connsiteX497" fmla="*/ 137712 w 663217"/>
                  <a:gd name="connsiteY497" fmla="*/ 520037 h 1202560"/>
                  <a:gd name="connsiteX498" fmla="*/ 144903 w 663217"/>
                  <a:gd name="connsiteY498" fmla="*/ 503845 h 1202560"/>
                  <a:gd name="connsiteX499" fmla="*/ 158730 w 663217"/>
                  <a:gd name="connsiteY499" fmla="*/ 500067 h 1202560"/>
                  <a:gd name="connsiteX500" fmla="*/ 160389 w 663217"/>
                  <a:gd name="connsiteY500" fmla="*/ 510862 h 1202560"/>
                  <a:gd name="connsiteX501" fmla="*/ 163708 w 663217"/>
                  <a:gd name="connsiteY501" fmla="*/ 528133 h 1202560"/>
                  <a:gd name="connsiteX502" fmla="*/ 153752 w 663217"/>
                  <a:gd name="connsiteY502" fmla="*/ 532451 h 1202560"/>
                  <a:gd name="connsiteX503" fmla="*/ 151540 w 663217"/>
                  <a:gd name="connsiteY503" fmla="*/ 535149 h 1202560"/>
                  <a:gd name="connsiteX504" fmla="*/ 253862 w 663217"/>
                  <a:gd name="connsiteY504" fmla="*/ 697066 h 1202560"/>
                  <a:gd name="connsiteX505" fmla="*/ 252756 w 663217"/>
                  <a:gd name="connsiteY505" fmla="*/ 706241 h 1202560"/>
                  <a:gd name="connsiteX506" fmla="*/ 226760 w 663217"/>
                  <a:gd name="connsiteY506" fmla="*/ 732688 h 1202560"/>
                  <a:gd name="connsiteX507" fmla="*/ 224548 w 663217"/>
                  <a:gd name="connsiteY507" fmla="*/ 732688 h 1202560"/>
                  <a:gd name="connsiteX508" fmla="*/ 218464 w 663217"/>
                  <a:gd name="connsiteY508" fmla="*/ 727291 h 1202560"/>
                  <a:gd name="connsiteX509" fmla="*/ 219017 w 663217"/>
                  <a:gd name="connsiteY509" fmla="*/ 720814 h 1202560"/>
                  <a:gd name="connsiteX510" fmla="*/ 232291 w 663217"/>
                  <a:gd name="connsiteY510" fmla="*/ 709480 h 1202560"/>
                  <a:gd name="connsiteX511" fmla="*/ 239481 w 663217"/>
                  <a:gd name="connsiteY511" fmla="*/ 700844 h 1202560"/>
                  <a:gd name="connsiteX512" fmla="*/ 253862 w 663217"/>
                  <a:gd name="connsiteY512" fmla="*/ 697066 h 1202560"/>
                  <a:gd name="connsiteX513" fmla="*/ 227313 w 663217"/>
                  <a:gd name="connsiteY513" fmla="*/ 840633 h 1202560"/>
                  <a:gd name="connsiteX514" fmla="*/ 224548 w 663217"/>
                  <a:gd name="connsiteY514" fmla="*/ 840093 h 1202560"/>
                  <a:gd name="connsiteX515" fmla="*/ 217358 w 663217"/>
                  <a:gd name="connsiteY515" fmla="*/ 830378 h 1202560"/>
                  <a:gd name="connsiteX516" fmla="*/ 221782 w 663217"/>
                  <a:gd name="connsiteY516" fmla="*/ 809868 h 1202560"/>
                  <a:gd name="connsiteX517" fmla="*/ 227313 w 663217"/>
                  <a:gd name="connsiteY517" fmla="*/ 807170 h 1202560"/>
                  <a:gd name="connsiteX518" fmla="*/ 233950 w 663217"/>
                  <a:gd name="connsiteY518" fmla="*/ 807709 h 1202560"/>
                  <a:gd name="connsiteX519" fmla="*/ 240588 w 663217"/>
                  <a:gd name="connsiteY519" fmla="*/ 818504 h 1202560"/>
                  <a:gd name="connsiteX520" fmla="*/ 248884 w 663217"/>
                  <a:gd name="connsiteY520" fmla="*/ 823901 h 1202560"/>
                  <a:gd name="connsiteX521" fmla="*/ 248331 w 663217"/>
                  <a:gd name="connsiteY521" fmla="*/ 825520 h 1202560"/>
                  <a:gd name="connsiteX522" fmla="*/ 245012 w 663217"/>
                  <a:gd name="connsiteY522" fmla="*/ 827139 h 1202560"/>
                  <a:gd name="connsiteX523" fmla="*/ 227313 w 663217"/>
                  <a:gd name="connsiteY523" fmla="*/ 840633 h 1202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</a:cxnLst>
                <a:rect l="l" t="t" r="r" b="b"/>
                <a:pathLst>
                  <a:path w="663217" h="1202560">
                    <a:moveTo>
                      <a:pt x="400431" y="1157990"/>
                    </a:moveTo>
                    <a:cubicBezTo>
                      <a:pt x="404303" y="1156910"/>
                      <a:pt x="428086" y="1154212"/>
                      <a:pt x="428639" y="1159609"/>
                    </a:cubicBezTo>
                    <a:cubicBezTo>
                      <a:pt x="429192" y="1160149"/>
                      <a:pt x="428639" y="1162308"/>
                      <a:pt x="428086" y="1162847"/>
                    </a:cubicBezTo>
                    <a:cubicBezTo>
                      <a:pt x="426427" y="1165006"/>
                      <a:pt x="418683" y="1170404"/>
                      <a:pt x="415918" y="1170943"/>
                    </a:cubicBezTo>
                    <a:cubicBezTo>
                      <a:pt x="412046" y="1171483"/>
                      <a:pt x="392688" y="1168784"/>
                      <a:pt x="395453" y="1161768"/>
                    </a:cubicBezTo>
                    <a:cubicBezTo>
                      <a:pt x="396006" y="1160149"/>
                      <a:pt x="398772" y="1158530"/>
                      <a:pt x="400431" y="1157990"/>
                    </a:cubicBezTo>
                    <a:close/>
                    <a:moveTo>
                      <a:pt x="116142" y="711639"/>
                    </a:moveTo>
                    <a:lnTo>
                      <a:pt x="92912" y="710559"/>
                    </a:lnTo>
                    <a:lnTo>
                      <a:pt x="92359" y="692748"/>
                    </a:lnTo>
                    <a:lnTo>
                      <a:pt x="81297" y="684113"/>
                    </a:lnTo>
                    <a:lnTo>
                      <a:pt x="81850" y="675477"/>
                    </a:lnTo>
                    <a:lnTo>
                      <a:pt x="70235" y="659825"/>
                    </a:lnTo>
                    <a:lnTo>
                      <a:pt x="58620" y="670620"/>
                    </a:lnTo>
                    <a:lnTo>
                      <a:pt x="58067" y="683573"/>
                    </a:lnTo>
                    <a:lnTo>
                      <a:pt x="48665" y="692209"/>
                    </a:lnTo>
                    <a:lnTo>
                      <a:pt x="40921" y="684653"/>
                    </a:lnTo>
                    <a:lnTo>
                      <a:pt x="26541" y="682494"/>
                    </a:lnTo>
                    <a:lnTo>
                      <a:pt x="21010" y="676557"/>
                    </a:lnTo>
                    <a:lnTo>
                      <a:pt x="9948" y="671159"/>
                    </a:lnTo>
                    <a:lnTo>
                      <a:pt x="546" y="650650"/>
                    </a:lnTo>
                    <a:lnTo>
                      <a:pt x="-561" y="641475"/>
                    </a:lnTo>
                    <a:lnTo>
                      <a:pt x="12161" y="632839"/>
                    </a:lnTo>
                    <a:lnTo>
                      <a:pt x="19351" y="637157"/>
                    </a:lnTo>
                    <a:lnTo>
                      <a:pt x="27647" y="629061"/>
                    </a:lnTo>
                    <a:lnTo>
                      <a:pt x="21010" y="623124"/>
                    </a:lnTo>
                    <a:lnTo>
                      <a:pt x="21563" y="615568"/>
                    </a:lnTo>
                    <a:lnTo>
                      <a:pt x="27647" y="615028"/>
                    </a:lnTo>
                    <a:lnTo>
                      <a:pt x="33178" y="619346"/>
                    </a:lnTo>
                    <a:lnTo>
                      <a:pt x="45899" y="614489"/>
                    </a:lnTo>
                    <a:lnTo>
                      <a:pt x="58067" y="592360"/>
                    </a:lnTo>
                    <a:lnTo>
                      <a:pt x="74660" y="583724"/>
                    </a:lnTo>
                    <a:cubicBezTo>
                      <a:pt x="82956" y="585343"/>
                      <a:pt x="81297" y="582645"/>
                      <a:pt x="86275" y="580486"/>
                    </a:cubicBezTo>
                    <a:cubicBezTo>
                      <a:pt x="96784" y="575089"/>
                      <a:pt x="100102" y="579406"/>
                      <a:pt x="106739" y="577248"/>
                    </a:cubicBezTo>
                    <a:cubicBezTo>
                      <a:pt x="111164" y="576168"/>
                      <a:pt x="115589" y="574549"/>
                      <a:pt x="120567" y="574009"/>
                    </a:cubicBezTo>
                    <a:cubicBezTo>
                      <a:pt x="122226" y="574009"/>
                      <a:pt x="123885" y="574549"/>
                      <a:pt x="126098" y="574549"/>
                    </a:cubicBezTo>
                    <a:lnTo>
                      <a:pt x="127204" y="572930"/>
                    </a:lnTo>
                    <a:cubicBezTo>
                      <a:pt x="132182" y="573470"/>
                      <a:pt x="141584" y="576168"/>
                      <a:pt x="146009" y="578867"/>
                    </a:cubicBezTo>
                    <a:cubicBezTo>
                      <a:pt x="159836" y="587502"/>
                      <a:pt x="156518" y="608012"/>
                      <a:pt x="160389" y="621505"/>
                    </a:cubicBezTo>
                    <a:cubicBezTo>
                      <a:pt x="161495" y="624743"/>
                      <a:pt x="167026" y="630140"/>
                      <a:pt x="167579" y="633379"/>
                    </a:cubicBezTo>
                    <a:cubicBezTo>
                      <a:pt x="169239" y="639856"/>
                      <a:pt x="160389" y="642014"/>
                      <a:pt x="157071" y="644713"/>
                    </a:cubicBezTo>
                    <a:lnTo>
                      <a:pt x="155965" y="646872"/>
                    </a:lnTo>
                    <a:cubicBezTo>
                      <a:pt x="160389" y="648491"/>
                      <a:pt x="171451" y="649031"/>
                      <a:pt x="173663" y="650110"/>
                    </a:cubicBezTo>
                    <a:cubicBezTo>
                      <a:pt x="181407" y="652809"/>
                      <a:pt x="179747" y="678716"/>
                      <a:pt x="175876" y="684113"/>
                    </a:cubicBezTo>
                    <a:lnTo>
                      <a:pt x="174217" y="684113"/>
                    </a:lnTo>
                    <a:cubicBezTo>
                      <a:pt x="172004" y="678716"/>
                      <a:pt x="175323" y="671159"/>
                      <a:pt x="168686" y="669001"/>
                    </a:cubicBezTo>
                    <a:lnTo>
                      <a:pt x="167026" y="669540"/>
                    </a:lnTo>
                    <a:cubicBezTo>
                      <a:pt x="165920" y="671699"/>
                      <a:pt x="161495" y="681954"/>
                      <a:pt x="161495" y="683573"/>
                    </a:cubicBezTo>
                    <a:cubicBezTo>
                      <a:pt x="162049" y="687351"/>
                      <a:pt x="173110" y="685732"/>
                      <a:pt x="165920" y="698146"/>
                    </a:cubicBezTo>
                    <a:cubicBezTo>
                      <a:pt x="162049" y="700305"/>
                      <a:pt x="152093" y="699225"/>
                      <a:pt x="147668" y="699765"/>
                    </a:cubicBezTo>
                    <a:cubicBezTo>
                      <a:pt x="142137" y="703543"/>
                      <a:pt x="139925" y="714877"/>
                      <a:pt x="132735" y="715417"/>
                    </a:cubicBezTo>
                    <a:cubicBezTo>
                      <a:pt x="129969" y="715417"/>
                      <a:pt x="117248" y="709480"/>
                      <a:pt x="116142" y="711639"/>
                    </a:cubicBezTo>
                    <a:close/>
                    <a:moveTo>
                      <a:pt x="226760" y="440158"/>
                    </a:moveTo>
                    <a:cubicBezTo>
                      <a:pt x="230632" y="437459"/>
                      <a:pt x="228420" y="434221"/>
                      <a:pt x="230632" y="432062"/>
                    </a:cubicBezTo>
                    <a:cubicBezTo>
                      <a:pt x="234504" y="427744"/>
                      <a:pt x="240034" y="427744"/>
                      <a:pt x="243353" y="421807"/>
                    </a:cubicBezTo>
                    <a:cubicBezTo>
                      <a:pt x="245565" y="418569"/>
                      <a:pt x="247778" y="414791"/>
                      <a:pt x="249990" y="412092"/>
                    </a:cubicBezTo>
                    <a:cubicBezTo>
                      <a:pt x="251096" y="410473"/>
                      <a:pt x="254415" y="407774"/>
                      <a:pt x="254968" y="406695"/>
                    </a:cubicBezTo>
                    <a:lnTo>
                      <a:pt x="252756" y="404536"/>
                    </a:lnTo>
                    <a:cubicBezTo>
                      <a:pt x="250543" y="404536"/>
                      <a:pt x="223442" y="430443"/>
                      <a:pt x="215145" y="433141"/>
                    </a:cubicBezTo>
                    <a:cubicBezTo>
                      <a:pt x="210168" y="434761"/>
                      <a:pt x="201318" y="428824"/>
                      <a:pt x="197999" y="425046"/>
                    </a:cubicBezTo>
                    <a:cubicBezTo>
                      <a:pt x="195234" y="421807"/>
                      <a:pt x="193575" y="417489"/>
                      <a:pt x="190809" y="414251"/>
                    </a:cubicBezTo>
                    <a:cubicBezTo>
                      <a:pt x="188597" y="412632"/>
                      <a:pt x="184725" y="411013"/>
                      <a:pt x="183619" y="409394"/>
                    </a:cubicBezTo>
                    <a:cubicBezTo>
                      <a:pt x="183066" y="408314"/>
                      <a:pt x="181960" y="405076"/>
                      <a:pt x="183066" y="403996"/>
                    </a:cubicBezTo>
                    <a:cubicBezTo>
                      <a:pt x="185831" y="400758"/>
                      <a:pt x="201871" y="402377"/>
                      <a:pt x="202424" y="402377"/>
                    </a:cubicBezTo>
                    <a:cubicBezTo>
                      <a:pt x="205190" y="399679"/>
                      <a:pt x="209614" y="399679"/>
                      <a:pt x="211827" y="397520"/>
                    </a:cubicBezTo>
                    <a:cubicBezTo>
                      <a:pt x="212380" y="396440"/>
                      <a:pt x="213486" y="393202"/>
                      <a:pt x="213486" y="391583"/>
                    </a:cubicBezTo>
                    <a:cubicBezTo>
                      <a:pt x="212380" y="388344"/>
                      <a:pt x="206296" y="391043"/>
                      <a:pt x="210721" y="380249"/>
                    </a:cubicBezTo>
                    <a:cubicBezTo>
                      <a:pt x="212933" y="374312"/>
                      <a:pt x="219570" y="380788"/>
                      <a:pt x="221782" y="378629"/>
                    </a:cubicBezTo>
                    <a:cubicBezTo>
                      <a:pt x="225654" y="375931"/>
                      <a:pt x="216805" y="366755"/>
                      <a:pt x="223442" y="365676"/>
                    </a:cubicBezTo>
                    <a:cubicBezTo>
                      <a:pt x="227866" y="364597"/>
                      <a:pt x="226207" y="366755"/>
                      <a:pt x="228420" y="367835"/>
                    </a:cubicBezTo>
                    <a:cubicBezTo>
                      <a:pt x="230079" y="368914"/>
                      <a:pt x="233397" y="368375"/>
                      <a:pt x="234504" y="366216"/>
                    </a:cubicBezTo>
                    <a:cubicBezTo>
                      <a:pt x="236716" y="362438"/>
                      <a:pt x="228420" y="359739"/>
                      <a:pt x="227866" y="357040"/>
                    </a:cubicBezTo>
                    <a:cubicBezTo>
                      <a:pt x="227313" y="352723"/>
                      <a:pt x="233397" y="351643"/>
                      <a:pt x="235057" y="348945"/>
                    </a:cubicBezTo>
                    <a:cubicBezTo>
                      <a:pt x="236163" y="346786"/>
                      <a:pt x="235610" y="344087"/>
                      <a:pt x="233397" y="343547"/>
                    </a:cubicBezTo>
                    <a:cubicBezTo>
                      <a:pt x="232291" y="343547"/>
                      <a:pt x="231738" y="344087"/>
                      <a:pt x="231185" y="343008"/>
                    </a:cubicBezTo>
                    <a:cubicBezTo>
                      <a:pt x="231738" y="342468"/>
                      <a:pt x="232844" y="341928"/>
                      <a:pt x="233950" y="341389"/>
                    </a:cubicBezTo>
                    <a:cubicBezTo>
                      <a:pt x="235610" y="340849"/>
                      <a:pt x="238375" y="338150"/>
                      <a:pt x="238375" y="335991"/>
                    </a:cubicBezTo>
                    <a:cubicBezTo>
                      <a:pt x="237269" y="329515"/>
                      <a:pt x="226207" y="332753"/>
                      <a:pt x="222336" y="329515"/>
                    </a:cubicBezTo>
                    <a:lnTo>
                      <a:pt x="222336" y="313323"/>
                    </a:lnTo>
                    <a:lnTo>
                      <a:pt x="223995" y="312783"/>
                    </a:lnTo>
                    <a:lnTo>
                      <a:pt x="230632" y="315482"/>
                    </a:lnTo>
                    <a:lnTo>
                      <a:pt x="231185" y="317101"/>
                    </a:lnTo>
                    <a:cubicBezTo>
                      <a:pt x="233397" y="319800"/>
                      <a:pt x="238928" y="317101"/>
                      <a:pt x="238375" y="312783"/>
                    </a:cubicBezTo>
                    <a:cubicBezTo>
                      <a:pt x="237269" y="311704"/>
                      <a:pt x="235057" y="310624"/>
                      <a:pt x="234504" y="309005"/>
                    </a:cubicBezTo>
                    <a:cubicBezTo>
                      <a:pt x="230079" y="301449"/>
                      <a:pt x="235057" y="299290"/>
                      <a:pt x="234504" y="296591"/>
                    </a:cubicBezTo>
                    <a:cubicBezTo>
                      <a:pt x="233950" y="294972"/>
                      <a:pt x="232291" y="294433"/>
                      <a:pt x="231738" y="292813"/>
                    </a:cubicBezTo>
                    <a:cubicBezTo>
                      <a:pt x="230632" y="290655"/>
                      <a:pt x="232291" y="280400"/>
                      <a:pt x="234504" y="279860"/>
                    </a:cubicBezTo>
                    <a:cubicBezTo>
                      <a:pt x="240588" y="277701"/>
                      <a:pt x="240034" y="284178"/>
                      <a:pt x="240588" y="285797"/>
                    </a:cubicBezTo>
                    <a:cubicBezTo>
                      <a:pt x="241141" y="287416"/>
                      <a:pt x="244459" y="287956"/>
                      <a:pt x="246119" y="286337"/>
                    </a:cubicBezTo>
                    <a:cubicBezTo>
                      <a:pt x="247225" y="284178"/>
                      <a:pt x="243906" y="282019"/>
                      <a:pt x="243353" y="280400"/>
                    </a:cubicBezTo>
                    <a:cubicBezTo>
                      <a:pt x="242247" y="277701"/>
                      <a:pt x="243353" y="272844"/>
                      <a:pt x="247225" y="273923"/>
                    </a:cubicBezTo>
                    <a:cubicBezTo>
                      <a:pt x="249437" y="274463"/>
                      <a:pt x="251096" y="276082"/>
                      <a:pt x="251649" y="278241"/>
                    </a:cubicBezTo>
                    <a:cubicBezTo>
                      <a:pt x="254415" y="278241"/>
                      <a:pt x="256074" y="277161"/>
                      <a:pt x="258840" y="276622"/>
                    </a:cubicBezTo>
                    <a:cubicBezTo>
                      <a:pt x="262711" y="275542"/>
                      <a:pt x="271008" y="277161"/>
                      <a:pt x="273220" y="274463"/>
                    </a:cubicBezTo>
                    <a:lnTo>
                      <a:pt x="273773" y="272844"/>
                    </a:lnTo>
                    <a:cubicBezTo>
                      <a:pt x="271561" y="268526"/>
                      <a:pt x="262158" y="262589"/>
                      <a:pt x="263264" y="257731"/>
                    </a:cubicBezTo>
                    <a:cubicBezTo>
                      <a:pt x="264371" y="257192"/>
                      <a:pt x="269348" y="258811"/>
                      <a:pt x="272114" y="254493"/>
                    </a:cubicBezTo>
                    <a:cubicBezTo>
                      <a:pt x="274879" y="250715"/>
                      <a:pt x="266583" y="242079"/>
                      <a:pt x="268795" y="238841"/>
                    </a:cubicBezTo>
                    <a:cubicBezTo>
                      <a:pt x="270455" y="236142"/>
                      <a:pt x="283176" y="240460"/>
                      <a:pt x="286494" y="235603"/>
                    </a:cubicBezTo>
                    <a:cubicBezTo>
                      <a:pt x="288707" y="231825"/>
                      <a:pt x="287600" y="226427"/>
                      <a:pt x="289813" y="222649"/>
                    </a:cubicBezTo>
                    <a:cubicBezTo>
                      <a:pt x="291472" y="219411"/>
                      <a:pt x="295897" y="218332"/>
                      <a:pt x="296450" y="214554"/>
                    </a:cubicBezTo>
                    <a:lnTo>
                      <a:pt x="295344" y="213474"/>
                    </a:lnTo>
                    <a:cubicBezTo>
                      <a:pt x="294791" y="212395"/>
                      <a:pt x="294238" y="210236"/>
                      <a:pt x="293684" y="209156"/>
                    </a:cubicBezTo>
                    <a:cubicBezTo>
                      <a:pt x="293131" y="206997"/>
                      <a:pt x="299215" y="198362"/>
                      <a:pt x="300875" y="197822"/>
                    </a:cubicBezTo>
                    <a:cubicBezTo>
                      <a:pt x="306406" y="194584"/>
                      <a:pt x="311936" y="205378"/>
                      <a:pt x="319680" y="206997"/>
                    </a:cubicBezTo>
                    <a:cubicBezTo>
                      <a:pt x="322445" y="206997"/>
                      <a:pt x="326870" y="206458"/>
                      <a:pt x="328529" y="206997"/>
                    </a:cubicBezTo>
                    <a:cubicBezTo>
                      <a:pt x="330742" y="208077"/>
                      <a:pt x="332401" y="212395"/>
                      <a:pt x="334613" y="213474"/>
                    </a:cubicBezTo>
                    <a:cubicBezTo>
                      <a:pt x="336826" y="214554"/>
                      <a:pt x="349547" y="214014"/>
                      <a:pt x="352312" y="213474"/>
                    </a:cubicBezTo>
                    <a:cubicBezTo>
                      <a:pt x="353418" y="213474"/>
                      <a:pt x="354525" y="212934"/>
                      <a:pt x="356184" y="212934"/>
                    </a:cubicBezTo>
                    <a:cubicBezTo>
                      <a:pt x="358949" y="212934"/>
                      <a:pt x="361162" y="215093"/>
                      <a:pt x="364480" y="215093"/>
                    </a:cubicBezTo>
                    <a:cubicBezTo>
                      <a:pt x="369458" y="215093"/>
                      <a:pt x="374436" y="211855"/>
                      <a:pt x="379967" y="211315"/>
                    </a:cubicBezTo>
                    <a:cubicBezTo>
                      <a:pt x="386051" y="211315"/>
                      <a:pt x="392688" y="213474"/>
                      <a:pt x="398772" y="212934"/>
                    </a:cubicBezTo>
                    <a:cubicBezTo>
                      <a:pt x="402644" y="212395"/>
                      <a:pt x="403197" y="204839"/>
                      <a:pt x="407621" y="204839"/>
                    </a:cubicBezTo>
                    <a:cubicBezTo>
                      <a:pt x="408728" y="204839"/>
                      <a:pt x="414258" y="206458"/>
                      <a:pt x="415365" y="206997"/>
                    </a:cubicBezTo>
                    <a:cubicBezTo>
                      <a:pt x="417024" y="208077"/>
                      <a:pt x="420342" y="210775"/>
                      <a:pt x="420896" y="212395"/>
                    </a:cubicBezTo>
                    <a:cubicBezTo>
                      <a:pt x="422002" y="216712"/>
                      <a:pt x="415918" y="225888"/>
                      <a:pt x="415365" y="230745"/>
                    </a:cubicBezTo>
                    <a:cubicBezTo>
                      <a:pt x="415365" y="235603"/>
                      <a:pt x="419236" y="237222"/>
                      <a:pt x="417024" y="242079"/>
                    </a:cubicBezTo>
                    <a:cubicBezTo>
                      <a:pt x="411493" y="246397"/>
                      <a:pt x="403197" y="246937"/>
                      <a:pt x="397113" y="251255"/>
                    </a:cubicBezTo>
                    <a:cubicBezTo>
                      <a:pt x="389369" y="256112"/>
                      <a:pt x="384392" y="264208"/>
                      <a:pt x="376648" y="269066"/>
                    </a:cubicBezTo>
                    <a:cubicBezTo>
                      <a:pt x="368905" y="273923"/>
                      <a:pt x="353971" y="276082"/>
                      <a:pt x="348994" y="283638"/>
                    </a:cubicBezTo>
                    <a:cubicBezTo>
                      <a:pt x="347334" y="286337"/>
                      <a:pt x="347334" y="290115"/>
                      <a:pt x="345675" y="292813"/>
                    </a:cubicBezTo>
                    <a:cubicBezTo>
                      <a:pt x="344569" y="293893"/>
                      <a:pt x="342910" y="294972"/>
                      <a:pt x="342357" y="296591"/>
                    </a:cubicBezTo>
                    <a:lnTo>
                      <a:pt x="343463" y="298750"/>
                    </a:lnTo>
                    <a:cubicBezTo>
                      <a:pt x="346228" y="298211"/>
                      <a:pt x="366693" y="294972"/>
                      <a:pt x="362821" y="300909"/>
                    </a:cubicBezTo>
                    <a:cubicBezTo>
                      <a:pt x="362268" y="302528"/>
                      <a:pt x="352865" y="309005"/>
                      <a:pt x="351206" y="309545"/>
                    </a:cubicBezTo>
                    <a:cubicBezTo>
                      <a:pt x="344569" y="312243"/>
                      <a:pt x="325211" y="309005"/>
                      <a:pt x="327423" y="317641"/>
                    </a:cubicBezTo>
                    <a:cubicBezTo>
                      <a:pt x="331295" y="320879"/>
                      <a:pt x="342910" y="314402"/>
                      <a:pt x="339591" y="320879"/>
                    </a:cubicBezTo>
                    <a:cubicBezTo>
                      <a:pt x="339591" y="320879"/>
                      <a:pt x="327976" y="328975"/>
                      <a:pt x="326870" y="329515"/>
                    </a:cubicBezTo>
                    <a:cubicBezTo>
                      <a:pt x="325764" y="330054"/>
                      <a:pt x="318574" y="331673"/>
                      <a:pt x="318020" y="332213"/>
                    </a:cubicBezTo>
                    <a:cubicBezTo>
                      <a:pt x="317467" y="333293"/>
                      <a:pt x="317467" y="334372"/>
                      <a:pt x="316914" y="334912"/>
                    </a:cubicBezTo>
                    <a:cubicBezTo>
                      <a:pt x="316361" y="338150"/>
                      <a:pt x="320786" y="337610"/>
                      <a:pt x="322445" y="337071"/>
                    </a:cubicBezTo>
                    <a:cubicBezTo>
                      <a:pt x="327976" y="335991"/>
                      <a:pt x="332954" y="331673"/>
                      <a:pt x="338485" y="330594"/>
                    </a:cubicBezTo>
                    <a:cubicBezTo>
                      <a:pt x="342910" y="329515"/>
                      <a:pt x="347334" y="330054"/>
                      <a:pt x="351206" y="328975"/>
                    </a:cubicBezTo>
                    <a:cubicBezTo>
                      <a:pt x="352865" y="328435"/>
                      <a:pt x="354525" y="327356"/>
                      <a:pt x="355631" y="326816"/>
                    </a:cubicBezTo>
                    <a:cubicBezTo>
                      <a:pt x="359502" y="324657"/>
                      <a:pt x="363374" y="321958"/>
                      <a:pt x="367246" y="320339"/>
                    </a:cubicBezTo>
                    <a:cubicBezTo>
                      <a:pt x="373330" y="318180"/>
                      <a:pt x="389369" y="316022"/>
                      <a:pt x="394900" y="318720"/>
                    </a:cubicBezTo>
                    <a:cubicBezTo>
                      <a:pt x="397113" y="319800"/>
                      <a:pt x="399878" y="323038"/>
                      <a:pt x="402090" y="323578"/>
                    </a:cubicBezTo>
                    <a:cubicBezTo>
                      <a:pt x="419789" y="328435"/>
                      <a:pt x="445232" y="328975"/>
                      <a:pt x="463484" y="333293"/>
                    </a:cubicBezTo>
                    <a:cubicBezTo>
                      <a:pt x="472333" y="334912"/>
                      <a:pt x="478970" y="344087"/>
                      <a:pt x="480630" y="352183"/>
                    </a:cubicBezTo>
                    <a:cubicBezTo>
                      <a:pt x="481183" y="354342"/>
                      <a:pt x="480630" y="358660"/>
                      <a:pt x="480076" y="360819"/>
                    </a:cubicBezTo>
                    <a:cubicBezTo>
                      <a:pt x="478970" y="364597"/>
                      <a:pt x="476205" y="369454"/>
                      <a:pt x="472886" y="373772"/>
                    </a:cubicBezTo>
                    <a:cubicBezTo>
                      <a:pt x="469015" y="378629"/>
                      <a:pt x="464037" y="383487"/>
                      <a:pt x="461271" y="389424"/>
                    </a:cubicBezTo>
                    <a:cubicBezTo>
                      <a:pt x="457953" y="395361"/>
                      <a:pt x="456847" y="402917"/>
                      <a:pt x="454634" y="409394"/>
                    </a:cubicBezTo>
                    <a:cubicBezTo>
                      <a:pt x="450763" y="421807"/>
                      <a:pt x="444679" y="432602"/>
                      <a:pt x="432511" y="438539"/>
                    </a:cubicBezTo>
                    <a:cubicBezTo>
                      <a:pt x="423108" y="443936"/>
                      <a:pt x="422555" y="467144"/>
                      <a:pt x="404856" y="470382"/>
                    </a:cubicBezTo>
                    <a:cubicBezTo>
                      <a:pt x="396560" y="471462"/>
                      <a:pt x="385498" y="468763"/>
                      <a:pt x="379414" y="469843"/>
                    </a:cubicBezTo>
                    <a:cubicBezTo>
                      <a:pt x="377754" y="470382"/>
                      <a:pt x="371117" y="473081"/>
                      <a:pt x="370564" y="474160"/>
                    </a:cubicBezTo>
                    <a:cubicBezTo>
                      <a:pt x="373883" y="481177"/>
                      <a:pt x="381626" y="475240"/>
                      <a:pt x="387157" y="475240"/>
                    </a:cubicBezTo>
                    <a:cubicBezTo>
                      <a:pt x="394900" y="475240"/>
                      <a:pt x="392688" y="481177"/>
                      <a:pt x="395453" y="483336"/>
                    </a:cubicBezTo>
                    <a:cubicBezTo>
                      <a:pt x="398772" y="486574"/>
                      <a:pt x="409834" y="486574"/>
                      <a:pt x="410387" y="491971"/>
                    </a:cubicBezTo>
                    <a:cubicBezTo>
                      <a:pt x="410940" y="493590"/>
                      <a:pt x="409834" y="496829"/>
                      <a:pt x="409281" y="497908"/>
                    </a:cubicBezTo>
                    <a:cubicBezTo>
                      <a:pt x="403750" y="503305"/>
                      <a:pt x="387710" y="497908"/>
                      <a:pt x="381073" y="500607"/>
                    </a:cubicBezTo>
                    <a:cubicBezTo>
                      <a:pt x="374436" y="503305"/>
                      <a:pt x="367246" y="517878"/>
                      <a:pt x="358949" y="518418"/>
                    </a:cubicBezTo>
                    <a:cubicBezTo>
                      <a:pt x="354525" y="518957"/>
                      <a:pt x="346781" y="514100"/>
                      <a:pt x="342357" y="513560"/>
                    </a:cubicBezTo>
                    <a:cubicBezTo>
                      <a:pt x="340697" y="513021"/>
                      <a:pt x="332954" y="513560"/>
                      <a:pt x="334613" y="516259"/>
                    </a:cubicBezTo>
                    <a:cubicBezTo>
                      <a:pt x="334613" y="517338"/>
                      <a:pt x="341250" y="521656"/>
                      <a:pt x="342357" y="522196"/>
                    </a:cubicBezTo>
                    <a:cubicBezTo>
                      <a:pt x="348994" y="525974"/>
                      <a:pt x="367246" y="531371"/>
                      <a:pt x="374436" y="528673"/>
                    </a:cubicBezTo>
                    <a:cubicBezTo>
                      <a:pt x="382732" y="525434"/>
                      <a:pt x="391029" y="514100"/>
                      <a:pt x="400984" y="517338"/>
                    </a:cubicBezTo>
                    <a:cubicBezTo>
                      <a:pt x="404303" y="518957"/>
                      <a:pt x="404303" y="523275"/>
                      <a:pt x="406515" y="525974"/>
                    </a:cubicBezTo>
                    <a:cubicBezTo>
                      <a:pt x="407621" y="528133"/>
                      <a:pt x="412599" y="531371"/>
                      <a:pt x="414812" y="532990"/>
                    </a:cubicBezTo>
                    <a:cubicBezTo>
                      <a:pt x="419789" y="536229"/>
                      <a:pt x="434723" y="542166"/>
                      <a:pt x="436382" y="547563"/>
                    </a:cubicBezTo>
                    <a:cubicBezTo>
                      <a:pt x="439148" y="553500"/>
                      <a:pt x="441913" y="559976"/>
                      <a:pt x="445785" y="564834"/>
                    </a:cubicBezTo>
                    <a:cubicBezTo>
                      <a:pt x="450209" y="570771"/>
                      <a:pt x="455740" y="575628"/>
                      <a:pt x="459612" y="581565"/>
                    </a:cubicBezTo>
                    <a:cubicBezTo>
                      <a:pt x="460718" y="583185"/>
                      <a:pt x="461824" y="586423"/>
                      <a:pt x="461824" y="588582"/>
                    </a:cubicBezTo>
                    <a:cubicBezTo>
                      <a:pt x="464037" y="603694"/>
                      <a:pt x="462931" y="619346"/>
                      <a:pt x="464590" y="634458"/>
                    </a:cubicBezTo>
                    <a:cubicBezTo>
                      <a:pt x="465143" y="640935"/>
                      <a:pt x="468462" y="644173"/>
                      <a:pt x="470121" y="649571"/>
                    </a:cubicBezTo>
                    <a:cubicBezTo>
                      <a:pt x="471227" y="654968"/>
                      <a:pt x="471227" y="661444"/>
                      <a:pt x="471227" y="666842"/>
                    </a:cubicBezTo>
                    <a:cubicBezTo>
                      <a:pt x="471227" y="677096"/>
                      <a:pt x="475652" y="678176"/>
                      <a:pt x="477864" y="686272"/>
                    </a:cubicBezTo>
                    <a:cubicBezTo>
                      <a:pt x="478970" y="689510"/>
                      <a:pt x="478417" y="693828"/>
                      <a:pt x="479523" y="697066"/>
                    </a:cubicBezTo>
                    <a:cubicBezTo>
                      <a:pt x="480076" y="698685"/>
                      <a:pt x="481736" y="700844"/>
                      <a:pt x="483395" y="701384"/>
                    </a:cubicBezTo>
                    <a:cubicBezTo>
                      <a:pt x="488373" y="704083"/>
                      <a:pt x="497222" y="704083"/>
                      <a:pt x="501647" y="707861"/>
                    </a:cubicBezTo>
                    <a:cubicBezTo>
                      <a:pt x="506625" y="711639"/>
                      <a:pt x="512709" y="715956"/>
                      <a:pt x="517134" y="720274"/>
                    </a:cubicBezTo>
                    <a:cubicBezTo>
                      <a:pt x="523218" y="727291"/>
                      <a:pt x="522665" y="734307"/>
                      <a:pt x="526536" y="741863"/>
                    </a:cubicBezTo>
                    <a:cubicBezTo>
                      <a:pt x="527642" y="744562"/>
                      <a:pt x="530408" y="746721"/>
                      <a:pt x="532067" y="748880"/>
                    </a:cubicBezTo>
                    <a:cubicBezTo>
                      <a:pt x="533173" y="750499"/>
                      <a:pt x="533726" y="751578"/>
                      <a:pt x="534279" y="753197"/>
                    </a:cubicBezTo>
                    <a:cubicBezTo>
                      <a:pt x="537045" y="756436"/>
                      <a:pt x="541470" y="759674"/>
                      <a:pt x="543682" y="762912"/>
                    </a:cubicBezTo>
                    <a:lnTo>
                      <a:pt x="543682" y="766151"/>
                    </a:lnTo>
                    <a:cubicBezTo>
                      <a:pt x="542023" y="768849"/>
                      <a:pt x="538704" y="775866"/>
                      <a:pt x="538704" y="779104"/>
                    </a:cubicBezTo>
                    <a:cubicBezTo>
                      <a:pt x="537598" y="789359"/>
                      <a:pt x="541470" y="799074"/>
                      <a:pt x="547001" y="807709"/>
                    </a:cubicBezTo>
                    <a:cubicBezTo>
                      <a:pt x="548660" y="810408"/>
                      <a:pt x="556956" y="820123"/>
                      <a:pt x="557509" y="821203"/>
                    </a:cubicBezTo>
                    <a:cubicBezTo>
                      <a:pt x="558062" y="822822"/>
                      <a:pt x="558062" y="824441"/>
                      <a:pt x="556403" y="824981"/>
                    </a:cubicBezTo>
                    <a:cubicBezTo>
                      <a:pt x="548107" y="822822"/>
                      <a:pt x="540363" y="819044"/>
                      <a:pt x="532067" y="816885"/>
                    </a:cubicBezTo>
                    <a:cubicBezTo>
                      <a:pt x="525430" y="815266"/>
                      <a:pt x="518240" y="814186"/>
                      <a:pt x="511603" y="813107"/>
                    </a:cubicBezTo>
                    <a:lnTo>
                      <a:pt x="504412" y="813107"/>
                    </a:lnTo>
                    <a:cubicBezTo>
                      <a:pt x="506072" y="814186"/>
                      <a:pt x="512156" y="817964"/>
                      <a:pt x="513815" y="818504"/>
                    </a:cubicBezTo>
                    <a:cubicBezTo>
                      <a:pt x="517134" y="819583"/>
                      <a:pt x="527089" y="820663"/>
                      <a:pt x="530408" y="821742"/>
                    </a:cubicBezTo>
                    <a:lnTo>
                      <a:pt x="534833" y="825520"/>
                    </a:lnTo>
                    <a:cubicBezTo>
                      <a:pt x="538151" y="828759"/>
                      <a:pt x="541470" y="831457"/>
                      <a:pt x="545341" y="833616"/>
                    </a:cubicBezTo>
                    <a:cubicBezTo>
                      <a:pt x="552532" y="836855"/>
                      <a:pt x="551425" y="842252"/>
                      <a:pt x="555850" y="846570"/>
                    </a:cubicBezTo>
                    <a:cubicBezTo>
                      <a:pt x="556403" y="847109"/>
                      <a:pt x="557509" y="847649"/>
                      <a:pt x="558062" y="848189"/>
                    </a:cubicBezTo>
                    <a:cubicBezTo>
                      <a:pt x="563040" y="852506"/>
                      <a:pt x="569124" y="875175"/>
                      <a:pt x="567465" y="881652"/>
                    </a:cubicBezTo>
                    <a:cubicBezTo>
                      <a:pt x="566912" y="884350"/>
                      <a:pt x="560828" y="897843"/>
                      <a:pt x="559722" y="899462"/>
                    </a:cubicBezTo>
                    <a:cubicBezTo>
                      <a:pt x="556403" y="903240"/>
                      <a:pt x="545894" y="902161"/>
                      <a:pt x="544235" y="907558"/>
                    </a:cubicBezTo>
                    <a:cubicBezTo>
                      <a:pt x="542576" y="912416"/>
                      <a:pt x="550319" y="921051"/>
                      <a:pt x="555297" y="922131"/>
                    </a:cubicBezTo>
                    <a:cubicBezTo>
                      <a:pt x="556403" y="923210"/>
                      <a:pt x="563593" y="925909"/>
                      <a:pt x="564700" y="925909"/>
                    </a:cubicBezTo>
                    <a:cubicBezTo>
                      <a:pt x="568018" y="925369"/>
                      <a:pt x="574102" y="912955"/>
                      <a:pt x="577421" y="910257"/>
                    </a:cubicBezTo>
                    <a:cubicBezTo>
                      <a:pt x="585717" y="902701"/>
                      <a:pt x="597332" y="909177"/>
                      <a:pt x="605075" y="910797"/>
                    </a:cubicBezTo>
                    <a:cubicBezTo>
                      <a:pt x="609500" y="911336"/>
                      <a:pt x="612819" y="908098"/>
                      <a:pt x="616690" y="909177"/>
                    </a:cubicBezTo>
                    <a:cubicBezTo>
                      <a:pt x="620009" y="909717"/>
                      <a:pt x="627199" y="913495"/>
                      <a:pt x="629411" y="916194"/>
                    </a:cubicBezTo>
                    <a:cubicBezTo>
                      <a:pt x="631071" y="917813"/>
                      <a:pt x="638261" y="919972"/>
                      <a:pt x="641026" y="921591"/>
                    </a:cubicBezTo>
                    <a:cubicBezTo>
                      <a:pt x="645451" y="924290"/>
                      <a:pt x="652641" y="929687"/>
                      <a:pt x="655960" y="933465"/>
                    </a:cubicBezTo>
                    <a:cubicBezTo>
                      <a:pt x="659831" y="938322"/>
                      <a:pt x="663150" y="952355"/>
                      <a:pt x="662597" y="958292"/>
                    </a:cubicBezTo>
                    <a:cubicBezTo>
                      <a:pt x="660938" y="971785"/>
                      <a:pt x="654854" y="997692"/>
                      <a:pt x="649876" y="1010106"/>
                    </a:cubicBezTo>
                    <a:cubicBezTo>
                      <a:pt x="647663" y="1014963"/>
                      <a:pt x="633836" y="1027917"/>
                      <a:pt x="628305" y="1030075"/>
                    </a:cubicBezTo>
                    <a:cubicBezTo>
                      <a:pt x="626646" y="1031155"/>
                      <a:pt x="618349" y="1034933"/>
                      <a:pt x="618903" y="1037092"/>
                    </a:cubicBezTo>
                    <a:cubicBezTo>
                      <a:pt x="619456" y="1039251"/>
                      <a:pt x="623327" y="1040870"/>
                      <a:pt x="621115" y="1043569"/>
                    </a:cubicBezTo>
                    <a:cubicBezTo>
                      <a:pt x="620562" y="1044108"/>
                      <a:pt x="612819" y="1047347"/>
                      <a:pt x="611712" y="1047347"/>
                    </a:cubicBezTo>
                    <a:cubicBezTo>
                      <a:pt x="606181" y="1047886"/>
                      <a:pt x="601204" y="1046267"/>
                      <a:pt x="596226" y="1046807"/>
                    </a:cubicBezTo>
                    <a:cubicBezTo>
                      <a:pt x="595120" y="1047347"/>
                      <a:pt x="587929" y="1050045"/>
                      <a:pt x="587376" y="1051125"/>
                    </a:cubicBezTo>
                    <a:cubicBezTo>
                      <a:pt x="585164" y="1054903"/>
                      <a:pt x="595120" y="1053823"/>
                      <a:pt x="594566" y="1058141"/>
                    </a:cubicBezTo>
                    <a:cubicBezTo>
                      <a:pt x="594566" y="1059221"/>
                      <a:pt x="594013" y="1059760"/>
                      <a:pt x="593460" y="1060300"/>
                    </a:cubicBezTo>
                    <a:cubicBezTo>
                      <a:pt x="591248" y="1063538"/>
                      <a:pt x="591801" y="1068396"/>
                      <a:pt x="589589" y="1071634"/>
                    </a:cubicBezTo>
                    <a:cubicBezTo>
                      <a:pt x="586270" y="1075952"/>
                      <a:pt x="572996" y="1073793"/>
                      <a:pt x="567465" y="1074873"/>
                    </a:cubicBezTo>
                    <a:cubicBezTo>
                      <a:pt x="563040" y="1075412"/>
                      <a:pt x="553085" y="1080270"/>
                      <a:pt x="548660" y="1082429"/>
                    </a:cubicBezTo>
                    <a:cubicBezTo>
                      <a:pt x="551425" y="1084588"/>
                      <a:pt x="561934" y="1082429"/>
                      <a:pt x="566912" y="1084048"/>
                    </a:cubicBezTo>
                    <a:cubicBezTo>
                      <a:pt x="569124" y="1084588"/>
                      <a:pt x="570230" y="1086207"/>
                      <a:pt x="572443" y="1087286"/>
                    </a:cubicBezTo>
                    <a:cubicBezTo>
                      <a:pt x="575761" y="1088905"/>
                      <a:pt x="579080" y="1089445"/>
                      <a:pt x="581845" y="1091064"/>
                    </a:cubicBezTo>
                    <a:cubicBezTo>
                      <a:pt x="584058" y="1092683"/>
                      <a:pt x="586823" y="1095922"/>
                      <a:pt x="589589" y="1096461"/>
                    </a:cubicBezTo>
                    <a:cubicBezTo>
                      <a:pt x="599544" y="1098620"/>
                      <a:pt x="611159" y="1097001"/>
                      <a:pt x="621668" y="1097541"/>
                    </a:cubicBezTo>
                    <a:cubicBezTo>
                      <a:pt x="623327" y="1097541"/>
                      <a:pt x="627199" y="1097541"/>
                      <a:pt x="627752" y="1099700"/>
                    </a:cubicBezTo>
                    <a:cubicBezTo>
                      <a:pt x="628305" y="1101319"/>
                      <a:pt x="622774" y="1122368"/>
                      <a:pt x="621668" y="1123987"/>
                    </a:cubicBezTo>
                    <a:cubicBezTo>
                      <a:pt x="617243" y="1130464"/>
                      <a:pt x="603969" y="1130464"/>
                      <a:pt x="598991" y="1134782"/>
                    </a:cubicBezTo>
                    <a:cubicBezTo>
                      <a:pt x="595120" y="1138020"/>
                      <a:pt x="592354" y="1148275"/>
                      <a:pt x="588482" y="1149894"/>
                    </a:cubicBezTo>
                    <a:cubicBezTo>
                      <a:pt x="585717" y="1150973"/>
                      <a:pt x="576868" y="1147735"/>
                      <a:pt x="574655" y="1146116"/>
                    </a:cubicBezTo>
                    <a:cubicBezTo>
                      <a:pt x="563040" y="1152053"/>
                      <a:pt x="560828" y="1150434"/>
                      <a:pt x="551425" y="1153672"/>
                    </a:cubicBezTo>
                    <a:cubicBezTo>
                      <a:pt x="544788" y="1156371"/>
                      <a:pt x="536492" y="1163387"/>
                      <a:pt x="529302" y="1163927"/>
                    </a:cubicBezTo>
                    <a:cubicBezTo>
                      <a:pt x="524324" y="1163927"/>
                      <a:pt x="522665" y="1162308"/>
                      <a:pt x="520452" y="1159609"/>
                    </a:cubicBezTo>
                    <a:cubicBezTo>
                      <a:pt x="519346" y="1158530"/>
                      <a:pt x="512709" y="1155291"/>
                      <a:pt x="511603" y="1155291"/>
                    </a:cubicBezTo>
                    <a:cubicBezTo>
                      <a:pt x="499435" y="1150973"/>
                      <a:pt x="477864" y="1149894"/>
                      <a:pt x="465143" y="1153132"/>
                    </a:cubicBezTo>
                    <a:cubicBezTo>
                      <a:pt x="461824" y="1154212"/>
                      <a:pt x="457953" y="1156910"/>
                      <a:pt x="454634" y="1156910"/>
                    </a:cubicBezTo>
                    <a:cubicBezTo>
                      <a:pt x="449656" y="1157450"/>
                      <a:pt x="444679" y="1152053"/>
                      <a:pt x="441360" y="1149354"/>
                    </a:cubicBezTo>
                    <a:cubicBezTo>
                      <a:pt x="432511" y="1148815"/>
                      <a:pt x="422555" y="1147735"/>
                      <a:pt x="413705" y="1148275"/>
                    </a:cubicBezTo>
                    <a:cubicBezTo>
                      <a:pt x="407068" y="1148815"/>
                      <a:pt x="396560" y="1153132"/>
                      <a:pt x="390476" y="1152053"/>
                    </a:cubicBezTo>
                    <a:cubicBezTo>
                      <a:pt x="383838" y="1151513"/>
                      <a:pt x="373330" y="1149354"/>
                      <a:pt x="367799" y="1155291"/>
                    </a:cubicBezTo>
                    <a:cubicBezTo>
                      <a:pt x="366139" y="1157450"/>
                      <a:pt x="365033" y="1160149"/>
                      <a:pt x="362821" y="1162308"/>
                    </a:cubicBezTo>
                    <a:cubicBezTo>
                      <a:pt x="361162" y="1163387"/>
                      <a:pt x="356184" y="1166086"/>
                      <a:pt x="354525" y="1166086"/>
                    </a:cubicBezTo>
                    <a:cubicBezTo>
                      <a:pt x="347334" y="1167165"/>
                      <a:pt x="341250" y="1160689"/>
                      <a:pt x="335719" y="1158530"/>
                    </a:cubicBezTo>
                    <a:cubicBezTo>
                      <a:pt x="329082" y="1155831"/>
                      <a:pt x="321892" y="1155291"/>
                      <a:pt x="315255" y="1152593"/>
                    </a:cubicBezTo>
                    <a:cubicBezTo>
                      <a:pt x="304193" y="1148275"/>
                      <a:pt x="302534" y="1143957"/>
                      <a:pt x="288707" y="1142878"/>
                    </a:cubicBezTo>
                    <a:cubicBezTo>
                      <a:pt x="279857" y="1141258"/>
                      <a:pt x="272114" y="1146116"/>
                      <a:pt x="263817" y="1147195"/>
                    </a:cubicBezTo>
                    <a:cubicBezTo>
                      <a:pt x="261052" y="1147735"/>
                      <a:pt x="257733" y="1147195"/>
                      <a:pt x="255521" y="1147735"/>
                    </a:cubicBezTo>
                    <a:cubicBezTo>
                      <a:pt x="253862" y="1148815"/>
                      <a:pt x="248331" y="1152053"/>
                      <a:pt x="246672" y="1153672"/>
                    </a:cubicBezTo>
                    <a:cubicBezTo>
                      <a:pt x="240034" y="1160689"/>
                      <a:pt x="242800" y="1169324"/>
                      <a:pt x="238375" y="1176880"/>
                    </a:cubicBezTo>
                    <a:cubicBezTo>
                      <a:pt x="237269" y="1179579"/>
                      <a:pt x="227866" y="1188754"/>
                      <a:pt x="225654" y="1189834"/>
                    </a:cubicBezTo>
                    <a:cubicBezTo>
                      <a:pt x="223995" y="1190913"/>
                      <a:pt x="220123" y="1188754"/>
                      <a:pt x="219017" y="1188214"/>
                    </a:cubicBezTo>
                    <a:cubicBezTo>
                      <a:pt x="211274" y="1184976"/>
                      <a:pt x="205743" y="1177420"/>
                      <a:pt x="198553" y="1174182"/>
                    </a:cubicBezTo>
                    <a:cubicBezTo>
                      <a:pt x="196893" y="1173642"/>
                      <a:pt x="194681" y="1173642"/>
                      <a:pt x="193022" y="1173642"/>
                    </a:cubicBezTo>
                    <a:cubicBezTo>
                      <a:pt x="176429" y="1170943"/>
                      <a:pt x="167579" y="1166086"/>
                      <a:pt x="149327" y="1169324"/>
                    </a:cubicBezTo>
                    <a:cubicBezTo>
                      <a:pt x="147668" y="1169324"/>
                      <a:pt x="144903" y="1170943"/>
                      <a:pt x="143796" y="1171483"/>
                    </a:cubicBezTo>
                    <a:cubicBezTo>
                      <a:pt x="139925" y="1173642"/>
                      <a:pt x="136606" y="1176340"/>
                      <a:pt x="133288" y="1177960"/>
                    </a:cubicBezTo>
                    <a:cubicBezTo>
                      <a:pt x="127757" y="1180658"/>
                      <a:pt x="120567" y="1181738"/>
                      <a:pt x="115589" y="1185516"/>
                    </a:cubicBezTo>
                    <a:cubicBezTo>
                      <a:pt x="110611" y="1189294"/>
                      <a:pt x="113376" y="1201168"/>
                      <a:pt x="106186" y="1202247"/>
                    </a:cubicBezTo>
                    <a:cubicBezTo>
                      <a:pt x="97890" y="1203327"/>
                      <a:pt x="98443" y="1188754"/>
                      <a:pt x="91253" y="1185516"/>
                    </a:cubicBezTo>
                    <a:cubicBezTo>
                      <a:pt x="82956" y="1181738"/>
                      <a:pt x="75213" y="1189834"/>
                      <a:pt x="70788" y="1186056"/>
                    </a:cubicBezTo>
                    <a:cubicBezTo>
                      <a:pt x="68023" y="1183357"/>
                      <a:pt x="69682" y="1177960"/>
                      <a:pt x="71895" y="1175801"/>
                    </a:cubicBezTo>
                    <a:cubicBezTo>
                      <a:pt x="73001" y="1174721"/>
                      <a:pt x="76872" y="1173102"/>
                      <a:pt x="78532" y="1172562"/>
                    </a:cubicBezTo>
                    <a:cubicBezTo>
                      <a:pt x="84616" y="1170943"/>
                      <a:pt x="90700" y="1169864"/>
                      <a:pt x="96784" y="1167165"/>
                    </a:cubicBezTo>
                    <a:cubicBezTo>
                      <a:pt x="103421" y="1164467"/>
                      <a:pt x="112270" y="1160149"/>
                      <a:pt x="118354" y="1155831"/>
                    </a:cubicBezTo>
                    <a:cubicBezTo>
                      <a:pt x="119460" y="1154752"/>
                      <a:pt x="120014" y="1153132"/>
                      <a:pt x="121120" y="1152053"/>
                    </a:cubicBezTo>
                    <a:cubicBezTo>
                      <a:pt x="125544" y="1147195"/>
                      <a:pt x="130522" y="1141798"/>
                      <a:pt x="136053" y="1138020"/>
                    </a:cubicBezTo>
                    <a:cubicBezTo>
                      <a:pt x="139372" y="1135861"/>
                      <a:pt x="143796" y="1134782"/>
                      <a:pt x="147668" y="1132623"/>
                    </a:cubicBezTo>
                    <a:cubicBezTo>
                      <a:pt x="152646" y="1129924"/>
                      <a:pt x="160942" y="1124527"/>
                      <a:pt x="164261" y="1119670"/>
                    </a:cubicBezTo>
                    <a:cubicBezTo>
                      <a:pt x="167026" y="1115352"/>
                      <a:pt x="170345" y="1109415"/>
                      <a:pt x="172004" y="1104557"/>
                    </a:cubicBezTo>
                    <a:cubicBezTo>
                      <a:pt x="173110" y="1102398"/>
                      <a:pt x="173663" y="1094842"/>
                      <a:pt x="175876" y="1093763"/>
                    </a:cubicBezTo>
                    <a:cubicBezTo>
                      <a:pt x="179194" y="1091064"/>
                      <a:pt x="193575" y="1097001"/>
                      <a:pt x="197999" y="1090524"/>
                    </a:cubicBezTo>
                    <a:cubicBezTo>
                      <a:pt x="199659" y="1087826"/>
                      <a:pt x="200212" y="1077031"/>
                      <a:pt x="201318" y="1074873"/>
                    </a:cubicBezTo>
                    <a:cubicBezTo>
                      <a:pt x="204084" y="1070555"/>
                      <a:pt x="232844" y="1073793"/>
                      <a:pt x="238375" y="1074873"/>
                    </a:cubicBezTo>
                    <a:cubicBezTo>
                      <a:pt x="242247" y="1074873"/>
                      <a:pt x="246119" y="1075412"/>
                      <a:pt x="249990" y="1076492"/>
                    </a:cubicBezTo>
                    <a:cubicBezTo>
                      <a:pt x="255521" y="1077571"/>
                      <a:pt x="260499" y="1080270"/>
                      <a:pt x="265477" y="1081349"/>
                    </a:cubicBezTo>
                    <a:cubicBezTo>
                      <a:pt x="271561" y="1082968"/>
                      <a:pt x="292578" y="1087826"/>
                      <a:pt x="297003" y="1081889"/>
                    </a:cubicBezTo>
                    <a:cubicBezTo>
                      <a:pt x="298109" y="1080270"/>
                      <a:pt x="298662" y="1074873"/>
                      <a:pt x="299215" y="1072714"/>
                    </a:cubicBezTo>
                    <a:cubicBezTo>
                      <a:pt x="299215" y="1071634"/>
                      <a:pt x="299215" y="1070015"/>
                      <a:pt x="300322" y="1068936"/>
                    </a:cubicBezTo>
                    <a:cubicBezTo>
                      <a:pt x="303640" y="1064618"/>
                      <a:pt x="319127" y="1054363"/>
                      <a:pt x="324658" y="1048966"/>
                    </a:cubicBezTo>
                    <a:cubicBezTo>
                      <a:pt x="331295" y="1041949"/>
                      <a:pt x="337379" y="1033314"/>
                      <a:pt x="342910" y="1025758"/>
                    </a:cubicBezTo>
                    <a:lnTo>
                      <a:pt x="342910" y="1024138"/>
                    </a:lnTo>
                    <a:lnTo>
                      <a:pt x="340697" y="1024138"/>
                    </a:lnTo>
                    <a:cubicBezTo>
                      <a:pt x="338485" y="1025218"/>
                      <a:pt x="327423" y="1033314"/>
                      <a:pt x="322998" y="1036012"/>
                    </a:cubicBezTo>
                    <a:cubicBezTo>
                      <a:pt x="319680" y="1038171"/>
                      <a:pt x="315255" y="1040870"/>
                      <a:pt x="311383" y="1041949"/>
                    </a:cubicBezTo>
                    <a:cubicBezTo>
                      <a:pt x="305299" y="1044108"/>
                      <a:pt x="298662" y="1043029"/>
                      <a:pt x="293131" y="1045188"/>
                    </a:cubicBezTo>
                    <a:cubicBezTo>
                      <a:pt x="282069" y="1048966"/>
                      <a:pt x="284282" y="1065697"/>
                      <a:pt x="265477" y="1059760"/>
                    </a:cubicBezTo>
                    <a:cubicBezTo>
                      <a:pt x="238928" y="1051664"/>
                      <a:pt x="244459" y="1034393"/>
                      <a:pt x="234504" y="1028456"/>
                    </a:cubicBezTo>
                    <a:cubicBezTo>
                      <a:pt x="230079" y="1025758"/>
                      <a:pt x="209061" y="1036552"/>
                      <a:pt x="206296" y="1030075"/>
                    </a:cubicBezTo>
                    <a:cubicBezTo>
                      <a:pt x="203530" y="1024678"/>
                      <a:pt x="211274" y="1021980"/>
                      <a:pt x="215145" y="1020900"/>
                    </a:cubicBezTo>
                    <a:cubicBezTo>
                      <a:pt x="216252" y="1016043"/>
                      <a:pt x="207402" y="1016043"/>
                      <a:pt x="205190" y="1012804"/>
                    </a:cubicBezTo>
                    <a:cubicBezTo>
                      <a:pt x="203530" y="1010645"/>
                      <a:pt x="204637" y="1003629"/>
                      <a:pt x="201871" y="1002550"/>
                    </a:cubicBezTo>
                    <a:cubicBezTo>
                      <a:pt x="199106" y="1001470"/>
                      <a:pt x="192469" y="1005248"/>
                      <a:pt x="189703" y="1006328"/>
                    </a:cubicBezTo>
                    <a:cubicBezTo>
                      <a:pt x="185278" y="1007407"/>
                      <a:pt x="180854" y="1006867"/>
                      <a:pt x="176982" y="1007947"/>
                    </a:cubicBezTo>
                    <a:cubicBezTo>
                      <a:pt x="172557" y="1009026"/>
                      <a:pt x="165920" y="1014423"/>
                      <a:pt x="164261" y="1014963"/>
                    </a:cubicBezTo>
                    <a:cubicBezTo>
                      <a:pt x="161495" y="1015503"/>
                      <a:pt x="152646" y="1014423"/>
                      <a:pt x="150434" y="1012804"/>
                    </a:cubicBezTo>
                    <a:cubicBezTo>
                      <a:pt x="148774" y="1011725"/>
                      <a:pt x="143796" y="1003629"/>
                      <a:pt x="143243" y="1001470"/>
                    </a:cubicBezTo>
                    <a:cubicBezTo>
                      <a:pt x="142137" y="993914"/>
                      <a:pt x="150987" y="992835"/>
                      <a:pt x="149880" y="985818"/>
                    </a:cubicBezTo>
                    <a:cubicBezTo>
                      <a:pt x="149327" y="983120"/>
                      <a:pt x="140478" y="982040"/>
                      <a:pt x="139372" y="979881"/>
                    </a:cubicBezTo>
                    <a:cubicBezTo>
                      <a:pt x="138819" y="978262"/>
                      <a:pt x="140478" y="975024"/>
                      <a:pt x="141584" y="973944"/>
                    </a:cubicBezTo>
                    <a:cubicBezTo>
                      <a:pt x="144903" y="970706"/>
                      <a:pt x="152093" y="970166"/>
                      <a:pt x="155965" y="968007"/>
                    </a:cubicBezTo>
                    <a:cubicBezTo>
                      <a:pt x="157071" y="966928"/>
                      <a:pt x="158177" y="965848"/>
                      <a:pt x="159283" y="965309"/>
                    </a:cubicBezTo>
                    <a:cubicBezTo>
                      <a:pt x="162049" y="964229"/>
                      <a:pt x="171451" y="964229"/>
                      <a:pt x="175323" y="963150"/>
                    </a:cubicBezTo>
                    <a:cubicBezTo>
                      <a:pt x="185831" y="960991"/>
                      <a:pt x="196893" y="958832"/>
                      <a:pt x="207402" y="954514"/>
                    </a:cubicBezTo>
                    <a:cubicBezTo>
                      <a:pt x="214592" y="951816"/>
                      <a:pt x="228973" y="941561"/>
                      <a:pt x="233397" y="935084"/>
                    </a:cubicBezTo>
                    <a:cubicBezTo>
                      <a:pt x="237269" y="928607"/>
                      <a:pt x="239481" y="920512"/>
                      <a:pt x="239481" y="912955"/>
                    </a:cubicBezTo>
                    <a:cubicBezTo>
                      <a:pt x="240034" y="910257"/>
                      <a:pt x="239481" y="907558"/>
                      <a:pt x="240034" y="904860"/>
                    </a:cubicBezTo>
                    <a:cubicBezTo>
                      <a:pt x="240588" y="900542"/>
                      <a:pt x="245012" y="895145"/>
                      <a:pt x="243353" y="890827"/>
                    </a:cubicBezTo>
                    <a:cubicBezTo>
                      <a:pt x="242247" y="888128"/>
                      <a:pt x="235057" y="876794"/>
                      <a:pt x="232844" y="875715"/>
                    </a:cubicBezTo>
                    <a:cubicBezTo>
                      <a:pt x="230632" y="874095"/>
                      <a:pt x="222889" y="874095"/>
                      <a:pt x="220123" y="874635"/>
                    </a:cubicBezTo>
                    <a:cubicBezTo>
                      <a:pt x="217911" y="875175"/>
                      <a:pt x="215698" y="877873"/>
                      <a:pt x="212933" y="878413"/>
                    </a:cubicBezTo>
                    <a:cubicBezTo>
                      <a:pt x="211827" y="878953"/>
                      <a:pt x="199106" y="877873"/>
                      <a:pt x="198553" y="877334"/>
                    </a:cubicBezTo>
                    <a:cubicBezTo>
                      <a:pt x="197999" y="876794"/>
                      <a:pt x="197999" y="875715"/>
                      <a:pt x="197999" y="875175"/>
                    </a:cubicBezTo>
                    <a:cubicBezTo>
                      <a:pt x="199106" y="866000"/>
                      <a:pt x="221229" y="860602"/>
                      <a:pt x="228420" y="854665"/>
                    </a:cubicBezTo>
                    <a:cubicBezTo>
                      <a:pt x="230632" y="852506"/>
                      <a:pt x="232291" y="847649"/>
                      <a:pt x="234504" y="844950"/>
                    </a:cubicBezTo>
                    <a:cubicBezTo>
                      <a:pt x="236163" y="842791"/>
                      <a:pt x="240588" y="839553"/>
                      <a:pt x="242247" y="838474"/>
                    </a:cubicBezTo>
                    <a:cubicBezTo>
                      <a:pt x="262158" y="829298"/>
                      <a:pt x="279857" y="830378"/>
                      <a:pt x="300875" y="831457"/>
                    </a:cubicBezTo>
                    <a:cubicBezTo>
                      <a:pt x="302534" y="831457"/>
                      <a:pt x="305299" y="831457"/>
                      <a:pt x="306959" y="831997"/>
                    </a:cubicBezTo>
                    <a:cubicBezTo>
                      <a:pt x="309724" y="833616"/>
                      <a:pt x="316361" y="846030"/>
                      <a:pt x="320786" y="841712"/>
                    </a:cubicBezTo>
                    <a:lnTo>
                      <a:pt x="321339" y="833076"/>
                    </a:lnTo>
                    <a:cubicBezTo>
                      <a:pt x="320786" y="822822"/>
                      <a:pt x="324658" y="826060"/>
                      <a:pt x="326870" y="821742"/>
                    </a:cubicBezTo>
                    <a:cubicBezTo>
                      <a:pt x="327423" y="819583"/>
                      <a:pt x="329082" y="810948"/>
                      <a:pt x="329082" y="807709"/>
                    </a:cubicBezTo>
                    <a:cubicBezTo>
                      <a:pt x="330742" y="805011"/>
                      <a:pt x="332954" y="801772"/>
                      <a:pt x="335166" y="799614"/>
                    </a:cubicBezTo>
                    <a:cubicBezTo>
                      <a:pt x="336826" y="797994"/>
                      <a:pt x="344016" y="793677"/>
                      <a:pt x="344016" y="793137"/>
                    </a:cubicBezTo>
                    <a:cubicBezTo>
                      <a:pt x="345675" y="790438"/>
                      <a:pt x="339038" y="787200"/>
                      <a:pt x="338485" y="784501"/>
                    </a:cubicBezTo>
                    <a:cubicBezTo>
                      <a:pt x="337379" y="782342"/>
                      <a:pt x="337932" y="773707"/>
                      <a:pt x="338485" y="771548"/>
                    </a:cubicBezTo>
                    <a:cubicBezTo>
                      <a:pt x="340144" y="761833"/>
                      <a:pt x="345675" y="765071"/>
                      <a:pt x="348994" y="761293"/>
                    </a:cubicBezTo>
                    <a:cubicBezTo>
                      <a:pt x="350100" y="759674"/>
                      <a:pt x="351206" y="754277"/>
                      <a:pt x="352312" y="752118"/>
                    </a:cubicBezTo>
                    <a:cubicBezTo>
                      <a:pt x="353418" y="749959"/>
                      <a:pt x="355078" y="747800"/>
                      <a:pt x="356184" y="745641"/>
                    </a:cubicBezTo>
                    <a:lnTo>
                      <a:pt x="356184" y="739165"/>
                    </a:lnTo>
                    <a:cubicBezTo>
                      <a:pt x="356184" y="738625"/>
                      <a:pt x="355631" y="737006"/>
                      <a:pt x="355078" y="736466"/>
                    </a:cubicBezTo>
                    <a:cubicBezTo>
                      <a:pt x="353971" y="736466"/>
                      <a:pt x="347887" y="735926"/>
                      <a:pt x="346781" y="735926"/>
                    </a:cubicBezTo>
                    <a:cubicBezTo>
                      <a:pt x="340144" y="737006"/>
                      <a:pt x="332401" y="752658"/>
                      <a:pt x="325764" y="748340"/>
                    </a:cubicBezTo>
                    <a:cubicBezTo>
                      <a:pt x="321892" y="745641"/>
                      <a:pt x="326317" y="736466"/>
                      <a:pt x="325211" y="732148"/>
                    </a:cubicBezTo>
                    <a:cubicBezTo>
                      <a:pt x="325211" y="730529"/>
                      <a:pt x="323551" y="729450"/>
                      <a:pt x="322998" y="727830"/>
                    </a:cubicBezTo>
                    <a:cubicBezTo>
                      <a:pt x="319680" y="719735"/>
                      <a:pt x="318020" y="710559"/>
                      <a:pt x="314702" y="702463"/>
                    </a:cubicBezTo>
                    <a:cubicBezTo>
                      <a:pt x="313043" y="698146"/>
                      <a:pt x="310277" y="694368"/>
                      <a:pt x="309171" y="690589"/>
                    </a:cubicBezTo>
                    <a:cubicBezTo>
                      <a:pt x="308618" y="689510"/>
                      <a:pt x="308618" y="688970"/>
                      <a:pt x="308618" y="687891"/>
                    </a:cubicBezTo>
                    <a:cubicBezTo>
                      <a:pt x="309724" y="678176"/>
                      <a:pt x="318020" y="671159"/>
                      <a:pt x="322998" y="663603"/>
                    </a:cubicBezTo>
                    <a:cubicBezTo>
                      <a:pt x="324658" y="660365"/>
                      <a:pt x="325764" y="657127"/>
                      <a:pt x="327976" y="654428"/>
                    </a:cubicBezTo>
                    <a:cubicBezTo>
                      <a:pt x="329635" y="652809"/>
                      <a:pt x="333507" y="650110"/>
                      <a:pt x="335719" y="649031"/>
                    </a:cubicBezTo>
                    <a:cubicBezTo>
                      <a:pt x="339591" y="647951"/>
                      <a:pt x="356737" y="648491"/>
                      <a:pt x="352312" y="642014"/>
                    </a:cubicBezTo>
                    <a:cubicBezTo>
                      <a:pt x="351759" y="640935"/>
                      <a:pt x="322998" y="630680"/>
                      <a:pt x="318574" y="637157"/>
                    </a:cubicBezTo>
                    <a:cubicBezTo>
                      <a:pt x="316914" y="639316"/>
                      <a:pt x="318020" y="643634"/>
                      <a:pt x="316361" y="645792"/>
                    </a:cubicBezTo>
                    <a:cubicBezTo>
                      <a:pt x="314702" y="647951"/>
                      <a:pt x="305852" y="648491"/>
                      <a:pt x="303087" y="649031"/>
                    </a:cubicBezTo>
                    <a:cubicBezTo>
                      <a:pt x="299215" y="650110"/>
                      <a:pt x="292578" y="654428"/>
                      <a:pt x="288707" y="653888"/>
                    </a:cubicBezTo>
                    <a:cubicBezTo>
                      <a:pt x="278751" y="653349"/>
                      <a:pt x="279857" y="649571"/>
                      <a:pt x="274879" y="645253"/>
                    </a:cubicBezTo>
                    <a:cubicBezTo>
                      <a:pt x="272667" y="643634"/>
                      <a:pt x="269901" y="643634"/>
                      <a:pt x="267689" y="642014"/>
                    </a:cubicBezTo>
                    <a:cubicBezTo>
                      <a:pt x="267136" y="641475"/>
                      <a:pt x="265477" y="638236"/>
                      <a:pt x="263264" y="639316"/>
                    </a:cubicBezTo>
                    <a:cubicBezTo>
                      <a:pt x="259946" y="640935"/>
                      <a:pt x="262711" y="651190"/>
                      <a:pt x="262158" y="653888"/>
                    </a:cubicBezTo>
                    <a:cubicBezTo>
                      <a:pt x="262158" y="654968"/>
                      <a:pt x="259393" y="658746"/>
                      <a:pt x="258287" y="659286"/>
                    </a:cubicBezTo>
                    <a:cubicBezTo>
                      <a:pt x="249437" y="663064"/>
                      <a:pt x="242800" y="640395"/>
                      <a:pt x="230079" y="640935"/>
                    </a:cubicBezTo>
                    <a:cubicBezTo>
                      <a:pt x="217911" y="641475"/>
                      <a:pt x="230632" y="665762"/>
                      <a:pt x="218464" y="659825"/>
                    </a:cubicBezTo>
                    <a:cubicBezTo>
                      <a:pt x="217358" y="659286"/>
                      <a:pt x="216252" y="658206"/>
                      <a:pt x="215698" y="657127"/>
                    </a:cubicBezTo>
                    <a:cubicBezTo>
                      <a:pt x="212933" y="652269"/>
                      <a:pt x="206849" y="638776"/>
                      <a:pt x="205190" y="633919"/>
                    </a:cubicBezTo>
                    <a:cubicBezTo>
                      <a:pt x="204084" y="630680"/>
                      <a:pt x="206296" y="625283"/>
                      <a:pt x="208508" y="622045"/>
                    </a:cubicBezTo>
                    <a:cubicBezTo>
                      <a:pt x="211827" y="618267"/>
                      <a:pt x="216252" y="616108"/>
                      <a:pt x="219017" y="612330"/>
                    </a:cubicBezTo>
                    <a:cubicBezTo>
                      <a:pt x="222336" y="608552"/>
                      <a:pt x="223995" y="604234"/>
                      <a:pt x="226760" y="600456"/>
                    </a:cubicBezTo>
                    <a:cubicBezTo>
                      <a:pt x="229526" y="597217"/>
                      <a:pt x="233397" y="594519"/>
                      <a:pt x="236163" y="590741"/>
                    </a:cubicBezTo>
                    <a:cubicBezTo>
                      <a:pt x="238928" y="586423"/>
                      <a:pt x="240034" y="581565"/>
                      <a:pt x="242800" y="577787"/>
                    </a:cubicBezTo>
                    <a:cubicBezTo>
                      <a:pt x="246119" y="572930"/>
                      <a:pt x="251649" y="569691"/>
                      <a:pt x="254968" y="564834"/>
                    </a:cubicBezTo>
                    <a:cubicBezTo>
                      <a:pt x="261052" y="555659"/>
                      <a:pt x="246672" y="550261"/>
                      <a:pt x="246672" y="541086"/>
                    </a:cubicBezTo>
                    <a:cubicBezTo>
                      <a:pt x="247225" y="536229"/>
                      <a:pt x="249437" y="524355"/>
                      <a:pt x="251096" y="519497"/>
                    </a:cubicBezTo>
                    <a:cubicBezTo>
                      <a:pt x="253862" y="510862"/>
                      <a:pt x="261052" y="513021"/>
                      <a:pt x="261052" y="506004"/>
                    </a:cubicBezTo>
                    <a:cubicBezTo>
                      <a:pt x="261052" y="500607"/>
                      <a:pt x="258287" y="494130"/>
                      <a:pt x="257180" y="488733"/>
                    </a:cubicBezTo>
                    <a:cubicBezTo>
                      <a:pt x="256074" y="482796"/>
                      <a:pt x="252203" y="487114"/>
                      <a:pt x="251649" y="490352"/>
                    </a:cubicBezTo>
                    <a:cubicBezTo>
                      <a:pt x="251649" y="490892"/>
                      <a:pt x="252203" y="492511"/>
                      <a:pt x="252203" y="493590"/>
                    </a:cubicBezTo>
                    <a:cubicBezTo>
                      <a:pt x="252203" y="495210"/>
                      <a:pt x="252203" y="500607"/>
                      <a:pt x="251649" y="502766"/>
                    </a:cubicBezTo>
                    <a:cubicBezTo>
                      <a:pt x="250543" y="506004"/>
                      <a:pt x="247778" y="509782"/>
                      <a:pt x="246119" y="513021"/>
                    </a:cubicBezTo>
                    <a:cubicBezTo>
                      <a:pt x="243906" y="513560"/>
                      <a:pt x="241141" y="512481"/>
                      <a:pt x="240588" y="511941"/>
                    </a:cubicBezTo>
                    <a:cubicBezTo>
                      <a:pt x="238375" y="509242"/>
                      <a:pt x="239481" y="503305"/>
                      <a:pt x="234504" y="503845"/>
                    </a:cubicBezTo>
                    <a:cubicBezTo>
                      <a:pt x="231185" y="504385"/>
                      <a:pt x="229526" y="510862"/>
                      <a:pt x="227866" y="511401"/>
                    </a:cubicBezTo>
                    <a:cubicBezTo>
                      <a:pt x="225654" y="513021"/>
                      <a:pt x="223995" y="508703"/>
                      <a:pt x="222336" y="508163"/>
                    </a:cubicBezTo>
                    <a:cubicBezTo>
                      <a:pt x="221229" y="504925"/>
                      <a:pt x="224548" y="498988"/>
                      <a:pt x="223995" y="496829"/>
                    </a:cubicBezTo>
                    <a:cubicBezTo>
                      <a:pt x="223442" y="493051"/>
                      <a:pt x="214039" y="494130"/>
                      <a:pt x="213486" y="496829"/>
                    </a:cubicBezTo>
                    <a:cubicBezTo>
                      <a:pt x="212933" y="502226"/>
                      <a:pt x="215145" y="515179"/>
                      <a:pt x="211827" y="519497"/>
                    </a:cubicBezTo>
                    <a:cubicBezTo>
                      <a:pt x="210721" y="521656"/>
                      <a:pt x="200212" y="518418"/>
                      <a:pt x="197999" y="517338"/>
                    </a:cubicBezTo>
                    <a:cubicBezTo>
                      <a:pt x="197446" y="516799"/>
                      <a:pt x="195787" y="514640"/>
                      <a:pt x="195787" y="513560"/>
                    </a:cubicBezTo>
                    <a:cubicBezTo>
                      <a:pt x="195787" y="511401"/>
                      <a:pt x="196893" y="504385"/>
                      <a:pt x="197999" y="502226"/>
                    </a:cubicBezTo>
                    <a:cubicBezTo>
                      <a:pt x="201318" y="494670"/>
                      <a:pt x="206849" y="488193"/>
                      <a:pt x="210721" y="480637"/>
                    </a:cubicBezTo>
                    <a:cubicBezTo>
                      <a:pt x="212933" y="476319"/>
                      <a:pt x="209614" y="474160"/>
                      <a:pt x="210168" y="472541"/>
                    </a:cubicBezTo>
                    <a:cubicBezTo>
                      <a:pt x="210168" y="470922"/>
                      <a:pt x="213486" y="462287"/>
                      <a:pt x="214039" y="460667"/>
                    </a:cubicBezTo>
                    <a:cubicBezTo>
                      <a:pt x="217911" y="453651"/>
                      <a:pt x="222336" y="446635"/>
                      <a:pt x="226760" y="440158"/>
                    </a:cubicBezTo>
                    <a:close/>
                    <a:moveTo>
                      <a:pt x="550872" y="44001"/>
                    </a:moveTo>
                    <a:cubicBezTo>
                      <a:pt x="548660" y="43461"/>
                      <a:pt x="545894" y="46160"/>
                      <a:pt x="543682" y="46700"/>
                    </a:cubicBezTo>
                    <a:cubicBezTo>
                      <a:pt x="537598" y="46700"/>
                      <a:pt x="531514" y="34286"/>
                      <a:pt x="537598" y="31048"/>
                    </a:cubicBezTo>
                    <a:cubicBezTo>
                      <a:pt x="541470" y="28349"/>
                      <a:pt x="544235" y="31587"/>
                      <a:pt x="548660" y="26730"/>
                    </a:cubicBezTo>
                    <a:cubicBezTo>
                      <a:pt x="549213" y="24571"/>
                      <a:pt x="550319" y="17555"/>
                      <a:pt x="550319" y="15396"/>
                    </a:cubicBezTo>
                    <a:cubicBezTo>
                      <a:pt x="549766" y="13776"/>
                      <a:pt x="548660" y="12697"/>
                      <a:pt x="548107" y="11618"/>
                    </a:cubicBezTo>
                    <a:cubicBezTo>
                      <a:pt x="547554" y="6220"/>
                      <a:pt x="551978" y="-256"/>
                      <a:pt x="557509" y="-256"/>
                    </a:cubicBezTo>
                    <a:lnTo>
                      <a:pt x="559169" y="1363"/>
                    </a:lnTo>
                    <a:cubicBezTo>
                      <a:pt x="560828" y="13776"/>
                      <a:pt x="557509" y="17015"/>
                      <a:pt x="569677" y="26730"/>
                    </a:cubicBezTo>
                    <a:cubicBezTo>
                      <a:pt x="569124" y="30508"/>
                      <a:pt x="566912" y="33746"/>
                      <a:pt x="566359" y="37524"/>
                    </a:cubicBezTo>
                    <a:cubicBezTo>
                      <a:pt x="565806" y="41302"/>
                      <a:pt x="566912" y="45620"/>
                      <a:pt x="565806" y="48858"/>
                    </a:cubicBezTo>
                    <a:cubicBezTo>
                      <a:pt x="564700" y="52097"/>
                      <a:pt x="561381" y="54256"/>
                      <a:pt x="559722" y="57494"/>
                    </a:cubicBezTo>
                    <a:cubicBezTo>
                      <a:pt x="556956" y="64510"/>
                      <a:pt x="556403" y="72606"/>
                      <a:pt x="553638" y="79623"/>
                    </a:cubicBezTo>
                    <a:cubicBezTo>
                      <a:pt x="551978" y="82861"/>
                      <a:pt x="550872" y="82861"/>
                      <a:pt x="547554" y="82861"/>
                    </a:cubicBezTo>
                    <a:cubicBezTo>
                      <a:pt x="537598" y="74225"/>
                      <a:pt x="561381" y="58034"/>
                      <a:pt x="550872" y="44001"/>
                    </a:cubicBezTo>
                    <a:close/>
                    <a:moveTo>
                      <a:pt x="427533" y="157883"/>
                    </a:moveTo>
                    <a:cubicBezTo>
                      <a:pt x="428086" y="158422"/>
                      <a:pt x="428639" y="159502"/>
                      <a:pt x="428639" y="160581"/>
                    </a:cubicBezTo>
                    <a:cubicBezTo>
                      <a:pt x="429192" y="162200"/>
                      <a:pt x="428086" y="165439"/>
                      <a:pt x="429192" y="167058"/>
                    </a:cubicBezTo>
                    <a:cubicBezTo>
                      <a:pt x="431404" y="172995"/>
                      <a:pt x="445785" y="174614"/>
                      <a:pt x="446338" y="178392"/>
                    </a:cubicBezTo>
                    <a:cubicBezTo>
                      <a:pt x="446891" y="183789"/>
                      <a:pt x="440254" y="183789"/>
                      <a:pt x="436935" y="182170"/>
                    </a:cubicBezTo>
                    <a:cubicBezTo>
                      <a:pt x="435829" y="181630"/>
                      <a:pt x="434723" y="178932"/>
                      <a:pt x="433617" y="178392"/>
                    </a:cubicBezTo>
                    <a:cubicBezTo>
                      <a:pt x="430298" y="177313"/>
                      <a:pt x="422555" y="178932"/>
                      <a:pt x="419789" y="177313"/>
                    </a:cubicBezTo>
                    <a:cubicBezTo>
                      <a:pt x="418683" y="176233"/>
                      <a:pt x="418683" y="170836"/>
                      <a:pt x="417577" y="169756"/>
                    </a:cubicBezTo>
                    <a:cubicBezTo>
                      <a:pt x="415918" y="168677"/>
                      <a:pt x="410387" y="169756"/>
                      <a:pt x="409834" y="167598"/>
                    </a:cubicBezTo>
                    <a:cubicBezTo>
                      <a:pt x="409834" y="163820"/>
                      <a:pt x="412599" y="157343"/>
                      <a:pt x="415918" y="155724"/>
                    </a:cubicBezTo>
                    <a:cubicBezTo>
                      <a:pt x="417577" y="154644"/>
                      <a:pt x="425320" y="155184"/>
                      <a:pt x="426427" y="156263"/>
                    </a:cubicBezTo>
                    <a:cubicBezTo>
                      <a:pt x="426980" y="156263"/>
                      <a:pt x="427533" y="157343"/>
                      <a:pt x="427533" y="157883"/>
                    </a:cubicBezTo>
                    <a:close/>
                    <a:moveTo>
                      <a:pt x="212933" y="226427"/>
                    </a:moveTo>
                    <a:cubicBezTo>
                      <a:pt x="214592" y="226967"/>
                      <a:pt x="216252" y="227507"/>
                      <a:pt x="217358" y="227507"/>
                    </a:cubicBezTo>
                    <a:cubicBezTo>
                      <a:pt x="218464" y="227507"/>
                      <a:pt x="221229" y="227507"/>
                      <a:pt x="221782" y="228047"/>
                    </a:cubicBezTo>
                    <a:cubicBezTo>
                      <a:pt x="223995" y="229666"/>
                      <a:pt x="220676" y="232904"/>
                      <a:pt x="219570" y="233444"/>
                    </a:cubicBezTo>
                    <a:cubicBezTo>
                      <a:pt x="216805" y="233984"/>
                      <a:pt x="205743" y="232364"/>
                      <a:pt x="205190" y="233444"/>
                    </a:cubicBezTo>
                    <a:cubicBezTo>
                      <a:pt x="202977" y="235603"/>
                      <a:pt x="204637" y="237222"/>
                      <a:pt x="203530" y="239381"/>
                    </a:cubicBezTo>
                    <a:cubicBezTo>
                      <a:pt x="202977" y="240460"/>
                      <a:pt x="201318" y="241540"/>
                      <a:pt x="200765" y="242619"/>
                    </a:cubicBezTo>
                    <a:cubicBezTo>
                      <a:pt x="199659" y="244778"/>
                      <a:pt x="199659" y="248556"/>
                      <a:pt x="198553" y="250175"/>
                    </a:cubicBezTo>
                    <a:cubicBezTo>
                      <a:pt x="196893" y="251794"/>
                      <a:pt x="193575" y="251794"/>
                      <a:pt x="191915" y="253414"/>
                    </a:cubicBezTo>
                    <a:cubicBezTo>
                      <a:pt x="189703" y="255033"/>
                      <a:pt x="190809" y="258271"/>
                      <a:pt x="186385" y="257731"/>
                    </a:cubicBezTo>
                    <a:cubicBezTo>
                      <a:pt x="185278" y="257192"/>
                      <a:pt x="183066" y="254493"/>
                      <a:pt x="181960" y="253953"/>
                    </a:cubicBezTo>
                    <a:cubicBezTo>
                      <a:pt x="175876" y="252334"/>
                      <a:pt x="176429" y="261509"/>
                      <a:pt x="173663" y="264208"/>
                    </a:cubicBezTo>
                    <a:cubicBezTo>
                      <a:pt x="172557" y="265288"/>
                      <a:pt x="168686" y="266367"/>
                      <a:pt x="167026" y="267446"/>
                    </a:cubicBezTo>
                    <a:cubicBezTo>
                      <a:pt x="162049" y="270685"/>
                      <a:pt x="163708" y="273383"/>
                      <a:pt x="156518" y="272844"/>
                    </a:cubicBezTo>
                    <a:cubicBezTo>
                      <a:pt x="155411" y="272304"/>
                      <a:pt x="154305" y="272304"/>
                      <a:pt x="153752" y="271764"/>
                    </a:cubicBezTo>
                    <a:cubicBezTo>
                      <a:pt x="153199" y="271224"/>
                      <a:pt x="152093" y="270685"/>
                      <a:pt x="152093" y="269605"/>
                    </a:cubicBezTo>
                    <a:cubicBezTo>
                      <a:pt x="149880" y="263668"/>
                      <a:pt x="162049" y="262589"/>
                      <a:pt x="160389" y="256112"/>
                    </a:cubicBezTo>
                    <a:cubicBezTo>
                      <a:pt x="159283" y="252334"/>
                      <a:pt x="155965" y="250175"/>
                      <a:pt x="155411" y="245857"/>
                    </a:cubicBezTo>
                    <a:cubicBezTo>
                      <a:pt x="154858" y="245318"/>
                      <a:pt x="157624" y="228047"/>
                      <a:pt x="158177" y="226427"/>
                    </a:cubicBezTo>
                    <a:cubicBezTo>
                      <a:pt x="159283" y="223729"/>
                      <a:pt x="164261" y="221570"/>
                      <a:pt x="167026" y="222649"/>
                    </a:cubicBezTo>
                    <a:cubicBezTo>
                      <a:pt x="169792" y="223729"/>
                      <a:pt x="172004" y="230205"/>
                      <a:pt x="179194" y="229126"/>
                    </a:cubicBezTo>
                    <a:cubicBezTo>
                      <a:pt x="179747" y="229126"/>
                      <a:pt x="181960" y="226967"/>
                      <a:pt x="182513" y="226427"/>
                    </a:cubicBezTo>
                    <a:cubicBezTo>
                      <a:pt x="183066" y="225888"/>
                      <a:pt x="182513" y="217252"/>
                      <a:pt x="183619" y="214554"/>
                    </a:cubicBezTo>
                    <a:cubicBezTo>
                      <a:pt x="184725" y="212395"/>
                      <a:pt x="195787" y="211315"/>
                      <a:pt x="199106" y="210236"/>
                    </a:cubicBezTo>
                    <a:cubicBezTo>
                      <a:pt x="205190" y="206997"/>
                      <a:pt x="210168" y="201600"/>
                      <a:pt x="215698" y="197822"/>
                    </a:cubicBezTo>
                    <a:cubicBezTo>
                      <a:pt x="217358" y="197822"/>
                      <a:pt x="219570" y="198362"/>
                      <a:pt x="220123" y="199981"/>
                    </a:cubicBezTo>
                    <a:cubicBezTo>
                      <a:pt x="220676" y="202140"/>
                      <a:pt x="221229" y="211315"/>
                      <a:pt x="220676" y="213474"/>
                    </a:cubicBezTo>
                    <a:cubicBezTo>
                      <a:pt x="220123" y="216173"/>
                      <a:pt x="213486" y="222649"/>
                      <a:pt x="213486" y="223189"/>
                    </a:cubicBezTo>
                    <a:cubicBezTo>
                      <a:pt x="212933" y="224269"/>
                      <a:pt x="212380" y="225348"/>
                      <a:pt x="212933" y="226427"/>
                    </a:cubicBezTo>
                    <a:close/>
                    <a:moveTo>
                      <a:pt x="205743" y="352183"/>
                    </a:moveTo>
                    <a:cubicBezTo>
                      <a:pt x="205190" y="351643"/>
                      <a:pt x="203530" y="350564"/>
                      <a:pt x="202977" y="350564"/>
                    </a:cubicBezTo>
                    <a:cubicBezTo>
                      <a:pt x="201871" y="351104"/>
                      <a:pt x="200212" y="354342"/>
                      <a:pt x="199106" y="354342"/>
                    </a:cubicBezTo>
                    <a:cubicBezTo>
                      <a:pt x="196893" y="354882"/>
                      <a:pt x="190256" y="352723"/>
                      <a:pt x="188044" y="352183"/>
                    </a:cubicBezTo>
                    <a:cubicBezTo>
                      <a:pt x="183066" y="350564"/>
                      <a:pt x="180854" y="344087"/>
                      <a:pt x="179747" y="339230"/>
                    </a:cubicBezTo>
                    <a:cubicBezTo>
                      <a:pt x="179194" y="337071"/>
                      <a:pt x="180854" y="332213"/>
                      <a:pt x="180301" y="330594"/>
                    </a:cubicBezTo>
                    <a:cubicBezTo>
                      <a:pt x="179747" y="328975"/>
                      <a:pt x="175876" y="325197"/>
                      <a:pt x="174770" y="324117"/>
                    </a:cubicBezTo>
                    <a:cubicBezTo>
                      <a:pt x="170898" y="322498"/>
                      <a:pt x="163708" y="328435"/>
                      <a:pt x="162602" y="315482"/>
                    </a:cubicBezTo>
                    <a:cubicBezTo>
                      <a:pt x="162602" y="314942"/>
                      <a:pt x="163155" y="313863"/>
                      <a:pt x="163155" y="313323"/>
                    </a:cubicBezTo>
                    <a:cubicBezTo>
                      <a:pt x="165367" y="310624"/>
                      <a:pt x="169239" y="312243"/>
                      <a:pt x="172004" y="311704"/>
                    </a:cubicBezTo>
                    <a:cubicBezTo>
                      <a:pt x="173110" y="311704"/>
                      <a:pt x="175323" y="310085"/>
                      <a:pt x="176429" y="310085"/>
                    </a:cubicBezTo>
                    <a:cubicBezTo>
                      <a:pt x="180854" y="310085"/>
                      <a:pt x="185831" y="313863"/>
                      <a:pt x="189703" y="312243"/>
                    </a:cubicBezTo>
                    <a:cubicBezTo>
                      <a:pt x="193575" y="305227"/>
                      <a:pt x="186938" y="303608"/>
                      <a:pt x="190256" y="297671"/>
                    </a:cubicBezTo>
                    <a:cubicBezTo>
                      <a:pt x="190809" y="296591"/>
                      <a:pt x="194128" y="293893"/>
                      <a:pt x="195787" y="294972"/>
                    </a:cubicBezTo>
                    <a:cubicBezTo>
                      <a:pt x="196340" y="296052"/>
                      <a:pt x="199106" y="300909"/>
                      <a:pt x="199106" y="301989"/>
                    </a:cubicBezTo>
                    <a:cubicBezTo>
                      <a:pt x="199659" y="308465"/>
                      <a:pt x="196893" y="314942"/>
                      <a:pt x="197446" y="321419"/>
                    </a:cubicBezTo>
                    <a:cubicBezTo>
                      <a:pt x="197446" y="323038"/>
                      <a:pt x="199659" y="328975"/>
                      <a:pt x="200765" y="330594"/>
                    </a:cubicBezTo>
                    <a:cubicBezTo>
                      <a:pt x="201871" y="332213"/>
                      <a:pt x="204637" y="333832"/>
                      <a:pt x="205743" y="334912"/>
                    </a:cubicBezTo>
                    <a:cubicBezTo>
                      <a:pt x="207955" y="337610"/>
                      <a:pt x="210168" y="340849"/>
                      <a:pt x="212933" y="342468"/>
                    </a:cubicBezTo>
                    <a:cubicBezTo>
                      <a:pt x="214039" y="343547"/>
                      <a:pt x="216805" y="343547"/>
                      <a:pt x="217911" y="344627"/>
                    </a:cubicBezTo>
                    <a:cubicBezTo>
                      <a:pt x="218464" y="345167"/>
                      <a:pt x="219017" y="346786"/>
                      <a:pt x="219017" y="347865"/>
                    </a:cubicBezTo>
                    <a:cubicBezTo>
                      <a:pt x="219017" y="349484"/>
                      <a:pt x="217911" y="355421"/>
                      <a:pt x="217358" y="357580"/>
                    </a:cubicBezTo>
                    <a:cubicBezTo>
                      <a:pt x="216252" y="359199"/>
                      <a:pt x="205190" y="371613"/>
                      <a:pt x="203530" y="372153"/>
                    </a:cubicBezTo>
                    <a:cubicBezTo>
                      <a:pt x="202977" y="372692"/>
                      <a:pt x="199659" y="370534"/>
                      <a:pt x="199659" y="369454"/>
                    </a:cubicBezTo>
                    <a:cubicBezTo>
                      <a:pt x="199106" y="367835"/>
                      <a:pt x="202977" y="365676"/>
                      <a:pt x="204084" y="364057"/>
                    </a:cubicBezTo>
                    <a:cubicBezTo>
                      <a:pt x="206849" y="361358"/>
                      <a:pt x="206296" y="355961"/>
                      <a:pt x="205743" y="352183"/>
                    </a:cubicBezTo>
                    <a:close/>
                    <a:moveTo>
                      <a:pt x="199106" y="437459"/>
                    </a:moveTo>
                    <a:cubicBezTo>
                      <a:pt x="200765" y="437999"/>
                      <a:pt x="204084" y="441777"/>
                      <a:pt x="204084" y="443396"/>
                    </a:cubicBezTo>
                    <a:cubicBezTo>
                      <a:pt x="204637" y="444476"/>
                      <a:pt x="203530" y="448793"/>
                      <a:pt x="202977" y="449873"/>
                    </a:cubicBezTo>
                    <a:cubicBezTo>
                      <a:pt x="202977" y="450413"/>
                      <a:pt x="201318" y="451492"/>
                      <a:pt x="200765" y="451492"/>
                    </a:cubicBezTo>
                    <a:cubicBezTo>
                      <a:pt x="198553" y="452032"/>
                      <a:pt x="191362" y="450952"/>
                      <a:pt x="189150" y="451492"/>
                    </a:cubicBezTo>
                    <a:cubicBezTo>
                      <a:pt x="185831" y="452032"/>
                      <a:pt x="175876" y="456350"/>
                      <a:pt x="172557" y="456889"/>
                    </a:cubicBezTo>
                    <a:cubicBezTo>
                      <a:pt x="170898" y="456889"/>
                      <a:pt x="165367" y="456350"/>
                      <a:pt x="163708" y="455270"/>
                    </a:cubicBezTo>
                    <a:cubicBezTo>
                      <a:pt x="163155" y="455270"/>
                      <a:pt x="162602" y="453111"/>
                      <a:pt x="162602" y="452572"/>
                    </a:cubicBezTo>
                    <a:cubicBezTo>
                      <a:pt x="163155" y="451492"/>
                      <a:pt x="164814" y="449873"/>
                      <a:pt x="165367" y="449333"/>
                    </a:cubicBezTo>
                    <a:cubicBezTo>
                      <a:pt x="167579" y="448254"/>
                      <a:pt x="174770" y="446095"/>
                      <a:pt x="176982" y="445015"/>
                    </a:cubicBezTo>
                    <a:cubicBezTo>
                      <a:pt x="178088" y="444476"/>
                      <a:pt x="179747" y="442317"/>
                      <a:pt x="179747" y="441777"/>
                    </a:cubicBezTo>
                    <a:cubicBezTo>
                      <a:pt x="180301" y="441237"/>
                      <a:pt x="179747" y="439078"/>
                      <a:pt x="179194" y="438539"/>
                    </a:cubicBezTo>
                    <a:cubicBezTo>
                      <a:pt x="178088" y="436920"/>
                      <a:pt x="173110" y="432602"/>
                      <a:pt x="172004" y="430983"/>
                    </a:cubicBezTo>
                    <a:cubicBezTo>
                      <a:pt x="171451" y="429903"/>
                      <a:pt x="169792" y="427205"/>
                      <a:pt x="169792" y="426665"/>
                    </a:cubicBezTo>
                    <a:cubicBezTo>
                      <a:pt x="169239" y="426125"/>
                      <a:pt x="169792" y="424506"/>
                      <a:pt x="169792" y="423966"/>
                    </a:cubicBezTo>
                    <a:cubicBezTo>
                      <a:pt x="169792" y="423426"/>
                      <a:pt x="171451" y="420728"/>
                      <a:pt x="172004" y="420188"/>
                    </a:cubicBezTo>
                    <a:cubicBezTo>
                      <a:pt x="172557" y="419648"/>
                      <a:pt x="175323" y="418569"/>
                      <a:pt x="175876" y="418029"/>
                    </a:cubicBezTo>
                    <a:cubicBezTo>
                      <a:pt x="176429" y="418029"/>
                      <a:pt x="176982" y="416410"/>
                      <a:pt x="177535" y="416410"/>
                    </a:cubicBezTo>
                    <a:cubicBezTo>
                      <a:pt x="178088" y="416410"/>
                      <a:pt x="179194" y="416950"/>
                      <a:pt x="179747" y="416950"/>
                    </a:cubicBezTo>
                    <a:lnTo>
                      <a:pt x="181960" y="419109"/>
                    </a:lnTo>
                    <a:cubicBezTo>
                      <a:pt x="183066" y="421268"/>
                      <a:pt x="186385" y="428284"/>
                      <a:pt x="188044" y="430443"/>
                    </a:cubicBezTo>
                    <a:cubicBezTo>
                      <a:pt x="189703" y="432062"/>
                      <a:pt x="197446" y="435840"/>
                      <a:pt x="199106" y="437459"/>
                    </a:cubicBezTo>
                    <a:close/>
                    <a:moveTo>
                      <a:pt x="205743" y="536768"/>
                    </a:moveTo>
                    <a:cubicBezTo>
                      <a:pt x="203530" y="541626"/>
                      <a:pt x="200765" y="546483"/>
                      <a:pt x="198553" y="551881"/>
                    </a:cubicBezTo>
                    <a:cubicBezTo>
                      <a:pt x="195787" y="556738"/>
                      <a:pt x="194128" y="566453"/>
                      <a:pt x="191362" y="570771"/>
                    </a:cubicBezTo>
                    <a:cubicBezTo>
                      <a:pt x="189150" y="573470"/>
                      <a:pt x="177535" y="576708"/>
                      <a:pt x="175323" y="574009"/>
                    </a:cubicBezTo>
                    <a:cubicBezTo>
                      <a:pt x="174770" y="573470"/>
                      <a:pt x="174217" y="570771"/>
                      <a:pt x="174217" y="570231"/>
                    </a:cubicBezTo>
                    <a:cubicBezTo>
                      <a:pt x="174217" y="569152"/>
                      <a:pt x="174770" y="566993"/>
                      <a:pt x="174770" y="566453"/>
                    </a:cubicBezTo>
                    <a:cubicBezTo>
                      <a:pt x="176982" y="562675"/>
                      <a:pt x="180301" y="559437"/>
                      <a:pt x="182513" y="555659"/>
                    </a:cubicBezTo>
                    <a:cubicBezTo>
                      <a:pt x="188044" y="545404"/>
                      <a:pt x="188044" y="537848"/>
                      <a:pt x="196893" y="529212"/>
                    </a:cubicBezTo>
                    <a:cubicBezTo>
                      <a:pt x="197999" y="528133"/>
                      <a:pt x="199659" y="526514"/>
                      <a:pt x="200765" y="525974"/>
                    </a:cubicBezTo>
                    <a:cubicBezTo>
                      <a:pt x="202424" y="525974"/>
                      <a:pt x="209614" y="524355"/>
                      <a:pt x="210168" y="525974"/>
                    </a:cubicBezTo>
                    <a:cubicBezTo>
                      <a:pt x="211274" y="528133"/>
                      <a:pt x="206849" y="534609"/>
                      <a:pt x="205743" y="536768"/>
                    </a:cubicBezTo>
                    <a:close/>
                    <a:moveTo>
                      <a:pt x="151540" y="535149"/>
                    </a:moveTo>
                    <a:cubicBezTo>
                      <a:pt x="148221" y="537308"/>
                      <a:pt x="146009" y="532990"/>
                      <a:pt x="146009" y="530292"/>
                    </a:cubicBezTo>
                    <a:lnTo>
                      <a:pt x="148221" y="525974"/>
                    </a:lnTo>
                    <a:lnTo>
                      <a:pt x="149880" y="521116"/>
                    </a:lnTo>
                    <a:cubicBezTo>
                      <a:pt x="150434" y="520037"/>
                      <a:pt x="150987" y="515719"/>
                      <a:pt x="150987" y="514640"/>
                    </a:cubicBezTo>
                    <a:cubicBezTo>
                      <a:pt x="150434" y="513560"/>
                      <a:pt x="148774" y="512481"/>
                      <a:pt x="148221" y="512481"/>
                    </a:cubicBezTo>
                    <a:cubicBezTo>
                      <a:pt x="144903" y="512481"/>
                      <a:pt x="144350" y="517878"/>
                      <a:pt x="142690" y="519497"/>
                    </a:cubicBezTo>
                    <a:cubicBezTo>
                      <a:pt x="142137" y="520037"/>
                      <a:pt x="138266" y="521116"/>
                      <a:pt x="137712" y="520037"/>
                    </a:cubicBezTo>
                    <a:cubicBezTo>
                      <a:pt x="136053" y="518957"/>
                      <a:pt x="143243" y="505464"/>
                      <a:pt x="144903" y="503845"/>
                    </a:cubicBezTo>
                    <a:cubicBezTo>
                      <a:pt x="146562" y="502766"/>
                      <a:pt x="157071" y="498448"/>
                      <a:pt x="158730" y="500067"/>
                    </a:cubicBezTo>
                    <a:cubicBezTo>
                      <a:pt x="160389" y="501147"/>
                      <a:pt x="159836" y="508163"/>
                      <a:pt x="160389" y="510862"/>
                    </a:cubicBezTo>
                    <a:cubicBezTo>
                      <a:pt x="162049" y="515719"/>
                      <a:pt x="169239" y="523815"/>
                      <a:pt x="163708" y="528133"/>
                    </a:cubicBezTo>
                    <a:cubicBezTo>
                      <a:pt x="161495" y="530292"/>
                      <a:pt x="156518" y="530831"/>
                      <a:pt x="153752" y="532451"/>
                    </a:cubicBezTo>
                    <a:cubicBezTo>
                      <a:pt x="152646" y="532990"/>
                      <a:pt x="152093" y="534070"/>
                      <a:pt x="151540" y="535149"/>
                    </a:cubicBezTo>
                    <a:close/>
                    <a:moveTo>
                      <a:pt x="253862" y="697066"/>
                    </a:moveTo>
                    <a:cubicBezTo>
                      <a:pt x="253862" y="699225"/>
                      <a:pt x="253309" y="704083"/>
                      <a:pt x="252756" y="706241"/>
                    </a:cubicBezTo>
                    <a:cubicBezTo>
                      <a:pt x="248884" y="715417"/>
                      <a:pt x="237269" y="731608"/>
                      <a:pt x="226760" y="732688"/>
                    </a:cubicBezTo>
                    <a:lnTo>
                      <a:pt x="224548" y="732688"/>
                    </a:lnTo>
                    <a:cubicBezTo>
                      <a:pt x="223442" y="732148"/>
                      <a:pt x="219017" y="728370"/>
                      <a:pt x="218464" y="727291"/>
                    </a:cubicBezTo>
                    <a:cubicBezTo>
                      <a:pt x="217911" y="726211"/>
                      <a:pt x="218464" y="721893"/>
                      <a:pt x="219017" y="720814"/>
                    </a:cubicBezTo>
                    <a:cubicBezTo>
                      <a:pt x="220676" y="717576"/>
                      <a:pt x="229526" y="712178"/>
                      <a:pt x="232291" y="709480"/>
                    </a:cubicBezTo>
                    <a:cubicBezTo>
                      <a:pt x="235057" y="706781"/>
                      <a:pt x="236716" y="703003"/>
                      <a:pt x="239481" y="700844"/>
                    </a:cubicBezTo>
                    <a:cubicBezTo>
                      <a:pt x="242247" y="698146"/>
                      <a:pt x="249990" y="692748"/>
                      <a:pt x="253862" y="697066"/>
                    </a:cubicBezTo>
                    <a:close/>
                    <a:moveTo>
                      <a:pt x="227313" y="840633"/>
                    </a:moveTo>
                    <a:cubicBezTo>
                      <a:pt x="226760" y="841172"/>
                      <a:pt x="225101" y="840633"/>
                      <a:pt x="224548" y="840093"/>
                    </a:cubicBezTo>
                    <a:cubicBezTo>
                      <a:pt x="223442" y="839013"/>
                      <a:pt x="217911" y="831997"/>
                      <a:pt x="217358" y="830378"/>
                    </a:cubicBezTo>
                    <a:cubicBezTo>
                      <a:pt x="216252" y="826060"/>
                      <a:pt x="219017" y="813646"/>
                      <a:pt x="221782" y="809868"/>
                    </a:cubicBezTo>
                    <a:cubicBezTo>
                      <a:pt x="222889" y="808789"/>
                      <a:pt x="226207" y="807709"/>
                      <a:pt x="227313" y="807170"/>
                    </a:cubicBezTo>
                    <a:cubicBezTo>
                      <a:pt x="228973" y="807170"/>
                      <a:pt x="232844" y="806630"/>
                      <a:pt x="233950" y="807709"/>
                    </a:cubicBezTo>
                    <a:cubicBezTo>
                      <a:pt x="236163" y="809329"/>
                      <a:pt x="238375" y="816345"/>
                      <a:pt x="240588" y="818504"/>
                    </a:cubicBezTo>
                    <a:cubicBezTo>
                      <a:pt x="242800" y="820663"/>
                      <a:pt x="246119" y="821742"/>
                      <a:pt x="248884" y="823901"/>
                    </a:cubicBezTo>
                    <a:lnTo>
                      <a:pt x="248331" y="825520"/>
                    </a:lnTo>
                    <a:lnTo>
                      <a:pt x="245012" y="827139"/>
                    </a:lnTo>
                    <a:cubicBezTo>
                      <a:pt x="242800" y="828759"/>
                      <a:pt x="227866" y="839553"/>
                      <a:pt x="227313" y="840633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14" name="Freeform 1050">
                <a:extLst>
                  <a:ext uri="{FF2B5EF4-FFF2-40B4-BE49-F238E27FC236}">
                    <a16:creationId xmlns:a16="http://schemas.microsoft.com/office/drawing/2014/main" id="{9B91BF90-1BA7-44E7-A964-130D278D06D3}"/>
                  </a:ext>
                </a:extLst>
              </p:cNvPr>
              <p:cNvSpPr/>
              <p:nvPr/>
            </p:nvSpPr>
            <p:spPr>
              <a:xfrm>
                <a:off x="7336038" y="3297772"/>
                <a:ext cx="1332398" cy="947134"/>
              </a:xfrm>
              <a:custGeom>
                <a:avLst/>
                <a:gdLst>
                  <a:gd name="connsiteX0" fmla="*/ 537275 w 1332398"/>
                  <a:gd name="connsiteY0" fmla="*/ 119495 h 947134"/>
                  <a:gd name="connsiteX1" fmla="*/ 536722 w 1332398"/>
                  <a:gd name="connsiteY1" fmla="*/ 123813 h 947134"/>
                  <a:gd name="connsiteX2" fmla="*/ 535616 w 1332398"/>
                  <a:gd name="connsiteY2" fmla="*/ 142164 h 947134"/>
                  <a:gd name="connsiteX3" fmla="*/ 537275 w 1332398"/>
                  <a:gd name="connsiteY3" fmla="*/ 178865 h 947134"/>
                  <a:gd name="connsiteX4" fmla="*/ 547784 w 1332398"/>
                  <a:gd name="connsiteY4" fmla="*/ 210708 h 947134"/>
                  <a:gd name="connsiteX5" fmla="*/ 547784 w 1332398"/>
                  <a:gd name="connsiteY5" fmla="*/ 218265 h 947134"/>
                  <a:gd name="connsiteX6" fmla="*/ 542806 w 1332398"/>
                  <a:gd name="connsiteY6" fmla="*/ 217185 h 947134"/>
                  <a:gd name="connsiteX7" fmla="*/ 509620 w 1332398"/>
                  <a:gd name="connsiteY7" fmla="*/ 205311 h 947134"/>
                  <a:gd name="connsiteX8" fmla="*/ 502430 w 1332398"/>
                  <a:gd name="connsiteY8" fmla="*/ 199914 h 947134"/>
                  <a:gd name="connsiteX9" fmla="*/ 454311 w 1332398"/>
                  <a:gd name="connsiteY9" fmla="*/ 226360 h 947134"/>
                  <a:gd name="connsiteX10" fmla="*/ 444356 w 1332398"/>
                  <a:gd name="connsiteY10" fmla="*/ 220963 h 947134"/>
                  <a:gd name="connsiteX11" fmla="*/ 433847 w 1332398"/>
                  <a:gd name="connsiteY11" fmla="*/ 197215 h 947134"/>
                  <a:gd name="connsiteX12" fmla="*/ 416148 w 1332398"/>
                  <a:gd name="connsiteY12" fmla="*/ 211248 h 947134"/>
                  <a:gd name="connsiteX13" fmla="*/ 413382 w 1332398"/>
                  <a:gd name="connsiteY13" fmla="*/ 225281 h 947134"/>
                  <a:gd name="connsiteX14" fmla="*/ 369135 w 1332398"/>
                  <a:gd name="connsiteY14" fmla="*/ 220423 h 947134"/>
                  <a:gd name="connsiteX15" fmla="*/ 340927 w 1332398"/>
                  <a:gd name="connsiteY15" fmla="*/ 233377 h 947134"/>
                  <a:gd name="connsiteX16" fmla="*/ 337609 w 1332398"/>
                  <a:gd name="connsiteY16" fmla="*/ 244171 h 947134"/>
                  <a:gd name="connsiteX17" fmla="*/ 333184 w 1332398"/>
                  <a:gd name="connsiteY17" fmla="*/ 249568 h 947134"/>
                  <a:gd name="connsiteX18" fmla="*/ 316591 w 1332398"/>
                  <a:gd name="connsiteY18" fmla="*/ 234996 h 947134"/>
                  <a:gd name="connsiteX19" fmla="*/ 294468 w 1332398"/>
                  <a:gd name="connsiteY19" fmla="*/ 243632 h 947134"/>
                  <a:gd name="connsiteX20" fmla="*/ 278981 w 1332398"/>
                  <a:gd name="connsiteY20" fmla="*/ 218265 h 947134"/>
                  <a:gd name="connsiteX21" fmla="*/ 253539 w 1332398"/>
                  <a:gd name="connsiteY21" fmla="*/ 230678 h 947134"/>
                  <a:gd name="connsiteX22" fmla="*/ 240265 w 1332398"/>
                  <a:gd name="connsiteY22" fmla="*/ 232297 h 947134"/>
                  <a:gd name="connsiteX23" fmla="*/ 152876 w 1332398"/>
                  <a:gd name="connsiteY23" fmla="*/ 223662 h 947134"/>
                  <a:gd name="connsiteX24" fmla="*/ 92589 w 1332398"/>
                  <a:gd name="connsiteY24" fmla="*/ 257664 h 947134"/>
                  <a:gd name="connsiteX25" fmla="*/ 78762 w 1332398"/>
                  <a:gd name="connsiteY25" fmla="*/ 283031 h 947134"/>
                  <a:gd name="connsiteX26" fmla="*/ 62169 w 1332398"/>
                  <a:gd name="connsiteY26" fmla="*/ 295445 h 947134"/>
                  <a:gd name="connsiteX27" fmla="*/ 36174 w 1332398"/>
                  <a:gd name="connsiteY27" fmla="*/ 303541 h 947134"/>
                  <a:gd name="connsiteX28" fmla="*/ 51660 w 1332398"/>
                  <a:gd name="connsiteY28" fmla="*/ 340242 h 947134"/>
                  <a:gd name="connsiteX29" fmla="*/ 76549 w 1332398"/>
                  <a:gd name="connsiteY29" fmla="*/ 366149 h 947134"/>
                  <a:gd name="connsiteX30" fmla="*/ 96461 w 1332398"/>
                  <a:gd name="connsiteY30" fmla="*/ 407707 h 947134"/>
                  <a:gd name="connsiteX31" fmla="*/ 97567 w 1332398"/>
                  <a:gd name="connsiteY31" fmla="*/ 417962 h 947134"/>
                  <a:gd name="connsiteX32" fmla="*/ 95908 w 1332398"/>
                  <a:gd name="connsiteY32" fmla="*/ 427677 h 947134"/>
                  <a:gd name="connsiteX33" fmla="*/ 89824 w 1332398"/>
                  <a:gd name="connsiteY33" fmla="*/ 434694 h 947134"/>
                  <a:gd name="connsiteX34" fmla="*/ 74890 w 1332398"/>
                  <a:gd name="connsiteY34" fmla="*/ 442250 h 947134"/>
                  <a:gd name="connsiteX35" fmla="*/ 18475 w 1332398"/>
                  <a:gd name="connsiteY35" fmla="*/ 548035 h 947134"/>
                  <a:gd name="connsiteX36" fmla="*/ 17369 w 1332398"/>
                  <a:gd name="connsiteY36" fmla="*/ 559370 h 947134"/>
                  <a:gd name="connsiteX37" fmla="*/ 28430 w 1332398"/>
                  <a:gd name="connsiteY37" fmla="*/ 591753 h 947134"/>
                  <a:gd name="connsiteX38" fmla="*/ 28984 w 1332398"/>
                  <a:gd name="connsiteY38" fmla="*/ 604167 h 947134"/>
                  <a:gd name="connsiteX39" fmla="*/ 43364 w 1332398"/>
                  <a:gd name="connsiteY39" fmla="*/ 613882 h 947134"/>
                  <a:gd name="connsiteX40" fmla="*/ 40598 w 1332398"/>
                  <a:gd name="connsiteY40" fmla="*/ 619819 h 947134"/>
                  <a:gd name="connsiteX41" fmla="*/ 17922 w 1332398"/>
                  <a:gd name="connsiteY41" fmla="*/ 618739 h 947134"/>
                  <a:gd name="connsiteX42" fmla="*/ 9072 w 1332398"/>
                  <a:gd name="connsiteY42" fmla="*/ 665695 h 947134"/>
                  <a:gd name="connsiteX43" fmla="*/ -330 w 1332398"/>
                  <a:gd name="connsiteY43" fmla="*/ 681347 h 947134"/>
                  <a:gd name="connsiteX44" fmla="*/ -883 w 1332398"/>
                  <a:gd name="connsiteY44" fmla="*/ 700237 h 947134"/>
                  <a:gd name="connsiteX45" fmla="*/ 42258 w 1332398"/>
                  <a:gd name="connsiteY45" fmla="*/ 725604 h 947134"/>
                  <a:gd name="connsiteX46" fmla="*/ 60510 w 1332398"/>
                  <a:gd name="connsiteY46" fmla="*/ 729922 h 947134"/>
                  <a:gd name="connsiteX47" fmla="*/ 69912 w 1332398"/>
                  <a:gd name="connsiteY47" fmla="*/ 739098 h 947134"/>
                  <a:gd name="connsiteX48" fmla="*/ 97567 w 1332398"/>
                  <a:gd name="connsiteY48" fmla="*/ 727224 h 947134"/>
                  <a:gd name="connsiteX49" fmla="*/ 119138 w 1332398"/>
                  <a:gd name="connsiteY49" fmla="*/ 730462 h 947134"/>
                  <a:gd name="connsiteX50" fmla="*/ 121350 w 1332398"/>
                  <a:gd name="connsiteY50" fmla="*/ 723446 h 947134"/>
                  <a:gd name="connsiteX51" fmla="*/ 155088 w 1332398"/>
                  <a:gd name="connsiteY51" fmla="*/ 726144 h 947134"/>
                  <a:gd name="connsiteX52" fmla="*/ 200442 w 1332398"/>
                  <a:gd name="connsiteY52" fmla="*/ 719668 h 947134"/>
                  <a:gd name="connsiteX53" fmla="*/ 230862 w 1332398"/>
                  <a:gd name="connsiteY53" fmla="*/ 739098 h 947134"/>
                  <a:gd name="connsiteX54" fmla="*/ 248008 w 1332398"/>
                  <a:gd name="connsiteY54" fmla="*/ 731541 h 947134"/>
                  <a:gd name="connsiteX55" fmla="*/ 267366 w 1332398"/>
                  <a:gd name="connsiteY55" fmla="*/ 701317 h 947134"/>
                  <a:gd name="connsiteX56" fmla="*/ 323782 w 1332398"/>
                  <a:gd name="connsiteY56" fmla="*/ 681347 h 947134"/>
                  <a:gd name="connsiteX57" fmla="*/ 329866 w 1332398"/>
                  <a:gd name="connsiteY57" fmla="*/ 650583 h 947134"/>
                  <a:gd name="connsiteX58" fmla="*/ 358073 w 1332398"/>
                  <a:gd name="connsiteY58" fmla="*/ 634391 h 947134"/>
                  <a:gd name="connsiteX59" fmla="*/ 360286 w 1332398"/>
                  <a:gd name="connsiteY59" fmla="*/ 626835 h 947134"/>
                  <a:gd name="connsiteX60" fmla="*/ 377985 w 1332398"/>
                  <a:gd name="connsiteY60" fmla="*/ 612802 h 947134"/>
                  <a:gd name="connsiteX61" fmla="*/ 412829 w 1332398"/>
                  <a:gd name="connsiteY61" fmla="*/ 598230 h 947134"/>
                  <a:gd name="connsiteX62" fmla="*/ 426104 w 1332398"/>
                  <a:gd name="connsiteY62" fmla="*/ 598230 h 947134"/>
                  <a:gd name="connsiteX63" fmla="*/ 459289 w 1332398"/>
                  <a:gd name="connsiteY63" fmla="*/ 606865 h 947134"/>
                  <a:gd name="connsiteX64" fmla="*/ 470904 w 1332398"/>
                  <a:gd name="connsiteY64" fmla="*/ 616580 h 947134"/>
                  <a:gd name="connsiteX65" fmla="*/ 504090 w 1332398"/>
                  <a:gd name="connsiteY65" fmla="*/ 619819 h 947134"/>
                  <a:gd name="connsiteX66" fmla="*/ 515704 w 1332398"/>
                  <a:gd name="connsiteY66" fmla="*/ 614961 h 947134"/>
                  <a:gd name="connsiteX67" fmla="*/ 525660 w 1332398"/>
                  <a:gd name="connsiteY67" fmla="*/ 611723 h 947134"/>
                  <a:gd name="connsiteX68" fmla="*/ 533403 w 1332398"/>
                  <a:gd name="connsiteY68" fmla="*/ 613882 h 947134"/>
                  <a:gd name="connsiteX69" fmla="*/ 541147 w 1332398"/>
                  <a:gd name="connsiteY69" fmla="*/ 620898 h 947134"/>
                  <a:gd name="connsiteX70" fmla="*/ 553868 w 1332398"/>
                  <a:gd name="connsiteY70" fmla="*/ 627915 h 947134"/>
                  <a:gd name="connsiteX71" fmla="*/ 563824 w 1332398"/>
                  <a:gd name="connsiteY71" fmla="*/ 631153 h 947134"/>
                  <a:gd name="connsiteX72" fmla="*/ 574885 w 1332398"/>
                  <a:gd name="connsiteY72" fmla="*/ 654901 h 947134"/>
                  <a:gd name="connsiteX73" fmla="*/ 584841 w 1332398"/>
                  <a:gd name="connsiteY73" fmla="*/ 686205 h 947134"/>
                  <a:gd name="connsiteX74" fmla="*/ 607518 w 1332398"/>
                  <a:gd name="connsiteY74" fmla="*/ 689443 h 947134"/>
                  <a:gd name="connsiteX75" fmla="*/ 614155 w 1332398"/>
                  <a:gd name="connsiteY75" fmla="*/ 705095 h 947134"/>
                  <a:gd name="connsiteX76" fmla="*/ 650106 w 1332398"/>
                  <a:gd name="connsiteY76" fmla="*/ 738558 h 947134"/>
                  <a:gd name="connsiteX77" fmla="*/ 657849 w 1332398"/>
                  <a:gd name="connsiteY77" fmla="*/ 760147 h 947134"/>
                  <a:gd name="connsiteX78" fmla="*/ 683844 w 1332398"/>
                  <a:gd name="connsiteY78" fmla="*/ 771481 h 947134"/>
                  <a:gd name="connsiteX79" fmla="*/ 677760 w 1332398"/>
                  <a:gd name="connsiteY79" fmla="*/ 783895 h 947134"/>
                  <a:gd name="connsiteX80" fmla="*/ 663380 w 1332398"/>
                  <a:gd name="connsiteY80" fmla="*/ 792530 h 947134"/>
                  <a:gd name="connsiteX81" fmla="*/ 631301 w 1332398"/>
                  <a:gd name="connsiteY81" fmla="*/ 786053 h 947134"/>
                  <a:gd name="connsiteX82" fmla="*/ 623557 w 1332398"/>
                  <a:gd name="connsiteY82" fmla="*/ 800086 h 947134"/>
                  <a:gd name="connsiteX83" fmla="*/ 612496 w 1332398"/>
                  <a:gd name="connsiteY83" fmla="*/ 795229 h 947134"/>
                  <a:gd name="connsiteX84" fmla="*/ 606412 w 1332398"/>
                  <a:gd name="connsiteY84" fmla="*/ 788212 h 947134"/>
                  <a:gd name="connsiteX85" fmla="*/ 595903 w 1332398"/>
                  <a:gd name="connsiteY85" fmla="*/ 795229 h 947134"/>
                  <a:gd name="connsiteX86" fmla="*/ 595350 w 1332398"/>
                  <a:gd name="connsiteY86" fmla="*/ 810341 h 947134"/>
                  <a:gd name="connsiteX87" fmla="*/ 602540 w 1332398"/>
                  <a:gd name="connsiteY87" fmla="*/ 827072 h 947134"/>
                  <a:gd name="connsiteX88" fmla="*/ 581522 w 1332398"/>
                  <a:gd name="connsiteY88" fmla="*/ 901554 h 947134"/>
                  <a:gd name="connsiteX89" fmla="*/ 583182 w 1332398"/>
                  <a:gd name="connsiteY89" fmla="*/ 913428 h 947134"/>
                  <a:gd name="connsiteX90" fmla="*/ 567695 w 1332398"/>
                  <a:gd name="connsiteY90" fmla="*/ 935017 h 947134"/>
                  <a:gd name="connsiteX91" fmla="*/ 603093 w 1332398"/>
                  <a:gd name="connsiteY91" fmla="*/ 945272 h 947134"/>
                  <a:gd name="connsiteX92" fmla="*/ 672783 w 1332398"/>
                  <a:gd name="connsiteY92" fmla="*/ 906412 h 947134"/>
                  <a:gd name="connsiteX93" fmla="*/ 687163 w 1332398"/>
                  <a:gd name="connsiteY93" fmla="*/ 917206 h 947134"/>
                  <a:gd name="connsiteX94" fmla="*/ 683844 w 1332398"/>
                  <a:gd name="connsiteY94" fmla="*/ 897236 h 947134"/>
                  <a:gd name="connsiteX95" fmla="*/ 676654 w 1332398"/>
                  <a:gd name="connsiteY95" fmla="*/ 892919 h 947134"/>
                  <a:gd name="connsiteX96" fmla="*/ 673889 w 1332398"/>
                  <a:gd name="connsiteY96" fmla="*/ 884823 h 947134"/>
                  <a:gd name="connsiteX97" fmla="*/ 668911 w 1332398"/>
                  <a:gd name="connsiteY97" fmla="*/ 877806 h 947134"/>
                  <a:gd name="connsiteX98" fmla="*/ 667805 w 1332398"/>
                  <a:gd name="connsiteY98" fmla="*/ 867012 h 947134"/>
                  <a:gd name="connsiteX99" fmla="*/ 666146 w 1332398"/>
                  <a:gd name="connsiteY99" fmla="*/ 863774 h 947134"/>
                  <a:gd name="connsiteX100" fmla="*/ 665592 w 1332398"/>
                  <a:gd name="connsiteY100" fmla="*/ 857837 h 947134"/>
                  <a:gd name="connsiteX101" fmla="*/ 667252 w 1332398"/>
                  <a:gd name="connsiteY101" fmla="*/ 855678 h 947134"/>
                  <a:gd name="connsiteX102" fmla="*/ 680526 w 1332398"/>
                  <a:gd name="connsiteY102" fmla="*/ 871330 h 947134"/>
                  <a:gd name="connsiteX103" fmla="*/ 686610 w 1332398"/>
                  <a:gd name="connsiteY103" fmla="*/ 855138 h 947134"/>
                  <a:gd name="connsiteX104" fmla="*/ 704309 w 1332398"/>
                  <a:gd name="connsiteY104" fmla="*/ 831930 h 947134"/>
                  <a:gd name="connsiteX105" fmla="*/ 716477 w 1332398"/>
                  <a:gd name="connsiteY105" fmla="*/ 804404 h 947134"/>
                  <a:gd name="connsiteX106" fmla="*/ 684951 w 1332398"/>
                  <a:gd name="connsiteY106" fmla="*/ 781736 h 947134"/>
                  <a:gd name="connsiteX107" fmla="*/ 685504 w 1332398"/>
                  <a:gd name="connsiteY107" fmla="*/ 775259 h 947134"/>
                  <a:gd name="connsiteX108" fmla="*/ 692694 w 1332398"/>
                  <a:gd name="connsiteY108" fmla="*/ 771481 h 947134"/>
                  <a:gd name="connsiteX109" fmla="*/ 707074 w 1332398"/>
                  <a:gd name="connsiteY109" fmla="*/ 774719 h 947134"/>
                  <a:gd name="connsiteX110" fmla="*/ 723667 w 1332398"/>
                  <a:gd name="connsiteY110" fmla="*/ 791990 h 947134"/>
                  <a:gd name="connsiteX111" fmla="*/ 724773 w 1332398"/>
                  <a:gd name="connsiteY111" fmla="*/ 789832 h 947134"/>
                  <a:gd name="connsiteX112" fmla="*/ 728092 w 1332398"/>
                  <a:gd name="connsiteY112" fmla="*/ 767703 h 947134"/>
                  <a:gd name="connsiteX113" fmla="*/ 731963 w 1332398"/>
                  <a:gd name="connsiteY113" fmla="*/ 754210 h 947134"/>
                  <a:gd name="connsiteX114" fmla="*/ 733070 w 1332398"/>
                  <a:gd name="connsiteY114" fmla="*/ 739098 h 947134"/>
                  <a:gd name="connsiteX115" fmla="*/ 757959 w 1332398"/>
                  <a:gd name="connsiteY115" fmla="*/ 722366 h 947134"/>
                  <a:gd name="connsiteX116" fmla="*/ 764043 w 1332398"/>
                  <a:gd name="connsiteY116" fmla="*/ 720207 h 947134"/>
                  <a:gd name="connsiteX117" fmla="*/ 778976 w 1332398"/>
                  <a:gd name="connsiteY117" fmla="*/ 712651 h 947134"/>
                  <a:gd name="connsiteX118" fmla="*/ 783954 w 1332398"/>
                  <a:gd name="connsiteY118" fmla="*/ 710492 h 947134"/>
                  <a:gd name="connsiteX119" fmla="*/ 793357 w 1332398"/>
                  <a:gd name="connsiteY119" fmla="*/ 702936 h 947134"/>
                  <a:gd name="connsiteX120" fmla="*/ 805525 w 1332398"/>
                  <a:gd name="connsiteY120" fmla="*/ 701857 h 947134"/>
                  <a:gd name="connsiteX121" fmla="*/ 808843 w 1332398"/>
                  <a:gd name="connsiteY121" fmla="*/ 693761 h 947134"/>
                  <a:gd name="connsiteX122" fmla="*/ 809396 w 1332398"/>
                  <a:gd name="connsiteY122" fmla="*/ 664616 h 947134"/>
                  <a:gd name="connsiteX123" fmla="*/ 816587 w 1332398"/>
                  <a:gd name="connsiteY123" fmla="*/ 688364 h 947134"/>
                  <a:gd name="connsiteX124" fmla="*/ 830967 w 1332398"/>
                  <a:gd name="connsiteY124" fmla="*/ 698079 h 947134"/>
                  <a:gd name="connsiteX125" fmla="*/ 849772 w 1332398"/>
                  <a:gd name="connsiteY125" fmla="*/ 697539 h 947134"/>
                  <a:gd name="connsiteX126" fmla="*/ 855856 w 1332398"/>
                  <a:gd name="connsiteY126" fmla="*/ 698079 h 947134"/>
                  <a:gd name="connsiteX127" fmla="*/ 856409 w 1332398"/>
                  <a:gd name="connsiteY127" fmla="*/ 707254 h 947134"/>
                  <a:gd name="connsiteX128" fmla="*/ 824883 w 1332398"/>
                  <a:gd name="connsiteY128" fmla="*/ 714270 h 947134"/>
                  <a:gd name="connsiteX129" fmla="*/ 793910 w 1332398"/>
                  <a:gd name="connsiteY129" fmla="*/ 721287 h 947134"/>
                  <a:gd name="connsiteX130" fmla="*/ 801653 w 1332398"/>
                  <a:gd name="connsiteY130" fmla="*/ 725065 h 947134"/>
                  <a:gd name="connsiteX131" fmla="*/ 811609 w 1332398"/>
                  <a:gd name="connsiteY131" fmla="*/ 720207 h 947134"/>
                  <a:gd name="connsiteX132" fmla="*/ 827648 w 1332398"/>
                  <a:gd name="connsiteY132" fmla="*/ 720207 h 947134"/>
                  <a:gd name="connsiteX133" fmla="*/ 830967 w 1332398"/>
                  <a:gd name="connsiteY133" fmla="*/ 725065 h 947134"/>
                  <a:gd name="connsiteX134" fmla="*/ 823224 w 1332398"/>
                  <a:gd name="connsiteY134" fmla="*/ 739098 h 947134"/>
                  <a:gd name="connsiteX135" fmla="*/ 856409 w 1332398"/>
                  <a:gd name="connsiteY135" fmla="*/ 743415 h 947134"/>
                  <a:gd name="connsiteX136" fmla="*/ 861387 w 1332398"/>
                  <a:gd name="connsiteY136" fmla="*/ 747193 h 947134"/>
                  <a:gd name="connsiteX137" fmla="*/ 871343 w 1332398"/>
                  <a:gd name="connsiteY137" fmla="*/ 749892 h 947134"/>
                  <a:gd name="connsiteX138" fmla="*/ 875214 w 1332398"/>
                  <a:gd name="connsiteY138" fmla="*/ 747193 h 947134"/>
                  <a:gd name="connsiteX139" fmla="*/ 889595 w 1332398"/>
                  <a:gd name="connsiteY139" fmla="*/ 739637 h 947134"/>
                  <a:gd name="connsiteX140" fmla="*/ 899550 w 1332398"/>
                  <a:gd name="connsiteY140" fmla="*/ 732621 h 947134"/>
                  <a:gd name="connsiteX141" fmla="*/ 907294 w 1332398"/>
                  <a:gd name="connsiteY141" fmla="*/ 729922 h 947134"/>
                  <a:gd name="connsiteX142" fmla="*/ 934395 w 1332398"/>
                  <a:gd name="connsiteY142" fmla="*/ 719668 h 947134"/>
                  <a:gd name="connsiteX143" fmla="*/ 952094 w 1332398"/>
                  <a:gd name="connsiteY143" fmla="*/ 721826 h 947134"/>
                  <a:gd name="connsiteX144" fmla="*/ 967028 w 1332398"/>
                  <a:gd name="connsiteY144" fmla="*/ 711572 h 947134"/>
                  <a:gd name="connsiteX145" fmla="*/ 973112 w 1332398"/>
                  <a:gd name="connsiteY145" fmla="*/ 725604 h 947134"/>
                  <a:gd name="connsiteX146" fmla="*/ 980855 w 1332398"/>
                  <a:gd name="connsiteY146" fmla="*/ 731541 h 947134"/>
                  <a:gd name="connsiteX147" fmla="*/ 946563 w 1332398"/>
                  <a:gd name="connsiteY147" fmla="*/ 763925 h 947134"/>
                  <a:gd name="connsiteX148" fmla="*/ 927205 w 1332398"/>
                  <a:gd name="connsiteY148" fmla="*/ 790911 h 947134"/>
                  <a:gd name="connsiteX149" fmla="*/ 905634 w 1332398"/>
                  <a:gd name="connsiteY149" fmla="*/ 825993 h 947134"/>
                  <a:gd name="connsiteX150" fmla="*/ 906741 w 1332398"/>
                  <a:gd name="connsiteY150" fmla="*/ 828152 h 947134"/>
                  <a:gd name="connsiteX151" fmla="*/ 915590 w 1332398"/>
                  <a:gd name="connsiteY151" fmla="*/ 833009 h 947134"/>
                  <a:gd name="connsiteX152" fmla="*/ 938820 w 1332398"/>
                  <a:gd name="connsiteY152" fmla="*/ 822215 h 947134"/>
                  <a:gd name="connsiteX153" fmla="*/ 974771 w 1332398"/>
                  <a:gd name="connsiteY153" fmla="*/ 829231 h 947134"/>
                  <a:gd name="connsiteX154" fmla="*/ 984727 w 1332398"/>
                  <a:gd name="connsiteY154" fmla="*/ 823834 h 947134"/>
                  <a:gd name="connsiteX155" fmla="*/ 998001 w 1332398"/>
                  <a:gd name="connsiteY155" fmla="*/ 825993 h 947134"/>
                  <a:gd name="connsiteX156" fmla="*/ 1012381 w 1332398"/>
                  <a:gd name="connsiteY156" fmla="*/ 846502 h 947134"/>
                  <a:gd name="connsiteX157" fmla="*/ 1011828 w 1332398"/>
                  <a:gd name="connsiteY157" fmla="*/ 859996 h 947134"/>
                  <a:gd name="connsiteX158" fmla="*/ 1015147 w 1332398"/>
                  <a:gd name="connsiteY158" fmla="*/ 877806 h 947134"/>
                  <a:gd name="connsiteX159" fmla="*/ 1007403 w 1332398"/>
                  <a:gd name="connsiteY159" fmla="*/ 890760 h 947134"/>
                  <a:gd name="connsiteX160" fmla="*/ 1008510 w 1332398"/>
                  <a:gd name="connsiteY160" fmla="*/ 898316 h 947134"/>
                  <a:gd name="connsiteX161" fmla="*/ 1021231 w 1332398"/>
                  <a:gd name="connsiteY161" fmla="*/ 901554 h 947134"/>
                  <a:gd name="connsiteX162" fmla="*/ 1028974 w 1332398"/>
                  <a:gd name="connsiteY162" fmla="*/ 900475 h 947134"/>
                  <a:gd name="connsiteX163" fmla="*/ 1042248 w 1332398"/>
                  <a:gd name="connsiteY163" fmla="*/ 903713 h 947134"/>
                  <a:gd name="connsiteX164" fmla="*/ 1051098 w 1332398"/>
                  <a:gd name="connsiteY164" fmla="*/ 902094 h 947134"/>
                  <a:gd name="connsiteX165" fmla="*/ 1078199 w 1332398"/>
                  <a:gd name="connsiteY165" fmla="*/ 867552 h 947134"/>
                  <a:gd name="connsiteX166" fmla="*/ 1091473 w 1332398"/>
                  <a:gd name="connsiteY166" fmla="*/ 834629 h 947134"/>
                  <a:gd name="connsiteX167" fmla="*/ 1119681 w 1332398"/>
                  <a:gd name="connsiteY167" fmla="*/ 816818 h 947134"/>
                  <a:gd name="connsiteX168" fmla="*/ 1128531 w 1332398"/>
                  <a:gd name="connsiteY168" fmla="*/ 816818 h 947134"/>
                  <a:gd name="connsiteX169" fmla="*/ 1135168 w 1332398"/>
                  <a:gd name="connsiteY169" fmla="*/ 796848 h 947134"/>
                  <a:gd name="connsiteX170" fmla="*/ 1144017 w 1332398"/>
                  <a:gd name="connsiteY170" fmla="*/ 789832 h 947134"/>
                  <a:gd name="connsiteX171" fmla="*/ 1148442 w 1332398"/>
                  <a:gd name="connsiteY171" fmla="*/ 769862 h 947134"/>
                  <a:gd name="connsiteX172" fmla="*/ 1166694 w 1332398"/>
                  <a:gd name="connsiteY172" fmla="*/ 766623 h 947134"/>
                  <a:gd name="connsiteX173" fmla="*/ 1180521 w 1332398"/>
                  <a:gd name="connsiteY173" fmla="*/ 771481 h 947134"/>
                  <a:gd name="connsiteX174" fmla="*/ 1186605 w 1332398"/>
                  <a:gd name="connsiteY174" fmla="*/ 768243 h 947134"/>
                  <a:gd name="connsiteX175" fmla="*/ 1189371 w 1332398"/>
                  <a:gd name="connsiteY175" fmla="*/ 763925 h 947134"/>
                  <a:gd name="connsiteX176" fmla="*/ 1222003 w 1332398"/>
                  <a:gd name="connsiteY176" fmla="*/ 748273 h 947134"/>
                  <a:gd name="connsiteX177" fmla="*/ 1214260 w 1332398"/>
                  <a:gd name="connsiteY177" fmla="*/ 720747 h 947134"/>
                  <a:gd name="connsiteX178" fmla="*/ 1222003 w 1332398"/>
                  <a:gd name="connsiteY178" fmla="*/ 700237 h 947134"/>
                  <a:gd name="connsiteX179" fmla="*/ 1183287 w 1332398"/>
                  <a:gd name="connsiteY179" fmla="*/ 713191 h 947134"/>
                  <a:gd name="connsiteX180" fmla="*/ 1178309 w 1332398"/>
                  <a:gd name="connsiteY180" fmla="*/ 723985 h 947134"/>
                  <a:gd name="connsiteX181" fmla="*/ 1162822 w 1332398"/>
                  <a:gd name="connsiteY181" fmla="*/ 723985 h 947134"/>
                  <a:gd name="connsiteX182" fmla="*/ 1155632 w 1332398"/>
                  <a:gd name="connsiteY182" fmla="*/ 739098 h 947134"/>
                  <a:gd name="connsiteX183" fmla="*/ 1130743 w 1332398"/>
                  <a:gd name="connsiteY183" fmla="*/ 754750 h 947134"/>
                  <a:gd name="connsiteX184" fmla="*/ 1117469 w 1332398"/>
                  <a:gd name="connsiteY184" fmla="*/ 756369 h 947134"/>
                  <a:gd name="connsiteX185" fmla="*/ 1099217 w 1332398"/>
                  <a:gd name="connsiteY185" fmla="*/ 750432 h 947134"/>
                  <a:gd name="connsiteX186" fmla="*/ 1098110 w 1332398"/>
                  <a:gd name="connsiteY186" fmla="*/ 740717 h 947134"/>
                  <a:gd name="connsiteX187" fmla="*/ 1089814 w 1332398"/>
                  <a:gd name="connsiteY187" fmla="*/ 727763 h 947134"/>
                  <a:gd name="connsiteX188" fmla="*/ 1085942 w 1332398"/>
                  <a:gd name="connsiteY188" fmla="*/ 725065 h 947134"/>
                  <a:gd name="connsiteX189" fmla="*/ 1061606 w 1332398"/>
                  <a:gd name="connsiteY189" fmla="*/ 717509 h 947134"/>
                  <a:gd name="connsiteX190" fmla="*/ 1054416 w 1332398"/>
                  <a:gd name="connsiteY190" fmla="*/ 701857 h 947134"/>
                  <a:gd name="connsiteX191" fmla="*/ 1042801 w 1332398"/>
                  <a:gd name="connsiteY191" fmla="*/ 700777 h 947134"/>
                  <a:gd name="connsiteX192" fmla="*/ 1027868 w 1332398"/>
                  <a:gd name="connsiteY192" fmla="*/ 702936 h 947134"/>
                  <a:gd name="connsiteX193" fmla="*/ 1000213 w 1332398"/>
                  <a:gd name="connsiteY193" fmla="*/ 704555 h 947134"/>
                  <a:gd name="connsiteX194" fmla="*/ 991917 w 1332398"/>
                  <a:gd name="connsiteY194" fmla="*/ 712111 h 947134"/>
                  <a:gd name="connsiteX195" fmla="*/ 984173 w 1332398"/>
                  <a:gd name="connsiteY195" fmla="*/ 705095 h 947134"/>
                  <a:gd name="connsiteX196" fmla="*/ 970346 w 1332398"/>
                  <a:gd name="connsiteY196" fmla="*/ 699698 h 947134"/>
                  <a:gd name="connsiteX197" fmla="*/ 970346 w 1332398"/>
                  <a:gd name="connsiteY197" fmla="*/ 694840 h 947134"/>
                  <a:gd name="connsiteX198" fmla="*/ 977536 w 1332398"/>
                  <a:gd name="connsiteY198" fmla="*/ 692681 h 947134"/>
                  <a:gd name="connsiteX199" fmla="*/ 993576 w 1332398"/>
                  <a:gd name="connsiteY199" fmla="*/ 694840 h 947134"/>
                  <a:gd name="connsiteX200" fmla="*/ 1000766 w 1332398"/>
                  <a:gd name="connsiteY200" fmla="*/ 689983 h 947134"/>
                  <a:gd name="connsiteX201" fmla="*/ 1010722 w 1332398"/>
                  <a:gd name="connsiteY201" fmla="*/ 691062 h 947134"/>
                  <a:gd name="connsiteX202" fmla="*/ 1016806 w 1332398"/>
                  <a:gd name="connsiteY202" fmla="*/ 684585 h 947134"/>
                  <a:gd name="connsiteX203" fmla="*/ 1037270 w 1332398"/>
                  <a:gd name="connsiteY203" fmla="*/ 682966 h 947134"/>
                  <a:gd name="connsiteX204" fmla="*/ 1040589 w 1332398"/>
                  <a:gd name="connsiteY204" fmla="*/ 686205 h 947134"/>
                  <a:gd name="connsiteX205" fmla="*/ 1051098 w 1332398"/>
                  <a:gd name="connsiteY205" fmla="*/ 686744 h 947134"/>
                  <a:gd name="connsiteX206" fmla="*/ 1056629 w 1332398"/>
                  <a:gd name="connsiteY206" fmla="*/ 680268 h 947134"/>
                  <a:gd name="connsiteX207" fmla="*/ 1059394 w 1332398"/>
                  <a:gd name="connsiteY207" fmla="*/ 658139 h 947134"/>
                  <a:gd name="connsiteX208" fmla="*/ 1064925 w 1332398"/>
                  <a:gd name="connsiteY208" fmla="*/ 655440 h 947134"/>
                  <a:gd name="connsiteX209" fmla="*/ 1070456 w 1332398"/>
                  <a:gd name="connsiteY209" fmla="*/ 647884 h 947134"/>
                  <a:gd name="connsiteX210" fmla="*/ 1074881 w 1332398"/>
                  <a:gd name="connsiteY210" fmla="*/ 632772 h 947134"/>
                  <a:gd name="connsiteX211" fmla="*/ 1086496 w 1332398"/>
                  <a:gd name="connsiteY211" fmla="*/ 633852 h 947134"/>
                  <a:gd name="connsiteX212" fmla="*/ 1090367 w 1332398"/>
                  <a:gd name="connsiteY212" fmla="*/ 630613 h 947134"/>
                  <a:gd name="connsiteX213" fmla="*/ 1083177 w 1332398"/>
                  <a:gd name="connsiteY213" fmla="*/ 626835 h 947134"/>
                  <a:gd name="connsiteX214" fmla="*/ 1071009 w 1332398"/>
                  <a:gd name="connsiteY214" fmla="*/ 614421 h 947134"/>
                  <a:gd name="connsiteX215" fmla="*/ 1072668 w 1332398"/>
                  <a:gd name="connsiteY215" fmla="*/ 598769 h 947134"/>
                  <a:gd name="connsiteX216" fmla="*/ 1076540 w 1332398"/>
                  <a:gd name="connsiteY216" fmla="*/ 599309 h 947134"/>
                  <a:gd name="connsiteX217" fmla="*/ 1090367 w 1332398"/>
                  <a:gd name="connsiteY217" fmla="*/ 616041 h 947134"/>
                  <a:gd name="connsiteX218" fmla="*/ 1095898 w 1332398"/>
                  <a:gd name="connsiteY218" fmla="*/ 617120 h 947134"/>
                  <a:gd name="connsiteX219" fmla="*/ 1105854 w 1332398"/>
                  <a:gd name="connsiteY219" fmla="*/ 595531 h 947134"/>
                  <a:gd name="connsiteX220" fmla="*/ 1114703 w 1332398"/>
                  <a:gd name="connsiteY220" fmla="*/ 584197 h 947134"/>
                  <a:gd name="connsiteX221" fmla="*/ 1118022 w 1332398"/>
                  <a:gd name="connsiteY221" fmla="*/ 581498 h 947134"/>
                  <a:gd name="connsiteX222" fmla="*/ 1131296 w 1332398"/>
                  <a:gd name="connsiteY222" fmla="*/ 572323 h 947134"/>
                  <a:gd name="connsiteX223" fmla="*/ 1148442 w 1332398"/>
                  <a:gd name="connsiteY223" fmla="*/ 567466 h 947134"/>
                  <a:gd name="connsiteX224" fmla="*/ 1155632 w 1332398"/>
                  <a:gd name="connsiteY224" fmla="*/ 554512 h 947134"/>
                  <a:gd name="connsiteX225" fmla="*/ 1171119 w 1332398"/>
                  <a:gd name="connsiteY225" fmla="*/ 542099 h 947134"/>
                  <a:gd name="connsiteX226" fmla="*/ 1178862 w 1332398"/>
                  <a:gd name="connsiteY226" fmla="*/ 538320 h 947134"/>
                  <a:gd name="connsiteX227" fmla="*/ 1185499 w 1332398"/>
                  <a:gd name="connsiteY227" fmla="*/ 526986 h 947134"/>
                  <a:gd name="connsiteX228" fmla="*/ 1196561 w 1332398"/>
                  <a:gd name="connsiteY228" fmla="*/ 514573 h 947134"/>
                  <a:gd name="connsiteX229" fmla="*/ 1204857 w 1332398"/>
                  <a:gd name="connsiteY229" fmla="*/ 508636 h 947134"/>
                  <a:gd name="connsiteX230" fmla="*/ 1213707 w 1332398"/>
                  <a:gd name="connsiteY230" fmla="*/ 505397 h 947134"/>
                  <a:gd name="connsiteX231" fmla="*/ 1220344 w 1332398"/>
                  <a:gd name="connsiteY231" fmla="*/ 481650 h 947134"/>
                  <a:gd name="connsiteX232" fmla="*/ 1260166 w 1332398"/>
                  <a:gd name="connsiteY232" fmla="*/ 461680 h 947134"/>
                  <a:gd name="connsiteX233" fmla="*/ 1263485 w 1332398"/>
                  <a:gd name="connsiteY233" fmla="*/ 461140 h 947134"/>
                  <a:gd name="connsiteX234" fmla="*/ 1270122 w 1332398"/>
                  <a:gd name="connsiteY234" fmla="*/ 454663 h 947134"/>
                  <a:gd name="connsiteX235" fmla="*/ 1256848 w 1332398"/>
                  <a:gd name="connsiteY235" fmla="*/ 448726 h 947134"/>
                  <a:gd name="connsiteX236" fmla="*/ 1247445 w 1332398"/>
                  <a:gd name="connsiteY236" fmla="*/ 427137 h 947134"/>
                  <a:gd name="connsiteX237" fmla="*/ 1249105 w 1332398"/>
                  <a:gd name="connsiteY237" fmla="*/ 409327 h 947134"/>
                  <a:gd name="connsiteX238" fmla="*/ 1257954 w 1332398"/>
                  <a:gd name="connsiteY238" fmla="*/ 387198 h 947134"/>
                  <a:gd name="connsiteX239" fmla="*/ 1278418 w 1332398"/>
                  <a:gd name="connsiteY239" fmla="*/ 365069 h 947134"/>
                  <a:gd name="connsiteX240" fmla="*/ 1298883 w 1332398"/>
                  <a:gd name="connsiteY240" fmla="*/ 331606 h 947134"/>
                  <a:gd name="connsiteX241" fmla="*/ 1321007 w 1332398"/>
                  <a:gd name="connsiteY241" fmla="*/ 315415 h 947134"/>
                  <a:gd name="connsiteX242" fmla="*/ 1331515 w 1332398"/>
                  <a:gd name="connsiteY242" fmla="*/ 290048 h 947134"/>
                  <a:gd name="connsiteX243" fmla="*/ 1329856 w 1332398"/>
                  <a:gd name="connsiteY243" fmla="*/ 279253 h 947134"/>
                  <a:gd name="connsiteX244" fmla="*/ 1320453 w 1332398"/>
                  <a:gd name="connsiteY244" fmla="*/ 265220 h 947134"/>
                  <a:gd name="connsiteX245" fmla="*/ 1303308 w 1332398"/>
                  <a:gd name="connsiteY245" fmla="*/ 255505 h 947134"/>
                  <a:gd name="connsiteX246" fmla="*/ 1297777 w 1332398"/>
                  <a:gd name="connsiteY246" fmla="*/ 246870 h 947134"/>
                  <a:gd name="connsiteX247" fmla="*/ 1297777 w 1332398"/>
                  <a:gd name="connsiteY247" fmla="*/ 237695 h 947134"/>
                  <a:gd name="connsiteX248" fmla="*/ 1303861 w 1332398"/>
                  <a:gd name="connsiteY248" fmla="*/ 216106 h 947134"/>
                  <a:gd name="connsiteX249" fmla="*/ 1288374 w 1332398"/>
                  <a:gd name="connsiteY249" fmla="*/ 214486 h 947134"/>
                  <a:gd name="connsiteX250" fmla="*/ 1287821 w 1332398"/>
                  <a:gd name="connsiteY250" fmla="*/ 208010 h 947134"/>
                  <a:gd name="connsiteX251" fmla="*/ 1300542 w 1332398"/>
                  <a:gd name="connsiteY251" fmla="*/ 183722 h 947134"/>
                  <a:gd name="connsiteX252" fmla="*/ 1296670 w 1332398"/>
                  <a:gd name="connsiteY252" fmla="*/ 159435 h 947134"/>
                  <a:gd name="connsiteX253" fmla="*/ 1277865 w 1332398"/>
                  <a:gd name="connsiteY253" fmla="*/ 136227 h 947134"/>
                  <a:gd name="connsiteX254" fmla="*/ 1241361 w 1332398"/>
                  <a:gd name="connsiteY254" fmla="*/ 138925 h 947134"/>
                  <a:gd name="connsiteX255" fmla="*/ 1204857 w 1332398"/>
                  <a:gd name="connsiteY255" fmla="*/ 132449 h 947134"/>
                  <a:gd name="connsiteX256" fmla="*/ 1189924 w 1332398"/>
                  <a:gd name="connsiteY256" fmla="*/ 143243 h 947134"/>
                  <a:gd name="connsiteX257" fmla="*/ 1181074 w 1332398"/>
                  <a:gd name="connsiteY257" fmla="*/ 146481 h 947134"/>
                  <a:gd name="connsiteX258" fmla="*/ 1147889 w 1332398"/>
                  <a:gd name="connsiteY258" fmla="*/ 145402 h 947134"/>
                  <a:gd name="connsiteX259" fmla="*/ 1124106 w 1332398"/>
                  <a:gd name="connsiteY259" fmla="*/ 155657 h 947134"/>
                  <a:gd name="connsiteX260" fmla="*/ 1108066 w 1332398"/>
                  <a:gd name="connsiteY260" fmla="*/ 153498 h 947134"/>
                  <a:gd name="connsiteX261" fmla="*/ 1100323 w 1332398"/>
                  <a:gd name="connsiteY261" fmla="*/ 165911 h 947134"/>
                  <a:gd name="connsiteX262" fmla="*/ 1074881 w 1332398"/>
                  <a:gd name="connsiteY262" fmla="*/ 165372 h 947134"/>
                  <a:gd name="connsiteX263" fmla="*/ 1052757 w 1332398"/>
                  <a:gd name="connsiteY263" fmla="*/ 138385 h 947134"/>
                  <a:gd name="connsiteX264" fmla="*/ 1036164 w 1332398"/>
                  <a:gd name="connsiteY264" fmla="*/ 145942 h 947134"/>
                  <a:gd name="connsiteX265" fmla="*/ 1021784 w 1332398"/>
                  <a:gd name="connsiteY265" fmla="*/ 164832 h 947134"/>
                  <a:gd name="connsiteX266" fmla="*/ 993576 w 1332398"/>
                  <a:gd name="connsiteY266" fmla="*/ 172388 h 947134"/>
                  <a:gd name="connsiteX267" fmla="*/ 945457 w 1332398"/>
                  <a:gd name="connsiteY267" fmla="*/ 169150 h 947134"/>
                  <a:gd name="connsiteX268" fmla="*/ 931630 w 1332398"/>
                  <a:gd name="connsiteY268" fmla="*/ 178325 h 947134"/>
                  <a:gd name="connsiteX269" fmla="*/ 912271 w 1332398"/>
                  <a:gd name="connsiteY269" fmla="*/ 168610 h 947134"/>
                  <a:gd name="connsiteX270" fmla="*/ 887382 w 1332398"/>
                  <a:gd name="connsiteY270" fmla="*/ 121654 h 947134"/>
                  <a:gd name="connsiteX271" fmla="*/ 851984 w 1332398"/>
                  <a:gd name="connsiteY271" fmla="*/ 110320 h 947134"/>
                  <a:gd name="connsiteX272" fmla="*/ 824330 w 1332398"/>
                  <a:gd name="connsiteY272" fmla="*/ 118955 h 947134"/>
                  <a:gd name="connsiteX273" fmla="*/ 792804 w 1332398"/>
                  <a:gd name="connsiteY273" fmla="*/ 116797 h 947134"/>
                  <a:gd name="connsiteX274" fmla="*/ 782848 w 1332398"/>
                  <a:gd name="connsiteY274" fmla="*/ 104383 h 947134"/>
                  <a:gd name="connsiteX275" fmla="*/ 777317 w 1332398"/>
                  <a:gd name="connsiteY275" fmla="*/ 81715 h 947134"/>
                  <a:gd name="connsiteX276" fmla="*/ 776211 w 1332398"/>
                  <a:gd name="connsiteY276" fmla="*/ 52030 h 947134"/>
                  <a:gd name="connsiteX277" fmla="*/ 769021 w 1332398"/>
                  <a:gd name="connsiteY277" fmla="*/ 41235 h 947134"/>
                  <a:gd name="connsiteX278" fmla="*/ 759065 w 1332398"/>
                  <a:gd name="connsiteY278" fmla="*/ 35838 h 947134"/>
                  <a:gd name="connsiteX279" fmla="*/ 748003 w 1332398"/>
                  <a:gd name="connsiteY279" fmla="*/ 9392 h 947134"/>
                  <a:gd name="connsiteX280" fmla="*/ 731410 w 1332398"/>
                  <a:gd name="connsiteY280" fmla="*/ 5614 h 947134"/>
                  <a:gd name="connsiteX281" fmla="*/ 724220 w 1332398"/>
                  <a:gd name="connsiteY281" fmla="*/ -323 h 947134"/>
                  <a:gd name="connsiteX282" fmla="*/ 708181 w 1332398"/>
                  <a:gd name="connsiteY282" fmla="*/ 13170 h 947134"/>
                  <a:gd name="connsiteX283" fmla="*/ 681632 w 1332398"/>
                  <a:gd name="connsiteY283" fmla="*/ 15329 h 947134"/>
                  <a:gd name="connsiteX284" fmla="*/ 672783 w 1332398"/>
                  <a:gd name="connsiteY284" fmla="*/ 29901 h 947134"/>
                  <a:gd name="connsiteX285" fmla="*/ 662827 w 1332398"/>
                  <a:gd name="connsiteY285" fmla="*/ 37457 h 947134"/>
                  <a:gd name="connsiteX286" fmla="*/ 631301 w 1332398"/>
                  <a:gd name="connsiteY286" fmla="*/ 45013 h 947134"/>
                  <a:gd name="connsiteX287" fmla="*/ 621898 w 1332398"/>
                  <a:gd name="connsiteY287" fmla="*/ 82254 h 947134"/>
                  <a:gd name="connsiteX288" fmla="*/ 610836 w 1332398"/>
                  <a:gd name="connsiteY288" fmla="*/ 77397 h 947134"/>
                  <a:gd name="connsiteX289" fmla="*/ 585947 w 1332398"/>
                  <a:gd name="connsiteY289" fmla="*/ 80635 h 947134"/>
                  <a:gd name="connsiteX290" fmla="*/ 545571 w 1332398"/>
                  <a:gd name="connsiteY290" fmla="*/ 108161 h 947134"/>
                  <a:gd name="connsiteX291" fmla="*/ 537275 w 1332398"/>
                  <a:gd name="connsiteY291" fmla="*/ 119495 h 947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</a:cxnLst>
                <a:rect l="l" t="t" r="r" b="b"/>
                <a:pathLst>
                  <a:path w="1332398" h="947134">
                    <a:moveTo>
                      <a:pt x="537275" y="119495"/>
                    </a:moveTo>
                    <a:cubicBezTo>
                      <a:pt x="538381" y="120575"/>
                      <a:pt x="536722" y="122734"/>
                      <a:pt x="536722" y="123813"/>
                    </a:cubicBezTo>
                    <a:cubicBezTo>
                      <a:pt x="536169" y="129750"/>
                      <a:pt x="536169" y="136227"/>
                      <a:pt x="535616" y="142164"/>
                    </a:cubicBezTo>
                    <a:cubicBezTo>
                      <a:pt x="535063" y="154037"/>
                      <a:pt x="532297" y="166991"/>
                      <a:pt x="537275" y="178865"/>
                    </a:cubicBezTo>
                    <a:cubicBezTo>
                      <a:pt x="542806" y="193977"/>
                      <a:pt x="546125" y="192898"/>
                      <a:pt x="547784" y="210708"/>
                    </a:cubicBezTo>
                    <a:lnTo>
                      <a:pt x="547784" y="218265"/>
                    </a:lnTo>
                    <a:lnTo>
                      <a:pt x="542806" y="217185"/>
                    </a:lnTo>
                    <a:cubicBezTo>
                      <a:pt x="527319" y="214486"/>
                      <a:pt x="522895" y="213947"/>
                      <a:pt x="509620" y="205311"/>
                    </a:cubicBezTo>
                    <a:cubicBezTo>
                      <a:pt x="506855" y="203692"/>
                      <a:pt x="504643" y="201533"/>
                      <a:pt x="502430" y="199914"/>
                    </a:cubicBezTo>
                    <a:lnTo>
                      <a:pt x="454311" y="226360"/>
                    </a:lnTo>
                    <a:lnTo>
                      <a:pt x="444356" y="220963"/>
                    </a:lnTo>
                    <a:lnTo>
                      <a:pt x="433847" y="197215"/>
                    </a:lnTo>
                    <a:lnTo>
                      <a:pt x="416148" y="211248"/>
                    </a:lnTo>
                    <a:lnTo>
                      <a:pt x="413382" y="225281"/>
                    </a:lnTo>
                    <a:lnTo>
                      <a:pt x="369135" y="220423"/>
                    </a:lnTo>
                    <a:lnTo>
                      <a:pt x="340927" y="233377"/>
                    </a:lnTo>
                    <a:lnTo>
                      <a:pt x="337609" y="244171"/>
                    </a:lnTo>
                    <a:lnTo>
                      <a:pt x="333184" y="249568"/>
                    </a:lnTo>
                    <a:lnTo>
                      <a:pt x="316591" y="234996"/>
                    </a:lnTo>
                    <a:lnTo>
                      <a:pt x="294468" y="243632"/>
                    </a:lnTo>
                    <a:lnTo>
                      <a:pt x="278981" y="218265"/>
                    </a:lnTo>
                    <a:lnTo>
                      <a:pt x="253539" y="230678"/>
                    </a:lnTo>
                    <a:lnTo>
                      <a:pt x="240265" y="232297"/>
                    </a:lnTo>
                    <a:lnTo>
                      <a:pt x="152876" y="223662"/>
                    </a:lnTo>
                    <a:lnTo>
                      <a:pt x="92589" y="257664"/>
                    </a:lnTo>
                    <a:lnTo>
                      <a:pt x="78762" y="283031"/>
                    </a:lnTo>
                    <a:lnTo>
                      <a:pt x="62169" y="295445"/>
                    </a:lnTo>
                    <a:lnTo>
                      <a:pt x="36174" y="303541"/>
                    </a:lnTo>
                    <a:cubicBezTo>
                      <a:pt x="38939" y="311637"/>
                      <a:pt x="46682" y="333765"/>
                      <a:pt x="51660" y="340242"/>
                    </a:cubicBezTo>
                    <a:cubicBezTo>
                      <a:pt x="58850" y="349417"/>
                      <a:pt x="70465" y="356973"/>
                      <a:pt x="76549" y="366149"/>
                    </a:cubicBezTo>
                    <a:cubicBezTo>
                      <a:pt x="85399" y="379102"/>
                      <a:pt x="80421" y="399612"/>
                      <a:pt x="96461" y="407707"/>
                    </a:cubicBezTo>
                    <a:lnTo>
                      <a:pt x="97567" y="417962"/>
                    </a:lnTo>
                    <a:lnTo>
                      <a:pt x="95908" y="427677"/>
                    </a:lnTo>
                    <a:lnTo>
                      <a:pt x="89824" y="434694"/>
                    </a:lnTo>
                    <a:lnTo>
                      <a:pt x="74890" y="442250"/>
                    </a:lnTo>
                    <a:lnTo>
                      <a:pt x="18475" y="548035"/>
                    </a:lnTo>
                    <a:lnTo>
                      <a:pt x="17369" y="559370"/>
                    </a:lnTo>
                    <a:lnTo>
                      <a:pt x="28430" y="591753"/>
                    </a:lnTo>
                    <a:lnTo>
                      <a:pt x="28984" y="604167"/>
                    </a:lnTo>
                    <a:lnTo>
                      <a:pt x="43364" y="613882"/>
                    </a:lnTo>
                    <a:lnTo>
                      <a:pt x="40598" y="619819"/>
                    </a:lnTo>
                    <a:lnTo>
                      <a:pt x="17922" y="618739"/>
                    </a:lnTo>
                    <a:lnTo>
                      <a:pt x="9072" y="665695"/>
                    </a:lnTo>
                    <a:lnTo>
                      <a:pt x="-330" y="681347"/>
                    </a:lnTo>
                    <a:lnTo>
                      <a:pt x="-883" y="700237"/>
                    </a:lnTo>
                    <a:lnTo>
                      <a:pt x="42258" y="725604"/>
                    </a:lnTo>
                    <a:lnTo>
                      <a:pt x="60510" y="729922"/>
                    </a:lnTo>
                    <a:lnTo>
                      <a:pt x="69912" y="739098"/>
                    </a:lnTo>
                    <a:lnTo>
                      <a:pt x="97567" y="727224"/>
                    </a:lnTo>
                    <a:lnTo>
                      <a:pt x="119138" y="730462"/>
                    </a:lnTo>
                    <a:lnTo>
                      <a:pt x="121350" y="723446"/>
                    </a:lnTo>
                    <a:cubicBezTo>
                      <a:pt x="130752" y="725065"/>
                      <a:pt x="146792" y="723446"/>
                      <a:pt x="155088" y="726144"/>
                    </a:cubicBezTo>
                    <a:lnTo>
                      <a:pt x="200442" y="719668"/>
                    </a:lnTo>
                    <a:lnTo>
                      <a:pt x="230862" y="739098"/>
                    </a:lnTo>
                    <a:lnTo>
                      <a:pt x="248008" y="731541"/>
                    </a:lnTo>
                    <a:lnTo>
                      <a:pt x="267366" y="701317"/>
                    </a:lnTo>
                    <a:lnTo>
                      <a:pt x="323782" y="681347"/>
                    </a:lnTo>
                    <a:lnTo>
                      <a:pt x="329866" y="650583"/>
                    </a:lnTo>
                    <a:cubicBezTo>
                      <a:pt x="340927" y="650583"/>
                      <a:pt x="349224" y="640328"/>
                      <a:pt x="358073" y="634391"/>
                    </a:cubicBezTo>
                    <a:lnTo>
                      <a:pt x="360286" y="626835"/>
                    </a:lnTo>
                    <a:lnTo>
                      <a:pt x="377985" y="612802"/>
                    </a:lnTo>
                    <a:lnTo>
                      <a:pt x="412829" y="598230"/>
                    </a:lnTo>
                    <a:lnTo>
                      <a:pt x="426104" y="598230"/>
                    </a:lnTo>
                    <a:lnTo>
                      <a:pt x="459289" y="606865"/>
                    </a:lnTo>
                    <a:lnTo>
                      <a:pt x="470904" y="616580"/>
                    </a:lnTo>
                    <a:lnTo>
                      <a:pt x="504090" y="619819"/>
                    </a:lnTo>
                    <a:lnTo>
                      <a:pt x="515704" y="614961"/>
                    </a:lnTo>
                    <a:cubicBezTo>
                      <a:pt x="518470" y="615501"/>
                      <a:pt x="522895" y="612263"/>
                      <a:pt x="525660" y="611723"/>
                    </a:cubicBezTo>
                    <a:cubicBezTo>
                      <a:pt x="527873" y="611723"/>
                      <a:pt x="531744" y="612802"/>
                      <a:pt x="533403" y="613882"/>
                    </a:cubicBezTo>
                    <a:cubicBezTo>
                      <a:pt x="536169" y="615501"/>
                      <a:pt x="538934" y="619279"/>
                      <a:pt x="541147" y="620898"/>
                    </a:cubicBezTo>
                    <a:cubicBezTo>
                      <a:pt x="544465" y="623597"/>
                      <a:pt x="550549" y="625756"/>
                      <a:pt x="553868" y="627915"/>
                    </a:cubicBezTo>
                    <a:lnTo>
                      <a:pt x="563824" y="631153"/>
                    </a:lnTo>
                    <a:lnTo>
                      <a:pt x="574885" y="654901"/>
                    </a:lnTo>
                    <a:lnTo>
                      <a:pt x="584841" y="686205"/>
                    </a:lnTo>
                    <a:lnTo>
                      <a:pt x="607518" y="689443"/>
                    </a:lnTo>
                    <a:lnTo>
                      <a:pt x="614155" y="705095"/>
                    </a:lnTo>
                    <a:lnTo>
                      <a:pt x="650106" y="738558"/>
                    </a:lnTo>
                    <a:lnTo>
                      <a:pt x="657849" y="760147"/>
                    </a:lnTo>
                    <a:cubicBezTo>
                      <a:pt x="670017" y="762306"/>
                      <a:pt x="673889" y="763925"/>
                      <a:pt x="683844" y="771481"/>
                    </a:cubicBezTo>
                    <a:lnTo>
                      <a:pt x="677760" y="783895"/>
                    </a:lnTo>
                    <a:lnTo>
                      <a:pt x="663380" y="792530"/>
                    </a:lnTo>
                    <a:lnTo>
                      <a:pt x="631301" y="786053"/>
                    </a:lnTo>
                    <a:lnTo>
                      <a:pt x="623557" y="800086"/>
                    </a:lnTo>
                    <a:lnTo>
                      <a:pt x="612496" y="795229"/>
                    </a:lnTo>
                    <a:lnTo>
                      <a:pt x="606412" y="788212"/>
                    </a:lnTo>
                    <a:lnTo>
                      <a:pt x="595903" y="795229"/>
                    </a:lnTo>
                    <a:lnTo>
                      <a:pt x="595350" y="810341"/>
                    </a:lnTo>
                    <a:lnTo>
                      <a:pt x="602540" y="827072"/>
                    </a:lnTo>
                    <a:lnTo>
                      <a:pt x="581522" y="901554"/>
                    </a:lnTo>
                    <a:lnTo>
                      <a:pt x="583182" y="913428"/>
                    </a:lnTo>
                    <a:lnTo>
                      <a:pt x="567695" y="935017"/>
                    </a:lnTo>
                    <a:cubicBezTo>
                      <a:pt x="579310" y="948510"/>
                      <a:pt x="586500" y="947970"/>
                      <a:pt x="603093" y="945272"/>
                    </a:cubicBezTo>
                    <a:cubicBezTo>
                      <a:pt x="618580" y="929620"/>
                      <a:pt x="647894" y="896697"/>
                      <a:pt x="672783" y="906412"/>
                    </a:cubicBezTo>
                    <a:cubicBezTo>
                      <a:pt x="677760" y="908571"/>
                      <a:pt x="683291" y="913968"/>
                      <a:pt x="687163" y="917206"/>
                    </a:cubicBezTo>
                    <a:cubicBezTo>
                      <a:pt x="693800" y="911809"/>
                      <a:pt x="689375" y="902094"/>
                      <a:pt x="683844" y="897236"/>
                    </a:cubicBezTo>
                    <a:cubicBezTo>
                      <a:pt x="682185" y="895617"/>
                      <a:pt x="678867" y="895078"/>
                      <a:pt x="676654" y="892919"/>
                    </a:cubicBezTo>
                    <a:cubicBezTo>
                      <a:pt x="674442" y="891300"/>
                      <a:pt x="675548" y="887521"/>
                      <a:pt x="673889" y="884823"/>
                    </a:cubicBezTo>
                    <a:cubicBezTo>
                      <a:pt x="672783" y="882124"/>
                      <a:pt x="670017" y="880505"/>
                      <a:pt x="668911" y="877806"/>
                    </a:cubicBezTo>
                    <a:cubicBezTo>
                      <a:pt x="667252" y="874568"/>
                      <a:pt x="668358" y="870790"/>
                      <a:pt x="667805" y="867012"/>
                    </a:cubicBezTo>
                    <a:lnTo>
                      <a:pt x="666146" y="863774"/>
                    </a:lnTo>
                    <a:cubicBezTo>
                      <a:pt x="666146" y="862694"/>
                      <a:pt x="665592" y="858916"/>
                      <a:pt x="665592" y="857837"/>
                    </a:cubicBezTo>
                    <a:cubicBezTo>
                      <a:pt x="666146" y="857297"/>
                      <a:pt x="666699" y="856218"/>
                      <a:pt x="667252" y="855678"/>
                    </a:cubicBezTo>
                    <a:cubicBezTo>
                      <a:pt x="673889" y="851360"/>
                      <a:pt x="673336" y="871869"/>
                      <a:pt x="680526" y="871330"/>
                    </a:cubicBezTo>
                    <a:cubicBezTo>
                      <a:pt x="682185" y="870790"/>
                      <a:pt x="685504" y="857297"/>
                      <a:pt x="686610" y="855138"/>
                    </a:cubicBezTo>
                    <a:cubicBezTo>
                      <a:pt x="692141" y="842185"/>
                      <a:pt x="699331" y="840026"/>
                      <a:pt x="704309" y="831930"/>
                    </a:cubicBezTo>
                    <a:cubicBezTo>
                      <a:pt x="707627" y="826533"/>
                      <a:pt x="715371" y="809801"/>
                      <a:pt x="716477" y="804404"/>
                    </a:cubicBezTo>
                    <a:cubicBezTo>
                      <a:pt x="719242" y="791451"/>
                      <a:pt x="692694" y="797927"/>
                      <a:pt x="684951" y="781736"/>
                    </a:cubicBezTo>
                    <a:cubicBezTo>
                      <a:pt x="684398" y="780656"/>
                      <a:pt x="684398" y="776338"/>
                      <a:pt x="685504" y="775259"/>
                    </a:cubicBezTo>
                    <a:cubicBezTo>
                      <a:pt x="686057" y="774719"/>
                      <a:pt x="691588" y="771481"/>
                      <a:pt x="692694" y="771481"/>
                    </a:cubicBezTo>
                    <a:cubicBezTo>
                      <a:pt x="696013" y="770401"/>
                      <a:pt x="704309" y="772560"/>
                      <a:pt x="707074" y="774719"/>
                    </a:cubicBezTo>
                    <a:cubicBezTo>
                      <a:pt x="713158" y="779037"/>
                      <a:pt x="718689" y="786053"/>
                      <a:pt x="723667" y="791990"/>
                    </a:cubicBezTo>
                    <a:cubicBezTo>
                      <a:pt x="723667" y="791451"/>
                      <a:pt x="724220" y="790911"/>
                      <a:pt x="724773" y="789832"/>
                    </a:cubicBezTo>
                    <a:cubicBezTo>
                      <a:pt x="725879" y="787673"/>
                      <a:pt x="727539" y="771481"/>
                      <a:pt x="728092" y="767703"/>
                    </a:cubicBezTo>
                    <a:cubicBezTo>
                      <a:pt x="729198" y="762845"/>
                      <a:pt x="731410" y="758528"/>
                      <a:pt x="731963" y="754210"/>
                    </a:cubicBezTo>
                    <a:cubicBezTo>
                      <a:pt x="732517" y="749892"/>
                      <a:pt x="730857" y="742336"/>
                      <a:pt x="733070" y="739098"/>
                    </a:cubicBezTo>
                    <a:cubicBezTo>
                      <a:pt x="735282" y="736939"/>
                      <a:pt x="754640" y="723985"/>
                      <a:pt x="757959" y="722366"/>
                    </a:cubicBezTo>
                    <a:cubicBezTo>
                      <a:pt x="759618" y="721287"/>
                      <a:pt x="761830" y="721287"/>
                      <a:pt x="764043" y="720207"/>
                    </a:cubicBezTo>
                    <a:cubicBezTo>
                      <a:pt x="769021" y="718048"/>
                      <a:pt x="773998" y="714810"/>
                      <a:pt x="778976" y="712651"/>
                    </a:cubicBezTo>
                    <a:cubicBezTo>
                      <a:pt x="780636" y="711572"/>
                      <a:pt x="782848" y="711572"/>
                      <a:pt x="783954" y="710492"/>
                    </a:cubicBezTo>
                    <a:cubicBezTo>
                      <a:pt x="787273" y="708333"/>
                      <a:pt x="789485" y="704555"/>
                      <a:pt x="793357" y="702936"/>
                    </a:cubicBezTo>
                    <a:cubicBezTo>
                      <a:pt x="797228" y="701317"/>
                      <a:pt x="801653" y="702936"/>
                      <a:pt x="805525" y="701857"/>
                    </a:cubicBezTo>
                    <a:cubicBezTo>
                      <a:pt x="808843" y="700777"/>
                      <a:pt x="809949" y="696999"/>
                      <a:pt x="808843" y="693761"/>
                    </a:cubicBezTo>
                    <a:cubicBezTo>
                      <a:pt x="803312" y="691602"/>
                      <a:pt x="802759" y="661917"/>
                      <a:pt x="809396" y="664616"/>
                    </a:cubicBezTo>
                    <a:cubicBezTo>
                      <a:pt x="814374" y="666775"/>
                      <a:pt x="814927" y="682966"/>
                      <a:pt x="816587" y="688364"/>
                    </a:cubicBezTo>
                    <a:cubicBezTo>
                      <a:pt x="818799" y="692681"/>
                      <a:pt x="826542" y="696999"/>
                      <a:pt x="830967" y="698079"/>
                    </a:cubicBezTo>
                    <a:cubicBezTo>
                      <a:pt x="837604" y="699698"/>
                      <a:pt x="843135" y="696459"/>
                      <a:pt x="849772" y="697539"/>
                    </a:cubicBezTo>
                    <a:cubicBezTo>
                      <a:pt x="851431" y="696999"/>
                      <a:pt x="854750" y="697539"/>
                      <a:pt x="855856" y="698079"/>
                    </a:cubicBezTo>
                    <a:cubicBezTo>
                      <a:pt x="859175" y="700237"/>
                      <a:pt x="860834" y="705635"/>
                      <a:pt x="856409" y="707254"/>
                    </a:cubicBezTo>
                    <a:cubicBezTo>
                      <a:pt x="851431" y="709413"/>
                      <a:pt x="830967" y="713731"/>
                      <a:pt x="824883" y="714270"/>
                    </a:cubicBezTo>
                    <a:cubicBezTo>
                      <a:pt x="819905" y="714810"/>
                      <a:pt x="792804" y="712651"/>
                      <a:pt x="793910" y="721287"/>
                    </a:cubicBezTo>
                    <a:cubicBezTo>
                      <a:pt x="794463" y="723446"/>
                      <a:pt x="799994" y="725065"/>
                      <a:pt x="801653" y="725065"/>
                    </a:cubicBezTo>
                    <a:cubicBezTo>
                      <a:pt x="804419" y="724525"/>
                      <a:pt x="808290" y="721287"/>
                      <a:pt x="811609" y="720207"/>
                    </a:cubicBezTo>
                    <a:cubicBezTo>
                      <a:pt x="813821" y="719668"/>
                      <a:pt x="825436" y="719668"/>
                      <a:pt x="827648" y="720207"/>
                    </a:cubicBezTo>
                    <a:cubicBezTo>
                      <a:pt x="828755" y="720747"/>
                      <a:pt x="831520" y="723446"/>
                      <a:pt x="830967" y="725065"/>
                    </a:cubicBezTo>
                    <a:cubicBezTo>
                      <a:pt x="830967" y="728303"/>
                      <a:pt x="821011" y="734780"/>
                      <a:pt x="823224" y="739098"/>
                    </a:cubicBezTo>
                    <a:cubicBezTo>
                      <a:pt x="829861" y="741256"/>
                      <a:pt x="854197" y="742336"/>
                      <a:pt x="856409" y="743415"/>
                    </a:cubicBezTo>
                    <a:cubicBezTo>
                      <a:pt x="858622" y="743955"/>
                      <a:pt x="859175" y="746114"/>
                      <a:pt x="861387" y="747193"/>
                    </a:cubicBezTo>
                    <a:cubicBezTo>
                      <a:pt x="862493" y="747733"/>
                      <a:pt x="870236" y="749892"/>
                      <a:pt x="871343" y="749892"/>
                    </a:cubicBezTo>
                    <a:cubicBezTo>
                      <a:pt x="873002" y="749352"/>
                      <a:pt x="874108" y="747733"/>
                      <a:pt x="875214" y="747193"/>
                    </a:cubicBezTo>
                    <a:cubicBezTo>
                      <a:pt x="879639" y="744495"/>
                      <a:pt x="885170" y="742876"/>
                      <a:pt x="889595" y="739637"/>
                    </a:cubicBezTo>
                    <a:cubicBezTo>
                      <a:pt x="893466" y="737478"/>
                      <a:pt x="896232" y="734780"/>
                      <a:pt x="899550" y="732621"/>
                    </a:cubicBezTo>
                    <a:cubicBezTo>
                      <a:pt x="902316" y="731541"/>
                      <a:pt x="904528" y="731002"/>
                      <a:pt x="907294" y="729922"/>
                    </a:cubicBezTo>
                    <a:cubicBezTo>
                      <a:pt x="916143" y="726684"/>
                      <a:pt x="924993" y="721826"/>
                      <a:pt x="934395" y="719668"/>
                    </a:cubicBezTo>
                    <a:cubicBezTo>
                      <a:pt x="939926" y="718588"/>
                      <a:pt x="948776" y="722906"/>
                      <a:pt x="952094" y="721826"/>
                    </a:cubicBezTo>
                    <a:cubicBezTo>
                      <a:pt x="958178" y="720207"/>
                      <a:pt x="958178" y="707794"/>
                      <a:pt x="967028" y="711572"/>
                    </a:cubicBezTo>
                    <a:cubicBezTo>
                      <a:pt x="969240" y="713191"/>
                      <a:pt x="970346" y="723446"/>
                      <a:pt x="973112" y="725604"/>
                    </a:cubicBezTo>
                    <a:cubicBezTo>
                      <a:pt x="975324" y="727763"/>
                      <a:pt x="983067" y="726144"/>
                      <a:pt x="980855" y="731541"/>
                    </a:cubicBezTo>
                    <a:cubicBezTo>
                      <a:pt x="979196" y="735859"/>
                      <a:pt x="952094" y="757988"/>
                      <a:pt x="946563" y="763925"/>
                    </a:cubicBezTo>
                    <a:cubicBezTo>
                      <a:pt x="938267" y="771481"/>
                      <a:pt x="933842" y="782275"/>
                      <a:pt x="927205" y="790911"/>
                    </a:cubicBezTo>
                    <a:cubicBezTo>
                      <a:pt x="921121" y="799547"/>
                      <a:pt x="904528" y="815738"/>
                      <a:pt x="905634" y="825993"/>
                    </a:cubicBezTo>
                    <a:cubicBezTo>
                      <a:pt x="905634" y="826533"/>
                      <a:pt x="906187" y="827612"/>
                      <a:pt x="906741" y="828152"/>
                    </a:cubicBezTo>
                    <a:cubicBezTo>
                      <a:pt x="907847" y="829771"/>
                      <a:pt x="913378" y="833009"/>
                      <a:pt x="915590" y="833009"/>
                    </a:cubicBezTo>
                    <a:cubicBezTo>
                      <a:pt x="921674" y="832470"/>
                      <a:pt x="929417" y="821675"/>
                      <a:pt x="938820" y="822215"/>
                    </a:cubicBezTo>
                    <a:cubicBezTo>
                      <a:pt x="949882" y="822215"/>
                      <a:pt x="964815" y="831930"/>
                      <a:pt x="974771" y="829231"/>
                    </a:cubicBezTo>
                    <a:cubicBezTo>
                      <a:pt x="978089" y="828152"/>
                      <a:pt x="981408" y="824374"/>
                      <a:pt x="984727" y="823834"/>
                    </a:cubicBezTo>
                    <a:cubicBezTo>
                      <a:pt x="986939" y="823834"/>
                      <a:pt x="995788" y="825453"/>
                      <a:pt x="998001" y="825993"/>
                    </a:cubicBezTo>
                    <a:cubicBezTo>
                      <a:pt x="1000766" y="827072"/>
                      <a:pt x="1011275" y="843264"/>
                      <a:pt x="1012381" y="846502"/>
                    </a:cubicBezTo>
                    <a:cubicBezTo>
                      <a:pt x="1013487" y="849741"/>
                      <a:pt x="1011275" y="856218"/>
                      <a:pt x="1011828" y="859996"/>
                    </a:cubicBezTo>
                    <a:cubicBezTo>
                      <a:pt x="1012381" y="865933"/>
                      <a:pt x="1015147" y="871869"/>
                      <a:pt x="1015147" y="877806"/>
                    </a:cubicBezTo>
                    <a:cubicBezTo>
                      <a:pt x="1015147" y="886982"/>
                      <a:pt x="1010169" y="886442"/>
                      <a:pt x="1007403" y="890760"/>
                    </a:cubicBezTo>
                    <a:cubicBezTo>
                      <a:pt x="1006297" y="892919"/>
                      <a:pt x="1006850" y="896697"/>
                      <a:pt x="1008510" y="898316"/>
                    </a:cubicBezTo>
                    <a:cubicBezTo>
                      <a:pt x="1009616" y="898856"/>
                      <a:pt x="1019571" y="901554"/>
                      <a:pt x="1021231" y="901554"/>
                    </a:cubicBezTo>
                    <a:cubicBezTo>
                      <a:pt x="1023996" y="901554"/>
                      <a:pt x="1026208" y="900475"/>
                      <a:pt x="1028974" y="900475"/>
                    </a:cubicBezTo>
                    <a:cubicBezTo>
                      <a:pt x="1033399" y="901015"/>
                      <a:pt x="1037823" y="903173"/>
                      <a:pt x="1042248" y="903713"/>
                    </a:cubicBezTo>
                    <a:cubicBezTo>
                      <a:pt x="1044460" y="903713"/>
                      <a:pt x="1048885" y="902634"/>
                      <a:pt x="1051098" y="902094"/>
                    </a:cubicBezTo>
                    <a:cubicBezTo>
                      <a:pt x="1062713" y="896697"/>
                      <a:pt x="1073774" y="878886"/>
                      <a:pt x="1078199" y="867552"/>
                    </a:cubicBezTo>
                    <a:cubicBezTo>
                      <a:pt x="1081518" y="857837"/>
                      <a:pt x="1084283" y="841645"/>
                      <a:pt x="1091473" y="834629"/>
                    </a:cubicBezTo>
                    <a:cubicBezTo>
                      <a:pt x="1097004" y="829231"/>
                      <a:pt x="1111938" y="817357"/>
                      <a:pt x="1119681" y="816818"/>
                    </a:cubicBezTo>
                    <a:cubicBezTo>
                      <a:pt x="1121893" y="816278"/>
                      <a:pt x="1126871" y="817897"/>
                      <a:pt x="1128531" y="816818"/>
                    </a:cubicBezTo>
                    <a:cubicBezTo>
                      <a:pt x="1131296" y="814119"/>
                      <a:pt x="1132402" y="800626"/>
                      <a:pt x="1135168" y="796848"/>
                    </a:cubicBezTo>
                    <a:cubicBezTo>
                      <a:pt x="1137380" y="793610"/>
                      <a:pt x="1142911" y="793070"/>
                      <a:pt x="1144017" y="789832"/>
                    </a:cubicBezTo>
                    <a:cubicBezTo>
                      <a:pt x="1146783" y="783895"/>
                      <a:pt x="1145123" y="775259"/>
                      <a:pt x="1148442" y="769862"/>
                    </a:cubicBezTo>
                    <a:cubicBezTo>
                      <a:pt x="1151207" y="765544"/>
                      <a:pt x="1162822" y="765004"/>
                      <a:pt x="1166694" y="766623"/>
                    </a:cubicBezTo>
                    <a:cubicBezTo>
                      <a:pt x="1170012" y="767703"/>
                      <a:pt x="1173884" y="772560"/>
                      <a:pt x="1180521" y="771481"/>
                    </a:cubicBezTo>
                    <a:cubicBezTo>
                      <a:pt x="1182180" y="771481"/>
                      <a:pt x="1185499" y="769322"/>
                      <a:pt x="1186605" y="768243"/>
                    </a:cubicBezTo>
                    <a:cubicBezTo>
                      <a:pt x="1187711" y="767163"/>
                      <a:pt x="1188264" y="765004"/>
                      <a:pt x="1189371" y="763925"/>
                    </a:cubicBezTo>
                    <a:cubicBezTo>
                      <a:pt x="1195455" y="759067"/>
                      <a:pt x="1220344" y="750432"/>
                      <a:pt x="1222003" y="748273"/>
                    </a:cubicBezTo>
                    <a:cubicBezTo>
                      <a:pt x="1228087" y="739637"/>
                      <a:pt x="1213707" y="735319"/>
                      <a:pt x="1214260" y="720747"/>
                    </a:cubicBezTo>
                    <a:cubicBezTo>
                      <a:pt x="1214813" y="715350"/>
                      <a:pt x="1226981" y="702396"/>
                      <a:pt x="1222003" y="700237"/>
                    </a:cubicBezTo>
                    <a:cubicBezTo>
                      <a:pt x="1215366" y="697539"/>
                      <a:pt x="1187711" y="707254"/>
                      <a:pt x="1183287" y="713191"/>
                    </a:cubicBezTo>
                    <a:cubicBezTo>
                      <a:pt x="1181627" y="715889"/>
                      <a:pt x="1180521" y="722366"/>
                      <a:pt x="1178309" y="723985"/>
                    </a:cubicBezTo>
                    <a:cubicBezTo>
                      <a:pt x="1174437" y="726144"/>
                      <a:pt x="1165588" y="721287"/>
                      <a:pt x="1162822" y="723985"/>
                    </a:cubicBezTo>
                    <a:cubicBezTo>
                      <a:pt x="1160610" y="726684"/>
                      <a:pt x="1158397" y="735319"/>
                      <a:pt x="1155632" y="739098"/>
                    </a:cubicBezTo>
                    <a:cubicBezTo>
                      <a:pt x="1151760" y="744495"/>
                      <a:pt x="1137380" y="753130"/>
                      <a:pt x="1130743" y="754750"/>
                    </a:cubicBezTo>
                    <a:cubicBezTo>
                      <a:pt x="1127977" y="755289"/>
                      <a:pt x="1120787" y="756369"/>
                      <a:pt x="1117469" y="756369"/>
                    </a:cubicBezTo>
                    <a:cubicBezTo>
                      <a:pt x="1114150" y="755829"/>
                      <a:pt x="1100876" y="753670"/>
                      <a:pt x="1099217" y="750432"/>
                    </a:cubicBezTo>
                    <a:cubicBezTo>
                      <a:pt x="1098110" y="748273"/>
                      <a:pt x="1098664" y="743955"/>
                      <a:pt x="1098110" y="740717"/>
                    </a:cubicBezTo>
                    <a:cubicBezTo>
                      <a:pt x="1097557" y="740177"/>
                      <a:pt x="1090920" y="728843"/>
                      <a:pt x="1089814" y="727763"/>
                    </a:cubicBezTo>
                    <a:cubicBezTo>
                      <a:pt x="1088708" y="726684"/>
                      <a:pt x="1087602" y="725604"/>
                      <a:pt x="1085942" y="725065"/>
                    </a:cubicBezTo>
                    <a:cubicBezTo>
                      <a:pt x="1080965" y="722366"/>
                      <a:pt x="1064372" y="721287"/>
                      <a:pt x="1061606" y="717509"/>
                    </a:cubicBezTo>
                    <a:cubicBezTo>
                      <a:pt x="1059394" y="714270"/>
                      <a:pt x="1056075" y="702936"/>
                      <a:pt x="1054416" y="701857"/>
                    </a:cubicBezTo>
                    <a:cubicBezTo>
                      <a:pt x="1053863" y="701317"/>
                      <a:pt x="1044460" y="700777"/>
                      <a:pt x="1042801" y="700777"/>
                    </a:cubicBezTo>
                    <a:cubicBezTo>
                      <a:pt x="1037823" y="700777"/>
                      <a:pt x="1032846" y="702396"/>
                      <a:pt x="1027868" y="702936"/>
                    </a:cubicBezTo>
                    <a:cubicBezTo>
                      <a:pt x="1019018" y="704016"/>
                      <a:pt x="1008510" y="702396"/>
                      <a:pt x="1000213" y="704555"/>
                    </a:cubicBezTo>
                    <a:cubicBezTo>
                      <a:pt x="994682" y="705095"/>
                      <a:pt x="995235" y="712111"/>
                      <a:pt x="991917" y="712111"/>
                    </a:cubicBezTo>
                    <a:cubicBezTo>
                      <a:pt x="987492" y="712651"/>
                      <a:pt x="986939" y="706714"/>
                      <a:pt x="984173" y="705095"/>
                    </a:cubicBezTo>
                    <a:cubicBezTo>
                      <a:pt x="980302" y="702396"/>
                      <a:pt x="972005" y="705095"/>
                      <a:pt x="970346" y="699698"/>
                    </a:cubicBezTo>
                    <a:cubicBezTo>
                      <a:pt x="969793" y="698618"/>
                      <a:pt x="969793" y="695920"/>
                      <a:pt x="970346" y="694840"/>
                    </a:cubicBezTo>
                    <a:cubicBezTo>
                      <a:pt x="970899" y="693761"/>
                      <a:pt x="975877" y="692681"/>
                      <a:pt x="977536" y="692681"/>
                    </a:cubicBezTo>
                    <a:cubicBezTo>
                      <a:pt x="981961" y="692142"/>
                      <a:pt x="989704" y="695380"/>
                      <a:pt x="993576" y="694840"/>
                    </a:cubicBezTo>
                    <a:cubicBezTo>
                      <a:pt x="995788" y="694301"/>
                      <a:pt x="998554" y="690522"/>
                      <a:pt x="1000766" y="689983"/>
                    </a:cubicBezTo>
                    <a:cubicBezTo>
                      <a:pt x="1002979" y="689443"/>
                      <a:pt x="1008510" y="691602"/>
                      <a:pt x="1010722" y="691062"/>
                    </a:cubicBezTo>
                    <a:cubicBezTo>
                      <a:pt x="1012934" y="689983"/>
                      <a:pt x="1014594" y="686205"/>
                      <a:pt x="1016806" y="684585"/>
                    </a:cubicBezTo>
                    <a:cubicBezTo>
                      <a:pt x="1019018" y="682966"/>
                      <a:pt x="1035058" y="681887"/>
                      <a:pt x="1037270" y="682966"/>
                    </a:cubicBezTo>
                    <a:cubicBezTo>
                      <a:pt x="1038930" y="683506"/>
                      <a:pt x="1039483" y="685125"/>
                      <a:pt x="1040589" y="686205"/>
                    </a:cubicBezTo>
                    <a:cubicBezTo>
                      <a:pt x="1042248" y="687284"/>
                      <a:pt x="1049438" y="687824"/>
                      <a:pt x="1051098" y="686744"/>
                    </a:cubicBezTo>
                    <a:cubicBezTo>
                      <a:pt x="1052204" y="686205"/>
                      <a:pt x="1055522" y="681347"/>
                      <a:pt x="1056629" y="680268"/>
                    </a:cubicBezTo>
                    <a:cubicBezTo>
                      <a:pt x="1060500" y="673791"/>
                      <a:pt x="1053863" y="664076"/>
                      <a:pt x="1059394" y="658139"/>
                    </a:cubicBezTo>
                    <a:cubicBezTo>
                      <a:pt x="1060500" y="656520"/>
                      <a:pt x="1063266" y="656520"/>
                      <a:pt x="1064925" y="655440"/>
                    </a:cubicBezTo>
                    <a:cubicBezTo>
                      <a:pt x="1066031" y="654361"/>
                      <a:pt x="1069350" y="649503"/>
                      <a:pt x="1070456" y="647884"/>
                    </a:cubicBezTo>
                    <a:cubicBezTo>
                      <a:pt x="1073774" y="643027"/>
                      <a:pt x="1073221" y="638169"/>
                      <a:pt x="1074881" y="632772"/>
                    </a:cubicBezTo>
                    <a:cubicBezTo>
                      <a:pt x="1075987" y="627915"/>
                      <a:pt x="1080965" y="636010"/>
                      <a:pt x="1086496" y="633852"/>
                    </a:cubicBezTo>
                    <a:cubicBezTo>
                      <a:pt x="1087602" y="633312"/>
                      <a:pt x="1089814" y="631153"/>
                      <a:pt x="1090367" y="630613"/>
                    </a:cubicBezTo>
                    <a:cubicBezTo>
                      <a:pt x="1089261" y="627915"/>
                      <a:pt x="1085389" y="627915"/>
                      <a:pt x="1083177" y="626835"/>
                    </a:cubicBezTo>
                    <a:cubicBezTo>
                      <a:pt x="1080965" y="625756"/>
                      <a:pt x="1072115" y="617120"/>
                      <a:pt x="1071009" y="614421"/>
                    </a:cubicBezTo>
                    <a:cubicBezTo>
                      <a:pt x="1069350" y="612263"/>
                      <a:pt x="1070456" y="599849"/>
                      <a:pt x="1072668" y="598769"/>
                    </a:cubicBezTo>
                    <a:cubicBezTo>
                      <a:pt x="1073221" y="598769"/>
                      <a:pt x="1075434" y="598769"/>
                      <a:pt x="1076540" y="599309"/>
                    </a:cubicBezTo>
                    <a:cubicBezTo>
                      <a:pt x="1080411" y="600389"/>
                      <a:pt x="1085389" y="613342"/>
                      <a:pt x="1090367" y="616041"/>
                    </a:cubicBezTo>
                    <a:cubicBezTo>
                      <a:pt x="1091473" y="616580"/>
                      <a:pt x="1094792" y="617660"/>
                      <a:pt x="1095898" y="617120"/>
                    </a:cubicBezTo>
                    <a:cubicBezTo>
                      <a:pt x="1097557" y="616041"/>
                      <a:pt x="1104194" y="598769"/>
                      <a:pt x="1105854" y="595531"/>
                    </a:cubicBezTo>
                    <a:cubicBezTo>
                      <a:pt x="1108619" y="591213"/>
                      <a:pt x="1111938" y="587975"/>
                      <a:pt x="1114703" y="584197"/>
                    </a:cubicBezTo>
                    <a:cubicBezTo>
                      <a:pt x="1116362" y="583657"/>
                      <a:pt x="1116916" y="582578"/>
                      <a:pt x="1118022" y="581498"/>
                    </a:cubicBezTo>
                    <a:cubicBezTo>
                      <a:pt x="1120234" y="578800"/>
                      <a:pt x="1128531" y="573402"/>
                      <a:pt x="1131296" y="572323"/>
                    </a:cubicBezTo>
                    <a:cubicBezTo>
                      <a:pt x="1138486" y="569085"/>
                      <a:pt x="1141805" y="576101"/>
                      <a:pt x="1148442" y="567466"/>
                    </a:cubicBezTo>
                    <a:cubicBezTo>
                      <a:pt x="1151207" y="563687"/>
                      <a:pt x="1151760" y="558290"/>
                      <a:pt x="1155632" y="554512"/>
                    </a:cubicBezTo>
                    <a:cubicBezTo>
                      <a:pt x="1160057" y="550194"/>
                      <a:pt x="1165588" y="545877"/>
                      <a:pt x="1171119" y="542099"/>
                    </a:cubicBezTo>
                    <a:cubicBezTo>
                      <a:pt x="1173331" y="541019"/>
                      <a:pt x="1177203" y="539940"/>
                      <a:pt x="1178862" y="538320"/>
                    </a:cubicBezTo>
                    <a:cubicBezTo>
                      <a:pt x="1181627" y="535622"/>
                      <a:pt x="1183287" y="530764"/>
                      <a:pt x="1185499" y="526986"/>
                    </a:cubicBezTo>
                    <a:cubicBezTo>
                      <a:pt x="1188818" y="522668"/>
                      <a:pt x="1192689" y="518351"/>
                      <a:pt x="1196561" y="514573"/>
                    </a:cubicBezTo>
                    <a:cubicBezTo>
                      <a:pt x="1198220" y="512953"/>
                      <a:pt x="1203198" y="509715"/>
                      <a:pt x="1204857" y="508636"/>
                    </a:cubicBezTo>
                    <a:cubicBezTo>
                      <a:pt x="1208176" y="507556"/>
                      <a:pt x="1212047" y="509175"/>
                      <a:pt x="1213707" y="505397"/>
                    </a:cubicBezTo>
                    <a:cubicBezTo>
                      <a:pt x="1216472" y="500000"/>
                      <a:pt x="1215919" y="484348"/>
                      <a:pt x="1220344" y="481650"/>
                    </a:cubicBezTo>
                    <a:cubicBezTo>
                      <a:pt x="1226981" y="477332"/>
                      <a:pt x="1252976" y="464378"/>
                      <a:pt x="1260166" y="461680"/>
                    </a:cubicBezTo>
                    <a:cubicBezTo>
                      <a:pt x="1261273" y="461680"/>
                      <a:pt x="1262379" y="461680"/>
                      <a:pt x="1263485" y="461140"/>
                    </a:cubicBezTo>
                    <a:cubicBezTo>
                      <a:pt x="1265697" y="459521"/>
                      <a:pt x="1268463" y="456822"/>
                      <a:pt x="1270122" y="454663"/>
                    </a:cubicBezTo>
                    <a:lnTo>
                      <a:pt x="1256848" y="448726"/>
                    </a:lnTo>
                    <a:lnTo>
                      <a:pt x="1247445" y="427137"/>
                    </a:lnTo>
                    <a:lnTo>
                      <a:pt x="1249105" y="409327"/>
                    </a:lnTo>
                    <a:lnTo>
                      <a:pt x="1257954" y="387198"/>
                    </a:lnTo>
                    <a:lnTo>
                      <a:pt x="1278418" y="365069"/>
                    </a:lnTo>
                    <a:lnTo>
                      <a:pt x="1298883" y="331606"/>
                    </a:lnTo>
                    <a:lnTo>
                      <a:pt x="1321007" y="315415"/>
                    </a:lnTo>
                    <a:lnTo>
                      <a:pt x="1331515" y="290048"/>
                    </a:lnTo>
                    <a:lnTo>
                      <a:pt x="1329856" y="279253"/>
                    </a:lnTo>
                    <a:lnTo>
                      <a:pt x="1320453" y="265220"/>
                    </a:lnTo>
                    <a:lnTo>
                      <a:pt x="1303308" y="255505"/>
                    </a:lnTo>
                    <a:lnTo>
                      <a:pt x="1297777" y="246870"/>
                    </a:lnTo>
                    <a:lnTo>
                      <a:pt x="1297777" y="237695"/>
                    </a:lnTo>
                    <a:lnTo>
                      <a:pt x="1303861" y="216106"/>
                    </a:lnTo>
                    <a:lnTo>
                      <a:pt x="1288374" y="214486"/>
                    </a:lnTo>
                    <a:lnTo>
                      <a:pt x="1287821" y="208010"/>
                    </a:lnTo>
                    <a:lnTo>
                      <a:pt x="1300542" y="183722"/>
                    </a:lnTo>
                    <a:lnTo>
                      <a:pt x="1296670" y="159435"/>
                    </a:lnTo>
                    <a:lnTo>
                      <a:pt x="1277865" y="136227"/>
                    </a:lnTo>
                    <a:lnTo>
                      <a:pt x="1241361" y="138925"/>
                    </a:lnTo>
                    <a:lnTo>
                      <a:pt x="1204857" y="132449"/>
                    </a:lnTo>
                    <a:lnTo>
                      <a:pt x="1189924" y="143243"/>
                    </a:lnTo>
                    <a:lnTo>
                      <a:pt x="1181074" y="146481"/>
                    </a:lnTo>
                    <a:lnTo>
                      <a:pt x="1147889" y="145402"/>
                    </a:lnTo>
                    <a:lnTo>
                      <a:pt x="1124106" y="155657"/>
                    </a:lnTo>
                    <a:lnTo>
                      <a:pt x="1108066" y="153498"/>
                    </a:lnTo>
                    <a:lnTo>
                      <a:pt x="1100323" y="165911"/>
                    </a:lnTo>
                    <a:lnTo>
                      <a:pt x="1074881" y="165372"/>
                    </a:lnTo>
                    <a:lnTo>
                      <a:pt x="1052757" y="138385"/>
                    </a:lnTo>
                    <a:lnTo>
                      <a:pt x="1036164" y="145942"/>
                    </a:lnTo>
                    <a:lnTo>
                      <a:pt x="1021784" y="164832"/>
                    </a:lnTo>
                    <a:lnTo>
                      <a:pt x="993576" y="172388"/>
                    </a:lnTo>
                    <a:lnTo>
                      <a:pt x="945457" y="169150"/>
                    </a:lnTo>
                    <a:lnTo>
                      <a:pt x="931630" y="178325"/>
                    </a:lnTo>
                    <a:lnTo>
                      <a:pt x="912271" y="168610"/>
                    </a:lnTo>
                    <a:lnTo>
                      <a:pt x="887382" y="121654"/>
                    </a:lnTo>
                    <a:lnTo>
                      <a:pt x="851984" y="110320"/>
                    </a:lnTo>
                    <a:lnTo>
                      <a:pt x="824330" y="118955"/>
                    </a:lnTo>
                    <a:lnTo>
                      <a:pt x="792804" y="116797"/>
                    </a:lnTo>
                    <a:lnTo>
                      <a:pt x="782848" y="104383"/>
                    </a:lnTo>
                    <a:lnTo>
                      <a:pt x="777317" y="81715"/>
                    </a:lnTo>
                    <a:lnTo>
                      <a:pt x="776211" y="52030"/>
                    </a:lnTo>
                    <a:lnTo>
                      <a:pt x="769021" y="41235"/>
                    </a:lnTo>
                    <a:lnTo>
                      <a:pt x="759065" y="35838"/>
                    </a:lnTo>
                    <a:lnTo>
                      <a:pt x="748003" y="9392"/>
                    </a:lnTo>
                    <a:lnTo>
                      <a:pt x="731410" y="5614"/>
                    </a:lnTo>
                    <a:lnTo>
                      <a:pt x="724220" y="-323"/>
                    </a:lnTo>
                    <a:lnTo>
                      <a:pt x="708181" y="13170"/>
                    </a:lnTo>
                    <a:lnTo>
                      <a:pt x="681632" y="15329"/>
                    </a:lnTo>
                    <a:lnTo>
                      <a:pt x="672783" y="29901"/>
                    </a:lnTo>
                    <a:lnTo>
                      <a:pt x="662827" y="37457"/>
                    </a:lnTo>
                    <a:lnTo>
                      <a:pt x="631301" y="45013"/>
                    </a:lnTo>
                    <a:lnTo>
                      <a:pt x="621898" y="82254"/>
                    </a:lnTo>
                    <a:lnTo>
                      <a:pt x="610836" y="77397"/>
                    </a:lnTo>
                    <a:lnTo>
                      <a:pt x="585947" y="80635"/>
                    </a:lnTo>
                    <a:lnTo>
                      <a:pt x="545571" y="108161"/>
                    </a:lnTo>
                    <a:lnTo>
                      <a:pt x="537275" y="119495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17" name="Freeform 1051">
                <a:extLst>
                  <a:ext uri="{FF2B5EF4-FFF2-40B4-BE49-F238E27FC236}">
                    <a16:creationId xmlns:a16="http://schemas.microsoft.com/office/drawing/2014/main" id="{760420AB-0979-4F1B-8976-FE607920A01C}"/>
                  </a:ext>
                </a:extLst>
              </p:cNvPr>
              <p:cNvSpPr/>
              <p:nvPr/>
            </p:nvSpPr>
            <p:spPr>
              <a:xfrm>
                <a:off x="7849307" y="4198570"/>
                <a:ext cx="1731178" cy="1074917"/>
              </a:xfrm>
              <a:custGeom>
                <a:avLst/>
                <a:gdLst>
                  <a:gd name="connsiteX0" fmla="*/ 1536070 w 1731178"/>
                  <a:gd name="connsiteY0" fmla="*/ 520926 h 1074917"/>
                  <a:gd name="connsiteX1" fmla="*/ 1529986 w 1731178"/>
                  <a:gd name="connsiteY1" fmla="*/ 512830 h 1074917"/>
                  <a:gd name="connsiteX2" fmla="*/ 1511181 w 1731178"/>
                  <a:gd name="connsiteY2" fmla="*/ 507433 h 1074917"/>
                  <a:gd name="connsiteX3" fmla="*/ 1505650 w 1731178"/>
                  <a:gd name="connsiteY3" fmla="*/ 525783 h 1074917"/>
                  <a:gd name="connsiteX4" fmla="*/ 1448682 w 1731178"/>
                  <a:gd name="connsiteY4" fmla="*/ 569501 h 1074917"/>
                  <a:gd name="connsiteX5" fmla="*/ 1400010 w 1731178"/>
                  <a:gd name="connsiteY5" fmla="*/ 588931 h 1074917"/>
                  <a:gd name="connsiteX6" fmla="*/ 1344147 w 1731178"/>
                  <a:gd name="connsiteY6" fmla="*/ 661254 h 1074917"/>
                  <a:gd name="connsiteX7" fmla="*/ 1288838 w 1731178"/>
                  <a:gd name="connsiteY7" fmla="*/ 701733 h 1074917"/>
                  <a:gd name="connsiteX8" fmla="*/ 1241825 w 1731178"/>
                  <a:gd name="connsiteY8" fmla="*/ 716306 h 1074917"/>
                  <a:gd name="connsiteX9" fmla="*/ 1216383 w 1731178"/>
                  <a:gd name="connsiteY9" fmla="*/ 706051 h 1074917"/>
                  <a:gd name="connsiteX10" fmla="*/ 1196472 w 1731178"/>
                  <a:gd name="connsiteY10" fmla="*/ 710908 h 1074917"/>
                  <a:gd name="connsiteX11" fmla="*/ 1147800 w 1731178"/>
                  <a:gd name="connsiteY11" fmla="*/ 763262 h 1074917"/>
                  <a:gd name="connsiteX12" fmla="*/ 1102999 w 1731178"/>
                  <a:gd name="connsiteY12" fmla="*/ 788089 h 1074917"/>
                  <a:gd name="connsiteX13" fmla="*/ 1088619 w 1731178"/>
                  <a:gd name="connsiteY13" fmla="*/ 776755 h 1074917"/>
                  <a:gd name="connsiteX14" fmla="*/ 1072579 w 1731178"/>
                  <a:gd name="connsiteY14" fmla="*/ 776215 h 1074917"/>
                  <a:gd name="connsiteX15" fmla="*/ 1058752 w 1731178"/>
                  <a:gd name="connsiteY15" fmla="*/ 780533 h 1074917"/>
                  <a:gd name="connsiteX16" fmla="*/ 1063730 w 1731178"/>
                  <a:gd name="connsiteY16" fmla="*/ 823711 h 1074917"/>
                  <a:gd name="connsiteX17" fmla="*/ 1084194 w 1731178"/>
                  <a:gd name="connsiteY17" fmla="*/ 844760 h 1074917"/>
                  <a:gd name="connsiteX18" fmla="*/ 1059858 w 1731178"/>
                  <a:gd name="connsiteY18" fmla="*/ 859872 h 1074917"/>
                  <a:gd name="connsiteX19" fmla="*/ 1064283 w 1731178"/>
                  <a:gd name="connsiteY19" fmla="*/ 886858 h 1074917"/>
                  <a:gd name="connsiteX20" fmla="*/ 1053774 w 1731178"/>
                  <a:gd name="connsiteY20" fmla="*/ 898732 h 1074917"/>
                  <a:gd name="connsiteX21" fmla="*/ 1053774 w 1731178"/>
                  <a:gd name="connsiteY21" fmla="*/ 907368 h 1074917"/>
                  <a:gd name="connsiteX22" fmla="*/ 1049902 w 1731178"/>
                  <a:gd name="connsiteY22" fmla="*/ 916543 h 1074917"/>
                  <a:gd name="connsiteX23" fmla="*/ 1027226 w 1731178"/>
                  <a:gd name="connsiteY23" fmla="*/ 905209 h 1074917"/>
                  <a:gd name="connsiteX24" fmla="*/ 1007314 w 1731178"/>
                  <a:gd name="connsiteY24" fmla="*/ 874445 h 1074917"/>
                  <a:gd name="connsiteX25" fmla="*/ 1002336 w 1731178"/>
                  <a:gd name="connsiteY25" fmla="*/ 865269 h 1074917"/>
                  <a:gd name="connsiteX26" fmla="*/ 1007314 w 1731178"/>
                  <a:gd name="connsiteY26" fmla="*/ 852316 h 1074917"/>
                  <a:gd name="connsiteX27" fmla="*/ 1023907 w 1731178"/>
                  <a:gd name="connsiteY27" fmla="*/ 808059 h 1074917"/>
                  <a:gd name="connsiteX28" fmla="*/ 1011186 w 1731178"/>
                  <a:gd name="connsiteY28" fmla="*/ 792407 h 1074917"/>
                  <a:gd name="connsiteX29" fmla="*/ 998465 w 1731178"/>
                  <a:gd name="connsiteY29" fmla="*/ 792407 h 1074917"/>
                  <a:gd name="connsiteX30" fmla="*/ 986297 w 1731178"/>
                  <a:gd name="connsiteY30" fmla="*/ 813996 h 1074917"/>
                  <a:gd name="connsiteX31" fmla="*/ 975788 w 1731178"/>
                  <a:gd name="connsiteY31" fmla="*/ 825330 h 1074917"/>
                  <a:gd name="connsiteX32" fmla="*/ 983531 w 1731178"/>
                  <a:gd name="connsiteY32" fmla="*/ 828568 h 1074917"/>
                  <a:gd name="connsiteX33" fmla="*/ 963067 w 1731178"/>
                  <a:gd name="connsiteY33" fmla="*/ 849617 h 1074917"/>
                  <a:gd name="connsiteX34" fmla="*/ 940943 w 1731178"/>
                  <a:gd name="connsiteY34" fmla="*/ 852316 h 1074917"/>
                  <a:gd name="connsiteX35" fmla="*/ 930988 w 1731178"/>
                  <a:gd name="connsiteY35" fmla="*/ 849617 h 1074917"/>
                  <a:gd name="connsiteX36" fmla="*/ 920479 w 1731178"/>
                  <a:gd name="connsiteY36" fmla="*/ 850157 h 1074917"/>
                  <a:gd name="connsiteX37" fmla="*/ 897249 w 1731178"/>
                  <a:gd name="connsiteY37" fmla="*/ 844760 h 1074917"/>
                  <a:gd name="connsiteX38" fmla="*/ 883975 w 1731178"/>
                  <a:gd name="connsiteY38" fmla="*/ 848538 h 1074917"/>
                  <a:gd name="connsiteX39" fmla="*/ 846365 w 1731178"/>
                  <a:gd name="connsiteY39" fmla="*/ 918702 h 1074917"/>
                  <a:gd name="connsiteX40" fmla="*/ 844705 w 1731178"/>
                  <a:gd name="connsiteY40" fmla="*/ 926258 h 1074917"/>
                  <a:gd name="connsiteX41" fmla="*/ 828666 w 1731178"/>
                  <a:gd name="connsiteY41" fmla="*/ 937592 h 1074917"/>
                  <a:gd name="connsiteX42" fmla="*/ 818157 w 1731178"/>
                  <a:gd name="connsiteY42" fmla="*/ 958102 h 1074917"/>
                  <a:gd name="connsiteX43" fmla="*/ 795480 w 1731178"/>
                  <a:gd name="connsiteY43" fmla="*/ 963499 h 1074917"/>
                  <a:gd name="connsiteX44" fmla="*/ 772803 w 1731178"/>
                  <a:gd name="connsiteY44" fmla="*/ 976992 h 1074917"/>
                  <a:gd name="connsiteX45" fmla="*/ 767272 w 1731178"/>
                  <a:gd name="connsiteY45" fmla="*/ 981850 h 1074917"/>
                  <a:gd name="connsiteX46" fmla="*/ 756211 w 1731178"/>
                  <a:gd name="connsiteY46" fmla="*/ 985628 h 1074917"/>
                  <a:gd name="connsiteX47" fmla="*/ 742936 w 1731178"/>
                  <a:gd name="connsiteY47" fmla="*/ 994263 h 1074917"/>
                  <a:gd name="connsiteX48" fmla="*/ 680437 w 1731178"/>
                  <a:gd name="connsiteY48" fmla="*/ 980770 h 1074917"/>
                  <a:gd name="connsiteX49" fmla="*/ 655548 w 1731178"/>
                  <a:gd name="connsiteY49" fmla="*/ 961340 h 1074917"/>
                  <a:gd name="connsiteX50" fmla="*/ 617384 w 1731178"/>
                  <a:gd name="connsiteY50" fmla="*/ 960800 h 1074917"/>
                  <a:gd name="connsiteX51" fmla="*/ 596367 w 1731178"/>
                  <a:gd name="connsiteY51" fmla="*/ 953784 h 1074917"/>
                  <a:gd name="connsiteX52" fmla="*/ 573690 w 1731178"/>
                  <a:gd name="connsiteY52" fmla="*/ 951085 h 1074917"/>
                  <a:gd name="connsiteX53" fmla="*/ 525571 w 1731178"/>
                  <a:gd name="connsiteY53" fmla="*/ 962419 h 1074917"/>
                  <a:gd name="connsiteX54" fmla="*/ 519487 w 1731178"/>
                  <a:gd name="connsiteY54" fmla="*/ 967817 h 1074917"/>
                  <a:gd name="connsiteX55" fmla="*/ 522806 w 1731178"/>
                  <a:gd name="connsiteY55" fmla="*/ 995882 h 1074917"/>
                  <a:gd name="connsiteX56" fmla="*/ 524465 w 1731178"/>
                  <a:gd name="connsiteY56" fmla="*/ 1000200 h 1074917"/>
                  <a:gd name="connsiteX57" fmla="*/ 522253 w 1731178"/>
                  <a:gd name="connsiteY57" fmla="*/ 1024488 h 1074917"/>
                  <a:gd name="connsiteX58" fmla="*/ 523912 w 1731178"/>
                  <a:gd name="connsiteY58" fmla="*/ 1033123 h 1074917"/>
                  <a:gd name="connsiteX59" fmla="*/ 521699 w 1731178"/>
                  <a:gd name="connsiteY59" fmla="*/ 1043918 h 1074917"/>
                  <a:gd name="connsiteX60" fmla="*/ 511744 w 1731178"/>
                  <a:gd name="connsiteY60" fmla="*/ 1041759 h 1074917"/>
                  <a:gd name="connsiteX61" fmla="*/ 482983 w 1731178"/>
                  <a:gd name="connsiteY61" fmla="*/ 1053093 h 1074917"/>
                  <a:gd name="connsiteX62" fmla="*/ 456988 w 1731178"/>
                  <a:gd name="connsiteY62" fmla="*/ 1074142 h 1074917"/>
                  <a:gd name="connsiteX63" fmla="*/ 439842 w 1731178"/>
                  <a:gd name="connsiteY63" fmla="*/ 1070364 h 1074917"/>
                  <a:gd name="connsiteX64" fmla="*/ 424355 w 1731178"/>
                  <a:gd name="connsiteY64" fmla="*/ 1070364 h 1074917"/>
                  <a:gd name="connsiteX65" fmla="*/ 417165 w 1731178"/>
                  <a:gd name="connsiteY65" fmla="*/ 1071983 h 1074917"/>
                  <a:gd name="connsiteX66" fmla="*/ 402232 w 1731178"/>
                  <a:gd name="connsiteY66" fmla="*/ 1067126 h 1074917"/>
                  <a:gd name="connsiteX67" fmla="*/ 396148 w 1731178"/>
                  <a:gd name="connsiteY67" fmla="*/ 1059570 h 1074917"/>
                  <a:gd name="connsiteX68" fmla="*/ 392829 w 1731178"/>
                  <a:gd name="connsiteY68" fmla="*/ 1049315 h 1074917"/>
                  <a:gd name="connsiteX69" fmla="*/ 386192 w 1731178"/>
                  <a:gd name="connsiteY69" fmla="*/ 1043378 h 1074917"/>
                  <a:gd name="connsiteX70" fmla="*/ 391170 w 1731178"/>
                  <a:gd name="connsiteY70" fmla="*/ 1031504 h 1074917"/>
                  <a:gd name="connsiteX71" fmla="*/ 374577 w 1731178"/>
                  <a:gd name="connsiteY71" fmla="*/ 1024488 h 1074917"/>
                  <a:gd name="connsiteX72" fmla="*/ 367940 w 1731178"/>
                  <a:gd name="connsiteY72" fmla="*/ 1027726 h 1074917"/>
                  <a:gd name="connsiteX73" fmla="*/ 363515 w 1731178"/>
                  <a:gd name="connsiteY73" fmla="*/ 1039600 h 1074917"/>
                  <a:gd name="connsiteX74" fmla="*/ 351347 w 1731178"/>
                  <a:gd name="connsiteY74" fmla="*/ 1035282 h 1074917"/>
                  <a:gd name="connsiteX75" fmla="*/ 340838 w 1731178"/>
                  <a:gd name="connsiteY75" fmla="*/ 1033123 h 1074917"/>
                  <a:gd name="connsiteX76" fmla="*/ 324246 w 1731178"/>
                  <a:gd name="connsiteY76" fmla="*/ 1025567 h 1074917"/>
                  <a:gd name="connsiteX77" fmla="*/ 315396 w 1731178"/>
                  <a:gd name="connsiteY77" fmla="*/ 1030425 h 1074917"/>
                  <a:gd name="connsiteX78" fmla="*/ 307100 w 1731178"/>
                  <a:gd name="connsiteY78" fmla="*/ 1030964 h 1074917"/>
                  <a:gd name="connsiteX79" fmla="*/ 305441 w 1731178"/>
                  <a:gd name="connsiteY79" fmla="*/ 1035822 h 1074917"/>
                  <a:gd name="connsiteX80" fmla="*/ 308206 w 1731178"/>
                  <a:gd name="connsiteY80" fmla="*/ 1042838 h 1074917"/>
                  <a:gd name="connsiteX81" fmla="*/ 302122 w 1731178"/>
                  <a:gd name="connsiteY81" fmla="*/ 1048236 h 1074917"/>
                  <a:gd name="connsiteX82" fmla="*/ 293826 w 1731178"/>
                  <a:gd name="connsiteY82" fmla="*/ 1066586 h 1074917"/>
                  <a:gd name="connsiteX83" fmla="*/ 288848 w 1731178"/>
                  <a:gd name="connsiteY83" fmla="*/ 1068205 h 1074917"/>
                  <a:gd name="connsiteX84" fmla="*/ 286635 w 1731178"/>
                  <a:gd name="connsiteY84" fmla="*/ 1065507 h 1074917"/>
                  <a:gd name="connsiteX85" fmla="*/ 288848 w 1731178"/>
                  <a:gd name="connsiteY85" fmla="*/ 1062268 h 1074917"/>
                  <a:gd name="connsiteX86" fmla="*/ 292166 w 1731178"/>
                  <a:gd name="connsiteY86" fmla="*/ 1048775 h 1074917"/>
                  <a:gd name="connsiteX87" fmla="*/ 293272 w 1731178"/>
                  <a:gd name="connsiteY87" fmla="*/ 1045537 h 1074917"/>
                  <a:gd name="connsiteX88" fmla="*/ 289401 w 1731178"/>
                  <a:gd name="connsiteY88" fmla="*/ 1042838 h 1074917"/>
                  <a:gd name="connsiteX89" fmla="*/ 281104 w 1731178"/>
                  <a:gd name="connsiteY89" fmla="*/ 1046616 h 1074917"/>
                  <a:gd name="connsiteX90" fmla="*/ 266171 w 1731178"/>
                  <a:gd name="connsiteY90" fmla="*/ 1053633 h 1074917"/>
                  <a:gd name="connsiteX91" fmla="*/ 252344 w 1731178"/>
                  <a:gd name="connsiteY91" fmla="*/ 1066046 h 1074917"/>
                  <a:gd name="connsiteX92" fmla="*/ 239069 w 1731178"/>
                  <a:gd name="connsiteY92" fmla="*/ 1070364 h 1074917"/>
                  <a:gd name="connsiteX93" fmla="*/ 231879 w 1731178"/>
                  <a:gd name="connsiteY93" fmla="*/ 1067126 h 1074917"/>
                  <a:gd name="connsiteX94" fmla="*/ 232432 w 1731178"/>
                  <a:gd name="connsiteY94" fmla="*/ 1063888 h 1074917"/>
                  <a:gd name="connsiteX95" fmla="*/ 242388 w 1731178"/>
                  <a:gd name="connsiteY95" fmla="*/ 1057411 h 1074917"/>
                  <a:gd name="connsiteX96" fmla="*/ 251237 w 1731178"/>
                  <a:gd name="connsiteY96" fmla="*/ 1049855 h 1074917"/>
                  <a:gd name="connsiteX97" fmla="*/ 257875 w 1731178"/>
                  <a:gd name="connsiteY97" fmla="*/ 1048775 h 1074917"/>
                  <a:gd name="connsiteX98" fmla="*/ 269490 w 1731178"/>
                  <a:gd name="connsiteY98" fmla="*/ 1043378 h 1074917"/>
                  <a:gd name="connsiteX99" fmla="*/ 279998 w 1731178"/>
                  <a:gd name="connsiteY99" fmla="*/ 1040140 h 1074917"/>
                  <a:gd name="connsiteX100" fmla="*/ 286635 w 1731178"/>
                  <a:gd name="connsiteY100" fmla="*/ 1028805 h 1074917"/>
                  <a:gd name="connsiteX101" fmla="*/ 293272 w 1731178"/>
                  <a:gd name="connsiteY101" fmla="*/ 1028805 h 1074917"/>
                  <a:gd name="connsiteX102" fmla="*/ 300463 w 1731178"/>
                  <a:gd name="connsiteY102" fmla="*/ 1012614 h 1074917"/>
                  <a:gd name="connsiteX103" fmla="*/ 302122 w 1731178"/>
                  <a:gd name="connsiteY103" fmla="*/ 1008836 h 1074917"/>
                  <a:gd name="connsiteX104" fmla="*/ 275574 w 1731178"/>
                  <a:gd name="connsiteY104" fmla="*/ 1014233 h 1074917"/>
                  <a:gd name="connsiteX105" fmla="*/ 268383 w 1731178"/>
                  <a:gd name="connsiteY105" fmla="*/ 1016392 h 1074917"/>
                  <a:gd name="connsiteX106" fmla="*/ 235751 w 1731178"/>
                  <a:gd name="connsiteY106" fmla="*/ 1030425 h 1074917"/>
                  <a:gd name="connsiteX107" fmla="*/ 224136 w 1731178"/>
                  <a:gd name="connsiteY107" fmla="*/ 1029885 h 1074917"/>
                  <a:gd name="connsiteX108" fmla="*/ 215286 w 1731178"/>
                  <a:gd name="connsiteY108" fmla="*/ 1037441 h 1074917"/>
                  <a:gd name="connsiteX109" fmla="*/ 210309 w 1731178"/>
                  <a:gd name="connsiteY109" fmla="*/ 1021789 h 1074917"/>
                  <a:gd name="connsiteX110" fmla="*/ 229114 w 1731178"/>
                  <a:gd name="connsiteY110" fmla="*/ 1019630 h 1074917"/>
                  <a:gd name="connsiteX111" fmla="*/ 233539 w 1731178"/>
                  <a:gd name="connsiteY111" fmla="*/ 1005597 h 1074917"/>
                  <a:gd name="connsiteX112" fmla="*/ 230220 w 1731178"/>
                  <a:gd name="connsiteY112" fmla="*/ 999121 h 1074917"/>
                  <a:gd name="connsiteX113" fmla="*/ 220264 w 1731178"/>
                  <a:gd name="connsiteY113" fmla="*/ 997502 h 1074917"/>
                  <a:gd name="connsiteX114" fmla="*/ 205884 w 1731178"/>
                  <a:gd name="connsiteY114" fmla="*/ 991565 h 1074917"/>
                  <a:gd name="connsiteX115" fmla="*/ 195928 w 1731178"/>
                  <a:gd name="connsiteY115" fmla="*/ 993184 h 1074917"/>
                  <a:gd name="connsiteX116" fmla="*/ 193163 w 1731178"/>
                  <a:gd name="connsiteY116" fmla="*/ 984008 h 1074917"/>
                  <a:gd name="connsiteX117" fmla="*/ 190950 w 1731178"/>
                  <a:gd name="connsiteY117" fmla="*/ 979691 h 1074917"/>
                  <a:gd name="connsiteX118" fmla="*/ 189844 w 1731178"/>
                  <a:gd name="connsiteY118" fmla="*/ 969436 h 1074917"/>
                  <a:gd name="connsiteX119" fmla="*/ 183760 w 1731178"/>
                  <a:gd name="connsiteY119" fmla="*/ 963499 h 1074917"/>
                  <a:gd name="connsiteX120" fmla="*/ 177676 w 1731178"/>
                  <a:gd name="connsiteY120" fmla="*/ 961880 h 1074917"/>
                  <a:gd name="connsiteX121" fmla="*/ 189291 w 1731178"/>
                  <a:gd name="connsiteY121" fmla="*/ 952165 h 1074917"/>
                  <a:gd name="connsiteX122" fmla="*/ 189291 w 1731178"/>
                  <a:gd name="connsiteY122" fmla="*/ 933274 h 1074917"/>
                  <a:gd name="connsiteX123" fmla="*/ 187632 w 1731178"/>
                  <a:gd name="connsiteY123" fmla="*/ 929496 h 1074917"/>
                  <a:gd name="connsiteX124" fmla="*/ 165508 w 1731178"/>
                  <a:gd name="connsiteY124" fmla="*/ 921401 h 1074917"/>
                  <a:gd name="connsiteX125" fmla="*/ 142831 w 1731178"/>
                  <a:gd name="connsiteY125" fmla="*/ 919781 h 1074917"/>
                  <a:gd name="connsiteX126" fmla="*/ 132876 w 1731178"/>
                  <a:gd name="connsiteY126" fmla="*/ 906288 h 1074917"/>
                  <a:gd name="connsiteX127" fmla="*/ 129004 w 1731178"/>
                  <a:gd name="connsiteY127" fmla="*/ 906288 h 1074917"/>
                  <a:gd name="connsiteX128" fmla="*/ 115730 w 1731178"/>
                  <a:gd name="connsiteY128" fmla="*/ 917622 h 1074917"/>
                  <a:gd name="connsiteX129" fmla="*/ 85863 w 1731178"/>
                  <a:gd name="connsiteY129" fmla="*/ 908447 h 1074917"/>
                  <a:gd name="connsiteX130" fmla="*/ 85863 w 1731178"/>
                  <a:gd name="connsiteY130" fmla="*/ 906828 h 1074917"/>
                  <a:gd name="connsiteX131" fmla="*/ 88075 w 1731178"/>
                  <a:gd name="connsiteY131" fmla="*/ 899272 h 1074917"/>
                  <a:gd name="connsiteX132" fmla="*/ 97478 w 1731178"/>
                  <a:gd name="connsiteY132" fmla="*/ 896573 h 1074917"/>
                  <a:gd name="connsiteX133" fmla="*/ 100243 w 1731178"/>
                  <a:gd name="connsiteY133" fmla="*/ 887938 h 1074917"/>
                  <a:gd name="connsiteX134" fmla="*/ 86416 w 1731178"/>
                  <a:gd name="connsiteY134" fmla="*/ 877143 h 1074917"/>
                  <a:gd name="connsiteX135" fmla="*/ 85310 w 1731178"/>
                  <a:gd name="connsiteY135" fmla="*/ 864730 h 1074917"/>
                  <a:gd name="connsiteX136" fmla="*/ 104115 w 1731178"/>
                  <a:gd name="connsiteY136" fmla="*/ 863650 h 1074917"/>
                  <a:gd name="connsiteX137" fmla="*/ 112411 w 1731178"/>
                  <a:gd name="connsiteY137" fmla="*/ 876064 h 1074917"/>
                  <a:gd name="connsiteX138" fmla="*/ 112411 w 1731178"/>
                  <a:gd name="connsiteY138" fmla="*/ 887398 h 1074917"/>
                  <a:gd name="connsiteX139" fmla="*/ 115730 w 1731178"/>
                  <a:gd name="connsiteY139" fmla="*/ 891716 h 1074917"/>
                  <a:gd name="connsiteX140" fmla="*/ 121261 w 1731178"/>
                  <a:gd name="connsiteY140" fmla="*/ 885239 h 1074917"/>
                  <a:gd name="connsiteX141" fmla="*/ 132876 w 1731178"/>
                  <a:gd name="connsiteY141" fmla="*/ 886858 h 1074917"/>
                  <a:gd name="connsiteX142" fmla="*/ 154999 w 1731178"/>
                  <a:gd name="connsiteY142" fmla="*/ 874984 h 1074917"/>
                  <a:gd name="connsiteX143" fmla="*/ 156659 w 1731178"/>
                  <a:gd name="connsiteY143" fmla="*/ 871746 h 1074917"/>
                  <a:gd name="connsiteX144" fmla="*/ 140066 w 1731178"/>
                  <a:gd name="connsiteY144" fmla="*/ 872286 h 1074917"/>
                  <a:gd name="connsiteX145" fmla="*/ 121814 w 1731178"/>
                  <a:gd name="connsiteY145" fmla="*/ 852316 h 1074917"/>
                  <a:gd name="connsiteX146" fmla="*/ 129557 w 1731178"/>
                  <a:gd name="connsiteY146" fmla="*/ 842061 h 1074917"/>
                  <a:gd name="connsiteX147" fmla="*/ 131770 w 1731178"/>
                  <a:gd name="connsiteY147" fmla="*/ 830187 h 1074917"/>
                  <a:gd name="connsiteX148" fmla="*/ 137301 w 1731178"/>
                  <a:gd name="connsiteY148" fmla="*/ 819933 h 1074917"/>
                  <a:gd name="connsiteX149" fmla="*/ 136747 w 1731178"/>
                  <a:gd name="connsiteY149" fmla="*/ 817774 h 1074917"/>
                  <a:gd name="connsiteX150" fmla="*/ 120155 w 1731178"/>
                  <a:gd name="connsiteY150" fmla="*/ 817234 h 1074917"/>
                  <a:gd name="connsiteX151" fmla="*/ 115730 w 1731178"/>
                  <a:gd name="connsiteY151" fmla="*/ 799963 h 1074917"/>
                  <a:gd name="connsiteX152" fmla="*/ 103562 w 1731178"/>
                  <a:gd name="connsiteY152" fmla="*/ 788629 h 1074917"/>
                  <a:gd name="connsiteX153" fmla="*/ 95819 w 1731178"/>
                  <a:gd name="connsiteY153" fmla="*/ 784311 h 1074917"/>
                  <a:gd name="connsiteX154" fmla="*/ 94712 w 1731178"/>
                  <a:gd name="connsiteY154" fmla="*/ 781612 h 1074917"/>
                  <a:gd name="connsiteX155" fmla="*/ 95819 w 1731178"/>
                  <a:gd name="connsiteY155" fmla="*/ 775136 h 1074917"/>
                  <a:gd name="connsiteX156" fmla="*/ 101903 w 1731178"/>
                  <a:gd name="connsiteY156" fmla="*/ 762722 h 1074917"/>
                  <a:gd name="connsiteX157" fmla="*/ 115177 w 1731178"/>
                  <a:gd name="connsiteY157" fmla="*/ 742752 h 1074917"/>
                  <a:gd name="connsiteX158" fmla="*/ 111305 w 1731178"/>
                  <a:gd name="connsiteY158" fmla="*/ 741133 h 1074917"/>
                  <a:gd name="connsiteX159" fmla="*/ 81438 w 1731178"/>
                  <a:gd name="connsiteY159" fmla="*/ 754626 h 1074917"/>
                  <a:gd name="connsiteX160" fmla="*/ 45487 w 1731178"/>
                  <a:gd name="connsiteY160" fmla="*/ 770818 h 1074917"/>
                  <a:gd name="connsiteX161" fmla="*/ 39956 w 1731178"/>
                  <a:gd name="connsiteY161" fmla="*/ 768659 h 1074917"/>
                  <a:gd name="connsiteX162" fmla="*/ 35532 w 1731178"/>
                  <a:gd name="connsiteY162" fmla="*/ 743292 h 1074917"/>
                  <a:gd name="connsiteX163" fmla="*/ 34425 w 1731178"/>
                  <a:gd name="connsiteY163" fmla="*/ 718465 h 1074917"/>
                  <a:gd name="connsiteX164" fmla="*/ 46040 w 1731178"/>
                  <a:gd name="connsiteY164" fmla="*/ 704432 h 1074917"/>
                  <a:gd name="connsiteX165" fmla="*/ 51571 w 1731178"/>
                  <a:gd name="connsiteY165" fmla="*/ 681763 h 1074917"/>
                  <a:gd name="connsiteX166" fmla="*/ 56549 w 1731178"/>
                  <a:gd name="connsiteY166" fmla="*/ 676366 h 1074917"/>
                  <a:gd name="connsiteX167" fmla="*/ 71483 w 1731178"/>
                  <a:gd name="connsiteY167" fmla="*/ 655857 h 1074917"/>
                  <a:gd name="connsiteX168" fmla="*/ 93606 w 1731178"/>
                  <a:gd name="connsiteY168" fmla="*/ 643983 h 1074917"/>
                  <a:gd name="connsiteX169" fmla="*/ 100796 w 1731178"/>
                  <a:gd name="connsiteY169" fmla="*/ 637506 h 1074917"/>
                  <a:gd name="connsiteX170" fmla="*/ 112411 w 1731178"/>
                  <a:gd name="connsiteY170" fmla="*/ 632109 h 1074917"/>
                  <a:gd name="connsiteX171" fmla="*/ 127898 w 1731178"/>
                  <a:gd name="connsiteY171" fmla="*/ 643983 h 1074917"/>
                  <a:gd name="connsiteX172" fmla="*/ 156659 w 1731178"/>
                  <a:gd name="connsiteY172" fmla="*/ 639125 h 1074917"/>
                  <a:gd name="connsiteX173" fmla="*/ 162190 w 1731178"/>
                  <a:gd name="connsiteY173" fmla="*/ 622394 h 1074917"/>
                  <a:gd name="connsiteX174" fmla="*/ 159424 w 1731178"/>
                  <a:gd name="connsiteY174" fmla="*/ 621314 h 1074917"/>
                  <a:gd name="connsiteX175" fmla="*/ 160530 w 1731178"/>
                  <a:gd name="connsiteY175" fmla="*/ 611599 h 1074917"/>
                  <a:gd name="connsiteX176" fmla="*/ 170486 w 1731178"/>
                  <a:gd name="connsiteY176" fmla="*/ 607821 h 1074917"/>
                  <a:gd name="connsiteX177" fmla="*/ 179889 w 1731178"/>
                  <a:gd name="connsiteY177" fmla="*/ 609440 h 1074917"/>
                  <a:gd name="connsiteX178" fmla="*/ 179889 w 1731178"/>
                  <a:gd name="connsiteY178" fmla="*/ 621854 h 1074917"/>
                  <a:gd name="connsiteX179" fmla="*/ 188738 w 1731178"/>
                  <a:gd name="connsiteY179" fmla="*/ 624013 h 1074917"/>
                  <a:gd name="connsiteX180" fmla="*/ 195375 w 1731178"/>
                  <a:gd name="connsiteY180" fmla="*/ 620775 h 1074917"/>
                  <a:gd name="connsiteX181" fmla="*/ 228008 w 1731178"/>
                  <a:gd name="connsiteY181" fmla="*/ 609980 h 1074917"/>
                  <a:gd name="connsiteX182" fmla="*/ 236304 w 1731178"/>
                  <a:gd name="connsiteY182" fmla="*/ 610520 h 1074917"/>
                  <a:gd name="connsiteX183" fmla="*/ 256768 w 1731178"/>
                  <a:gd name="connsiteY183" fmla="*/ 601884 h 1074917"/>
                  <a:gd name="connsiteX184" fmla="*/ 271149 w 1731178"/>
                  <a:gd name="connsiteY184" fmla="*/ 600265 h 1074917"/>
                  <a:gd name="connsiteX185" fmla="*/ 278339 w 1731178"/>
                  <a:gd name="connsiteY185" fmla="*/ 592169 h 1074917"/>
                  <a:gd name="connsiteX186" fmla="*/ 278339 w 1731178"/>
                  <a:gd name="connsiteY186" fmla="*/ 585693 h 1074917"/>
                  <a:gd name="connsiteX187" fmla="*/ 250684 w 1731178"/>
                  <a:gd name="connsiteY187" fmla="*/ 587852 h 1074917"/>
                  <a:gd name="connsiteX188" fmla="*/ 250684 w 1731178"/>
                  <a:gd name="connsiteY188" fmla="*/ 579216 h 1074917"/>
                  <a:gd name="connsiteX189" fmla="*/ 264512 w 1731178"/>
                  <a:gd name="connsiteY189" fmla="*/ 566263 h 1074917"/>
                  <a:gd name="connsiteX190" fmla="*/ 297697 w 1731178"/>
                  <a:gd name="connsiteY190" fmla="*/ 552230 h 1074917"/>
                  <a:gd name="connsiteX191" fmla="*/ 322586 w 1731178"/>
                  <a:gd name="connsiteY191" fmla="*/ 546833 h 1074917"/>
                  <a:gd name="connsiteX192" fmla="*/ 338073 w 1731178"/>
                  <a:gd name="connsiteY192" fmla="*/ 538197 h 1074917"/>
                  <a:gd name="connsiteX193" fmla="*/ 339732 w 1731178"/>
                  <a:gd name="connsiteY193" fmla="*/ 532260 h 1074917"/>
                  <a:gd name="connsiteX194" fmla="*/ 338626 w 1731178"/>
                  <a:gd name="connsiteY194" fmla="*/ 530641 h 1074917"/>
                  <a:gd name="connsiteX195" fmla="*/ 315396 w 1731178"/>
                  <a:gd name="connsiteY195" fmla="*/ 533339 h 1074917"/>
                  <a:gd name="connsiteX196" fmla="*/ 288295 w 1731178"/>
                  <a:gd name="connsiteY196" fmla="*/ 541435 h 1074917"/>
                  <a:gd name="connsiteX197" fmla="*/ 256215 w 1731178"/>
                  <a:gd name="connsiteY197" fmla="*/ 529022 h 1074917"/>
                  <a:gd name="connsiteX198" fmla="*/ 251237 w 1731178"/>
                  <a:gd name="connsiteY198" fmla="*/ 515529 h 1074917"/>
                  <a:gd name="connsiteX199" fmla="*/ 254556 w 1731178"/>
                  <a:gd name="connsiteY199" fmla="*/ 496099 h 1074917"/>
                  <a:gd name="connsiteX200" fmla="*/ 267277 w 1731178"/>
                  <a:gd name="connsiteY200" fmla="*/ 492320 h 1074917"/>
                  <a:gd name="connsiteX201" fmla="*/ 282211 w 1731178"/>
                  <a:gd name="connsiteY201" fmla="*/ 492860 h 1074917"/>
                  <a:gd name="connsiteX202" fmla="*/ 333648 w 1731178"/>
                  <a:gd name="connsiteY202" fmla="*/ 484225 h 1074917"/>
                  <a:gd name="connsiteX203" fmla="*/ 356325 w 1731178"/>
                  <a:gd name="connsiteY203" fmla="*/ 468033 h 1074917"/>
                  <a:gd name="connsiteX204" fmla="*/ 383426 w 1731178"/>
                  <a:gd name="connsiteY204" fmla="*/ 471811 h 1074917"/>
                  <a:gd name="connsiteX205" fmla="*/ 387851 w 1731178"/>
                  <a:gd name="connsiteY205" fmla="*/ 470192 h 1074917"/>
                  <a:gd name="connsiteX206" fmla="*/ 397807 w 1731178"/>
                  <a:gd name="connsiteY206" fmla="*/ 471271 h 1074917"/>
                  <a:gd name="connsiteX207" fmla="*/ 417718 w 1731178"/>
                  <a:gd name="connsiteY207" fmla="*/ 466953 h 1074917"/>
                  <a:gd name="connsiteX208" fmla="*/ 445926 w 1731178"/>
                  <a:gd name="connsiteY208" fmla="*/ 444825 h 1074917"/>
                  <a:gd name="connsiteX209" fmla="*/ 451457 w 1731178"/>
                  <a:gd name="connsiteY209" fmla="*/ 418378 h 1074917"/>
                  <a:gd name="connsiteX210" fmla="*/ 486855 w 1731178"/>
                  <a:gd name="connsiteY210" fmla="*/ 387614 h 1074917"/>
                  <a:gd name="connsiteX211" fmla="*/ 504001 w 1731178"/>
                  <a:gd name="connsiteY211" fmla="*/ 357390 h 1074917"/>
                  <a:gd name="connsiteX212" fmla="*/ 519487 w 1731178"/>
                  <a:gd name="connsiteY212" fmla="*/ 343897 h 1074917"/>
                  <a:gd name="connsiteX213" fmla="*/ 527784 w 1731178"/>
                  <a:gd name="connsiteY213" fmla="*/ 329864 h 1074917"/>
                  <a:gd name="connsiteX214" fmla="*/ 557650 w 1731178"/>
                  <a:gd name="connsiteY214" fmla="*/ 311513 h 1074917"/>
                  <a:gd name="connsiteX215" fmla="*/ 581433 w 1731178"/>
                  <a:gd name="connsiteY215" fmla="*/ 288845 h 1074917"/>
                  <a:gd name="connsiteX216" fmla="*/ 638402 w 1731178"/>
                  <a:gd name="connsiteY216" fmla="*/ 273193 h 1074917"/>
                  <a:gd name="connsiteX217" fmla="*/ 672694 w 1731178"/>
                  <a:gd name="connsiteY217" fmla="*/ 265637 h 1074917"/>
                  <a:gd name="connsiteX218" fmla="*/ 702007 w 1731178"/>
                  <a:gd name="connsiteY218" fmla="*/ 253223 h 1074917"/>
                  <a:gd name="connsiteX219" fmla="*/ 717494 w 1731178"/>
                  <a:gd name="connsiteY219" fmla="*/ 228936 h 1074917"/>
                  <a:gd name="connsiteX220" fmla="*/ 729109 w 1731178"/>
                  <a:gd name="connsiteY220" fmla="*/ 232174 h 1074917"/>
                  <a:gd name="connsiteX221" fmla="*/ 752892 w 1731178"/>
                  <a:gd name="connsiteY221" fmla="*/ 260779 h 1074917"/>
                  <a:gd name="connsiteX222" fmla="*/ 787184 w 1731178"/>
                  <a:gd name="connsiteY222" fmla="*/ 257541 h 1074917"/>
                  <a:gd name="connsiteX223" fmla="*/ 805989 w 1731178"/>
                  <a:gd name="connsiteY223" fmla="*/ 244048 h 1074917"/>
                  <a:gd name="connsiteX224" fmla="*/ 810967 w 1731178"/>
                  <a:gd name="connsiteY224" fmla="*/ 240809 h 1074917"/>
                  <a:gd name="connsiteX225" fmla="*/ 822028 w 1731178"/>
                  <a:gd name="connsiteY225" fmla="*/ 244048 h 1074917"/>
                  <a:gd name="connsiteX226" fmla="*/ 829219 w 1731178"/>
                  <a:gd name="connsiteY226" fmla="*/ 258081 h 1074917"/>
                  <a:gd name="connsiteX227" fmla="*/ 849130 w 1731178"/>
                  <a:gd name="connsiteY227" fmla="*/ 272113 h 1074917"/>
                  <a:gd name="connsiteX228" fmla="*/ 863510 w 1731178"/>
                  <a:gd name="connsiteY228" fmla="*/ 274272 h 1074917"/>
                  <a:gd name="connsiteX229" fmla="*/ 880656 w 1731178"/>
                  <a:gd name="connsiteY229" fmla="*/ 255922 h 1074917"/>
                  <a:gd name="connsiteX230" fmla="*/ 892271 w 1731178"/>
                  <a:gd name="connsiteY230" fmla="*/ 252144 h 1074917"/>
                  <a:gd name="connsiteX231" fmla="*/ 903886 w 1731178"/>
                  <a:gd name="connsiteY231" fmla="*/ 253763 h 1074917"/>
                  <a:gd name="connsiteX232" fmla="*/ 906652 w 1731178"/>
                  <a:gd name="connsiteY232" fmla="*/ 252683 h 1074917"/>
                  <a:gd name="connsiteX233" fmla="*/ 921585 w 1731178"/>
                  <a:gd name="connsiteY233" fmla="*/ 261859 h 1074917"/>
                  <a:gd name="connsiteX234" fmla="*/ 938731 w 1731178"/>
                  <a:gd name="connsiteY234" fmla="*/ 260239 h 1074917"/>
                  <a:gd name="connsiteX235" fmla="*/ 959195 w 1731178"/>
                  <a:gd name="connsiteY235" fmla="*/ 263478 h 1074917"/>
                  <a:gd name="connsiteX236" fmla="*/ 980213 w 1731178"/>
                  <a:gd name="connsiteY236" fmla="*/ 245667 h 1074917"/>
                  <a:gd name="connsiteX237" fmla="*/ 998465 w 1731178"/>
                  <a:gd name="connsiteY237" fmla="*/ 252683 h 1074917"/>
                  <a:gd name="connsiteX238" fmla="*/ 1013398 w 1731178"/>
                  <a:gd name="connsiteY238" fmla="*/ 249445 h 1074917"/>
                  <a:gd name="connsiteX239" fmla="*/ 1022801 w 1731178"/>
                  <a:gd name="connsiteY239" fmla="*/ 245127 h 1074917"/>
                  <a:gd name="connsiteX240" fmla="*/ 1042159 w 1731178"/>
                  <a:gd name="connsiteY240" fmla="*/ 242968 h 1074917"/>
                  <a:gd name="connsiteX241" fmla="*/ 1077557 w 1731178"/>
                  <a:gd name="connsiteY241" fmla="*/ 214903 h 1074917"/>
                  <a:gd name="connsiteX242" fmla="*/ 1085300 w 1731178"/>
                  <a:gd name="connsiteY242" fmla="*/ 206807 h 1074917"/>
                  <a:gd name="connsiteX243" fmla="*/ 1114614 w 1731178"/>
                  <a:gd name="connsiteY243" fmla="*/ 190075 h 1074917"/>
                  <a:gd name="connsiteX244" fmla="*/ 1142822 w 1731178"/>
                  <a:gd name="connsiteY244" fmla="*/ 185758 h 1074917"/>
                  <a:gd name="connsiteX245" fmla="*/ 1172136 w 1731178"/>
                  <a:gd name="connsiteY245" fmla="*/ 176043 h 1074917"/>
                  <a:gd name="connsiteX246" fmla="*/ 1180432 w 1731178"/>
                  <a:gd name="connsiteY246" fmla="*/ 174423 h 1074917"/>
                  <a:gd name="connsiteX247" fmla="*/ 1207534 w 1731178"/>
                  <a:gd name="connsiteY247" fmla="*/ 140421 h 1074917"/>
                  <a:gd name="connsiteX248" fmla="*/ 1220255 w 1731178"/>
                  <a:gd name="connsiteY248" fmla="*/ 130166 h 1074917"/>
                  <a:gd name="connsiteX249" fmla="*/ 1227998 w 1731178"/>
                  <a:gd name="connsiteY249" fmla="*/ 119372 h 1074917"/>
                  <a:gd name="connsiteX250" fmla="*/ 1265055 w 1731178"/>
                  <a:gd name="connsiteY250" fmla="*/ 60542 h 1074917"/>
                  <a:gd name="connsiteX251" fmla="*/ 1293816 w 1731178"/>
                  <a:gd name="connsiteY251" fmla="*/ 56224 h 1074917"/>
                  <a:gd name="connsiteX252" fmla="*/ 1301559 w 1731178"/>
                  <a:gd name="connsiteY252" fmla="*/ 39493 h 1074917"/>
                  <a:gd name="connsiteX253" fmla="*/ 1341935 w 1731178"/>
                  <a:gd name="connsiteY253" fmla="*/ 26539 h 1074917"/>
                  <a:gd name="connsiteX254" fmla="*/ 1351891 w 1731178"/>
                  <a:gd name="connsiteY254" fmla="*/ 3331 h 1074917"/>
                  <a:gd name="connsiteX255" fmla="*/ 1362952 w 1731178"/>
                  <a:gd name="connsiteY255" fmla="*/ -447 h 1074917"/>
                  <a:gd name="connsiteX256" fmla="*/ 1404987 w 1731178"/>
                  <a:gd name="connsiteY256" fmla="*/ 13586 h 1074917"/>
                  <a:gd name="connsiteX257" fmla="*/ 1405541 w 1731178"/>
                  <a:gd name="connsiteY257" fmla="*/ 18443 h 1074917"/>
                  <a:gd name="connsiteX258" fmla="*/ 1419368 w 1731178"/>
                  <a:gd name="connsiteY258" fmla="*/ 22221 h 1074917"/>
                  <a:gd name="connsiteX259" fmla="*/ 1426005 w 1731178"/>
                  <a:gd name="connsiteY259" fmla="*/ 16285 h 1074917"/>
                  <a:gd name="connsiteX260" fmla="*/ 1434301 w 1731178"/>
                  <a:gd name="connsiteY260" fmla="*/ 17364 h 1074917"/>
                  <a:gd name="connsiteX261" fmla="*/ 1440385 w 1731178"/>
                  <a:gd name="connsiteY261" fmla="*/ 31397 h 1074917"/>
                  <a:gd name="connsiteX262" fmla="*/ 1461956 w 1731178"/>
                  <a:gd name="connsiteY262" fmla="*/ 33016 h 1074917"/>
                  <a:gd name="connsiteX263" fmla="*/ 1473571 w 1731178"/>
                  <a:gd name="connsiteY263" fmla="*/ 49208 h 1074917"/>
                  <a:gd name="connsiteX264" fmla="*/ 1471359 w 1731178"/>
                  <a:gd name="connsiteY264" fmla="*/ 73495 h 1074917"/>
                  <a:gd name="connsiteX265" fmla="*/ 1471912 w 1731178"/>
                  <a:gd name="connsiteY265" fmla="*/ 82671 h 1074917"/>
                  <a:gd name="connsiteX266" fmla="*/ 1477996 w 1731178"/>
                  <a:gd name="connsiteY266" fmla="*/ 86988 h 1074917"/>
                  <a:gd name="connsiteX267" fmla="*/ 1479655 w 1731178"/>
                  <a:gd name="connsiteY267" fmla="*/ 99402 h 1074917"/>
                  <a:gd name="connsiteX268" fmla="*/ 1487951 w 1731178"/>
                  <a:gd name="connsiteY268" fmla="*/ 107498 h 1074917"/>
                  <a:gd name="connsiteX269" fmla="*/ 1494588 w 1731178"/>
                  <a:gd name="connsiteY269" fmla="*/ 122070 h 1074917"/>
                  <a:gd name="connsiteX270" fmla="*/ 1503991 w 1731178"/>
                  <a:gd name="connsiteY270" fmla="*/ 126388 h 1074917"/>
                  <a:gd name="connsiteX271" fmla="*/ 1523902 w 1731178"/>
                  <a:gd name="connsiteY271" fmla="*/ 123150 h 1074917"/>
                  <a:gd name="connsiteX272" fmla="*/ 1555429 w 1731178"/>
                  <a:gd name="connsiteY272" fmla="*/ 102101 h 1074917"/>
                  <a:gd name="connsiteX273" fmla="*/ 1581977 w 1731178"/>
                  <a:gd name="connsiteY273" fmla="*/ 110196 h 1074917"/>
                  <a:gd name="connsiteX274" fmla="*/ 1604101 w 1731178"/>
                  <a:gd name="connsiteY274" fmla="*/ 115594 h 1074917"/>
                  <a:gd name="connsiteX275" fmla="*/ 1606313 w 1731178"/>
                  <a:gd name="connsiteY275" fmla="*/ 117753 h 1074917"/>
                  <a:gd name="connsiteX276" fmla="*/ 1617375 w 1731178"/>
                  <a:gd name="connsiteY276" fmla="*/ 126928 h 1074917"/>
                  <a:gd name="connsiteX277" fmla="*/ 1591933 w 1731178"/>
                  <a:gd name="connsiteY277" fmla="*/ 123689 h 1074917"/>
                  <a:gd name="connsiteX278" fmla="*/ 1586955 w 1731178"/>
                  <a:gd name="connsiteY278" fmla="*/ 138802 h 1074917"/>
                  <a:gd name="connsiteX279" fmla="*/ 1591933 w 1731178"/>
                  <a:gd name="connsiteY279" fmla="*/ 166867 h 1074917"/>
                  <a:gd name="connsiteX280" fmla="*/ 1565384 w 1731178"/>
                  <a:gd name="connsiteY280" fmla="*/ 191695 h 1074917"/>
                  <a:gd name="connsiteX281" fmla="*/ 1577552 w 1731178"/>
                  <a:gd name="connsiteY281" fmla="*/ 207886 h 1074917"/>
                  <a:gd name="connsiteX282" fmla="*/ 1589167 w 1731178"/>
                  <a:gd name="connsiteY282" fmla="*/ 213823 h 1074917"/>
                  <a:gd name="connsiteX283" fmla="*/ 1593039 w 1731178"/>
                  <a:gd name="connsiteY283" fmla="*/ 231634 h 1074917"/>
                  <a:gd name="connsiteX284" fmla="*/ 1610738 w 1731178"/>
                  <a:gd name="connsiteY284" fmla="*/ 237031 h 1074917"/>
                  <a:gd name="connsiteX285" fmla="*/ 1634521 w 1731178"/>
                  <a:gd name="connsiteY285" fmla="*/ 289385 h 1074917"/>
                  <a:gd name="connsiteX286" fmla="*/ 1650560 w 1731178"/>
                  <a:gd name="connsiteY286" fmla="*/ 285606 h 1074917"/>
                  <a:gd name="connsiteX287" fmla="*/ 1654985 w 1731178"/>
                  <a:gd name="connsiteY287" fmla="*/ 348754 h 1074917"/>
                  <a:gd name="connsiteX288" fmla="*/ 1668259 w 1731178"/>
                  <a:gd name="connsiteY288" fmla="*/ 349294 h 1074917"/>
                  <a:gd name="connsiteX289" fmla="*/ 1677109 w 1731178"/>
                  <a:gd name="connsiteY289" fmla="*/ 353612 h 1074917"/>
                  <a:gd name="connsiteX290" fmla="*/ 1684852 w 1731178"/>
                  <a:gd name="connsiteY290" fmla="*/ 347135 h 1074917"/>
                  <a:gd name="connsiteX291" fmla="*/ 1691489 w 1731178"/>
                  <a:gd name="connsiteY291" fmla="*/ 354151 h 1074917"/>
                  <a:gd name="connsiteX292" fmla="*/ 1690383 w 1731178"/>
                  <a:gd name="connsiteY292" fmla="*/ 362247 h 1074917"/>
                  <a:gd name="connsiteX293" fmla="*/ 1697573 w 1731178"/>
                  <a:gd name="connsiteY293" fmla="*/ 365486 h 1074917"/>
                  <a:gd name="connsiteX294" fmla="*/ 1701445 w 1731178"/>
                  <a:gd name="connsiteY294" fmla="*/ 382757 h 1074917"/>
                  <a:gd name="connsiteX295" fmla="*/ 1730206 w 1731178"/>
                  <a:gd name="connsiteY295" fmla="*/ 391932 h 1074917"/>
                  <a:gd name="connsiteX296" fmla="*/ 1728546 w 1731178"/>
                  <a:gd name="connsiteY296" fmla="*/ 408663 h 1074917"/>
                  <a:gd name="connsiteX297" fmla="*/ 1719697 w 1731178"/>
                  <a:gd name="connsiteY297" fmla="*/ 409743 h 1074917"/>
                  <a:gd name="connsiteX298" fmla="*/ 1704210 w 1731178"/>
                  <a:gd name="connsiteY298" fmla="*/ 436729 h 1074917"/>
                  <a:gd name="connsiteX299" fmla="*/ 1701445 w 1731178"/>
                  <a:gd name="connsiteY299" fmla="*/ 449143 h 1074917"/>
                  <a:gd name="connsiteX300" fmla="*/ 1692595 w 1731178"/>
                  <a:gd name="connsiteY300" fmla="*/ 445904 h 1074917"/>
                  <a:gd name="connsiteX301" fmla="*/ 1687064 w 1731178"/>
                  <a:gd name="connsiteY301" fmla="*/ 441047 h 1074917"/>
                  <a:gd name="connsiteX302" fmla="*/ 1687618 w 1731178"/>
                  <a:gd name="connsiteY302" fmla="*/ 431332 h 1074917"/>
                  <a:gd name="connsiteX303" fmla="*/ 1683193 w 1731178"/>
                  <a:gd name="connsiteY303" fmla="*/ 422156 h 1074917"/>
                  <a:gd name="connsiteX304" fmla="*/ 1671025 w 1731178"/>
                  <a:gd name="connsiteY304" fmla="*/ 421617 h 1074917"/>
                  <a:gd name="connsiteX305" fmla="*/ 1662728 w 1731178"/>
                  <a:gd name="connsiteY305" fmla="*/ 425935 h 1074917"/>
                  <a:gd name="connsiteX306" fmla="*/ 1653879 w 1731178"/>
                  <a:gd name="connsiteY306" fmla="*/ 441587 h 1074917"/>
                  <a:gd name="connsiteX307" fmla="*/ 1624565 w 1731178"/>
                  <a:gd name="connsiteY307" fmla="*/ 452921 h 1074917"/>
                  <a:gd name="connsiteX308" fmla="*/ 1609078 w 1731178"/>
                  <a:gd name="connsiteY308" fmla="*/ 452921 h 1074917"/>
                  <a:gd name="connsiteX309" fmla="*/ 1599676 w 1731178"/>
                  <a:gd name="connsiteY309" fmla="*/ 456699 h 1074917"/>
                  <a:gd name="connsiteX310" fmla="*/ 1584189 w 1731178"/>
                  <a:gd name="connsiteY310" fmla="*/ 457238 h 1074917"/>
                  <a:gd name="connsiteX311" fmla="*/ 1570362 w 1731178"/>
                  <a:gd name="connsiteY311" fmla="*/ 473430 h 1074917"/>
                  <a:gd name="connsiteX312" fmla="*/ 1558747 w 1731178"/>
                  <a:gd name="connsiteY312" fmla="*/ 473970 h 1074917"/>
                  <a:gd name="connsiteX313" fmla="*/ 1550451 w 1731178"/>
                  <a:gd name="connsiteY313" fmla="*/ 503655 h 1074917"/>
                  <a:gd name="connsiteX314" fmla="*/ 1536070 w 1731178"/>
                  <a:gd name="connsiteY314" fmla="*/ 520926 h 1074917"/>
                  <a:gd name="connsiteX315" fmla="*/ 136194 w 1731178"/>
                  <a:gd name="connsiteY315" fmla="*/ 437269 h 1074917"/>
                  <a:gd name="connsiteX316" fmla="*/ 140619 w 1731178"/>
                  <a:gd name="connsiteY316" fmla="*/ 452921 h 1074917"/>
                  <a:gd name="connsiteX317" fmla="*/ 150022 w 1731178"/>
                  <a:gd name="connsiteY317" fmla="*/ 462096 h 1074917"/>
                  <a:gd name="connsiteX318" fmla="*/ 158871 w 1731178"/>
                  <a:gd name="connsiteY318" fmla="*/ 473430 h 1074917"/>
                  <a:gd name="connsiteX319" fmla="*/ 194822 w 1731178"/>
                  <a:gd name="connsiteY319" fmla="*/ 494479 h 1074917"/>
                  <a:gd name="connsiteX320" fmla="*/ 207543 w 1731178"/>
                  <a:gd name="connsiteY320" fmla="*/ 498257 h 1074917"/>
                  <a:gd name="connsiteX321" fmla="*/ 228008 w 1731178"/>
                  <a:gd name="connsiteY321" fmla="*/ 493940 h 1074917"/>
                  <a:gd name="connsiteX322" fmla="*/ 239623 w 1731178"/>
                  <a:gd name="connsiteY322" fmla="*/ 495559 h 1074917"/>
                  <a:gd name="connsiteX323" fmla="*/ 239623 w 1731178"/>
                  <a:gd name="connsiteY323" fmla="*/ 523085 h 1074917"/>
                  <a:gd name="connsiteX324" fmla="*/ 228008 w 1731178"/>
                  <a:gd name="connsiteY324" fmla="*/ 531181 h 1074917"/>
                  <a:gd name="connsiteX325" fmla="*/ 206437 w 1731178"/>
                  <a:gd name="connsiteY325" fmla="*/ 528482 h 1074917"/>
                  <a:gd name="connsiteX326" fmla="*/ 193716 w 1731178"/>
                  <a:gd name="connsiteY326" fmla="*/ 533339 h 1074917"/>
                  <a:gd name="connsiteX327" fmla="*/ 171039 w 1731178"/>
                  <a:gd name="connsiteY327" fmla="*/ 540356 h 1074917"/>
                  <a:gd name="connsiteX328" fmla="*/ 154999 w 1731178"/>
                  <a:gd name="connsiteY328" fmla="*/ 552230 h 1074917"/>
                  <a:gd name="connsiteX329" fmla="*/ 140619 w 1731178"/>
                  <a:gd name="connsiteY329" fmla="*/ 556548 h 1074917"/>
                  <a:gd name="connsiteX330" fmla="*/ 118495 w 1731178"/>
                  <a:gd name="connsiteY330" fmla="*/ 569501 h 1074917"/>
                  <a:gd name="connsiteX331" fmla="*/ 103009 w 1731178"/>
                  <a:gd name="connsiteY331" fmla="*/ 609440 h 1074917"/>
                  <a:gd name="connsiteX332" fmla="*/ 72036 w 1731178"/>
                  <a:gd name="connsiteY332" fmla="*/ 636966 h 1074917"/>
                  <a:gd name="connsiteX333" fmla="*/ 43828 w 1731178"/>
                  <a:gd name="connsiteY333" fmla="*/ 676906 h 1074917"/>
                  <a:gd name="connsiteX334" fmla="*/ 30554 w 1731178"/>
                  <a:gd name="connsiteY334" fmla="*/ 692558 h 1074917"/>
                  <a:gd name="connsiteX335" fmla="*/ 26682 w 1731178"/>
                  <a:gd name="connsiteY335" fmla="*/ 690939 h 1074917"/>
                  <a:gd name="connsiteX336" fmla="*/ 26682 w 1731178"/>
                  <a:gd name="connsiteY336" fmla="*/ 674207 h 1074917"/>
                  <a:gd name="connsiteX337" fmla="*/ 47700 w 1731178"/>
                  <a:gd name="connsiteY337" fmla="*/ 645062 h 1074917"/>
                  <a:gd name="connsiteX338" fmla="*/ 71483 w 1731178"/>
                  <a:gd name="connsiteY338" fmla="*/ 629410 h 1074917"/>
                  <a:gd name="connsiteX339" fmla="*/ 73142 w 1731178"/>
                  <a:gd name="connsiteY339" fmla="*/ 620235 h 1074917"/>
                  <a:gd name="connsiteX340" fmla="*/ 67611 w 1731178"/>
                  <a:gd name="connsiteY340" fmla="*/ 620235 h 1074917"/>
                  <a:gd name="connsiteX341" fmla="*/ 44934 w 1731178"/>
                  <a:gd name="connsiteY341" fmla="*/ 631569 h 1074917"/>
                  <a:gd name="connsiteX342" fmla="*/ 8983 w 1731178"/>
                  <a:gd name="connsiteY342" fmla="*/ 632109 h 1074917"/>
                  <a:gd name="connsiteX343" fmla="*/ 1240 w 1731178"/>
                  <a:gd name="connsiteY343" fmla="*/ 618616 h 1074917"/>
                  <a:gd name="connsiteX344" fmla="*/ 14514 w 1731178"/>
                  <a:gd name="connsiteY344" fmla="*/ 588931 h 1074917"/>
                  <a:gd name="connsiteX345" fmla="*/ 8430 w 1731178"/>
                  <a:gd name="connsiteY345" fmla="*/ 550611 h 1074917"/>
                  <a:gd name="connsiteX346" fmla="*/ 23917 w 1731178"/>
                  <a:gd name="connsiteY346" fmla="*/ 539276 h 1074917"/>
                  <a:gd name="connsiteX347" fmla="*/ 25023 w 1731178"/>
                  <a:gd name="connsiteY347" fmla="*/ 532260 h 1074917"/>
                  <a:gd name="connsiteX348" fmla="*/ -972 w 1731178"/>
                  <a:gd name="connsiteY348" fmla="*/ 504194 h 1074917"/>
                  <a:gd name="connsiteX349" fmla="*/ 2346 w 1731178"/>
                  <a:gd name="connsiteY349" fmla="*/ 495019 h 1074917"/>
                  <a:gd name="connsiteX350" fmla="*/ 18386 w 1731178"/>
                  <a:gd name="connsiteY350" fmla="*/ 485304 h 1074917"/>
                  <a:gd name="connsiteX351" fmla="*/ 21151 w 1731178"/>
                  <a:gd name="connsiteY351" fmla="*/ 470192 h 1074917"/>
                  <a:gd name="connsiteX352" fmla="*/ 39956 w 1731178"/>
                  <a:gd name="connsiteY352" fmla="*/ 466414 h 1074917"/>
                  <a:gd name="connsiteX353" fmla="*/ 53231 w 1731178"/>
                  <a:gd name="connsiteY353" fmla="*/ 449143 h 1074917"/>
                  <a:gd name="connsiteX354" fmla="*/ 66505 w 1731178"/>
                  <a:gd name="connsiteY354" fmla="*/ 447523 h 1074917"/>
                  <a:gd name="connsiteX355" fmla="*/ 73142 w 1731178"/>
                  <a:gd name="connsiteY355" fmla="*/ 441587 h 1074917"/>
                  <a:gd name="connsiteX356" fmla="*/ 104668 w 1731178"/>
                  <a:gd name="connsiteY356" fmla="*/ 455080 h 1074917"/>
                  <a:gd name="connsiteX357" fmla="*/ 111305 w 1731178"/>
                  <a:gd name="connsiteY357" fmla="*/ 445904 h 1074917"/>
                  <a:gd name="connsiteX358" fmla="*/ 124026 w 1731178"/>
                  <a:gd name="connsiteY358" fmla="*/ 443745 h 1074917"/>
                  <a:gd name="connsiteX359" fmla="*/ 125132 w 1731178"/>
                  <a:gd name="connsiteY359" fmla="*/ 436729 h 1074917"/>
                  <a:gd name="connsiteX360" fmla="*/ 136194 w 1731178"/>
                  <a:gd name="connsiteY360" fmla="*/ 437269 h 107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</a:cxnLst>
                <a:rect l="l" t="t" r="r" b="b"/>
                <a:pathLst>
                  <a:path w="1731178" h="1074917">
                    <a:moveTo>
                      <a:pt x="1536070" y="520926"/>
                    </a:moveTo>
                    <a:cubicBezTo>
                      <a:pt x="1534411" y="518227"/>
                      <a:pt x="1532199" y="515529"/>
                      <a:pt x="1529986" y="512830"/>
                    </a:cubicBezTo>
                    <a:cubicBezTo>
                      <a:pt x="1522243" y="501496"/>
                      <a:pt x="1523349" y="505274"/>
                      <a:pt x="1511181" y="507433"/>
                    </a:cubicBezTo>
                    <a:lnTo>
                      <a:pt x="1505650" y="525783"/>
                    </a:lnTo>
                    <a:lnTo>
                      <a:pt x="1448682" y="569501"/>
                    </a:lnTo>
                    <a:lnTo>
                      <a:pt x="1400010" y="588931"/>
                    </a:lnTo>
                    <a:lnTo>
                      <a:pt x="1344147" y="661254"/>
                    </a:lnTo>
                    <a:lnTo>
                      <a:pt x="1288838" y="701733"/>
                    </a:lnTo>
                    <a:lnTo>
                      <a:pt x="1241825" y="716306"/>
                    </a:lnTo>
                    <a:lnTo>
                      <a:pt x="1216383" y="706051"/>
                    </a:lnTo>
                    <a:lnTo>
                      <a:pt x="1196472" y="710908"/>
                    </a:lnTo>
                    <a:lnTo>
                      <a:pt x="1147800" y="763262"/>
                    </a:lnTo>
                    <a:lnTo>
                      <a:pt x="1102999" y="788089"/>
                    </a:lnTo>
                    <a:lnTo>
                      <a:pt x="1088619" y="776755"/>
                    </a:lnTo>
                    <a:lnTo>
                      <a:pt x="1072579" y="776215"/>
                    </a:lnTo>
                    <a:lnTo>
                      <a:pt x="1058752" y="780533"/>
                    </a:lnTo>
                    <a:lnTo>
                      <a:pt x="1063730" y="823711"/>
                    </a:lnTo>
                    <a:lnTo>
                      <a:pt x="1084194" y="844760"/>
                    </a:lnTo>
                    <a:lnTo>
                      <a:pt x="1059858" y="859872"/>
                    </a:lnTo>
                    <a:lnTo>
                      <a:pt x="1064283" y="886858"/>
                    </a:lnTo>
                    <a:lnTo>
                      <a:pt x="1053774" y="898732"/>
                    </a:lnTo>
                    <a:lnTo>
                      <a:pt x="1053774" y="907368"/>
                    </a:lnTo>
                    <a:lnTo>
                      <a:pt x="1049902" y="916543"/>
                    </a:lnTo>
                    <a:lnTo>
                      <a:pt x="1027226" y="905209"/>
                    </a:lnTo>
                    <a:cubicBezTo>
                      <a:pt x="1030544" y="890636"/>
                      <a:pt x="1015058" y="884160"/>
                      <a:pt x="1007314" y="874445"/>
                    </a:cubicBezTo>
                    <a:cubicBezTo>
                      <a:pt x="1005655" y="872825"/>
                      <a:pt x="1002336" y="867428"/>
                      <a:pt x="1002336" y="865269"/>
                    </a:cubicBezTo>
                    <a:cubicBezTo>
                      <a:pt x="1002336" y="862571"/>
                      <a:pt x="1006208" y="855015"/>
                      <a:pt x="1007314" y="852316"/>
                    </a:cubicBezTo>
                    <a:cubicBezTo>
                      <a:pt x="1017270" y="837204"/>
                      <a:pt x="1034416" y="828028"/>
                      <a:pt x="1023907" y="808059"/>
                    </a:cubicBezTo>
                    <a:cubicBezTo>
                      <a:pt x="1022248" y="804820"/>
                      <a:pt x="1013951" y="794026"/>
                      <a:pt x="1011186" y="792407"/>
                    </a:cubicBezTo>
                    <a:cubicBezTo>
                      <a:pt x="1008420" y="791327"/>
                      <a:pt x="1000677" y="790248"/>
                      <a:pt x="998465" y="792407"/>
                    </a:cubicBezTo>
                    <a:cubicBezTo>
                      <a:pt x="993487" y="798344"/>
                      <a:pt x="991275" y="807519"/>
                      <a:pt x="986297" y="813996"/>
                    </a:cubicBezTo>
                    <a:cubicBezTo>
                      <a:pt x="982978" y="818313"/>
                      <a:pt x="977447" y="818313"/>
                      <a:pt x="975788" y="825330"/>
                    </a:cubicBezTo>
                    <a:cubicBezTo>
                      <a:pt x="974682" y="829108"/>
                      <a:pt x="982425" y="825870"/>
                      <a:pt x="983531" y="828568"/>
                    </a:cubicBezTo>
                    <a:cubicBezTo>
                      <a:pt x="985744" y="834505"/>
                      <a:pt x="967492" y="846919"/>
                      <a:pt x="963067" y="849617"/>
                    </a:cubicBezTo>
                    <a:cubicBezTo>
                      <a:pt x="955324" y="855015"/>
                      <a:pt x="950346" y="855015"/>
                      <a:pt x="940943" y="852316"/>
                    </a:cubicBezTo>
                    <a:cubicBezTo>
                      <a:pt x="937625" y="851776"/>
                      <a:pt x="934306" y="850157"/>
                      <a:pt x="930988" y="849617"/>
                    </a:cubicBezTo>
                    <a:cubicBezTo>
                      <a:pt x="927669" y="849078"/>
                      <a:pt x="923797" y="850157"/>
                      <a:pt x="920479" y="850157"/>
                    </a:cubicBezTo>
                    <a:cubicBezTo>
                      <a:pt x="914948" y="849617"/>
                      <a:pt x="900568" y="844220"/>
                      <a:pt x="897249" y="844760"/>
                    </a:cubicBezTo>
                    <a:cubicBezTo>
                      <a:pt x="894484" y="844760"/>
                      <a:pt x="886187" y="847458"/>
                      <a:pt x="883975" y="848538"/>
                    </a:cubicBezTo>
                    <a:cubicBezTo>
                      <a:pt x="874019" y="855015"/>
                      <a:pt x="850789" y="903050"/>
                      <a:pt x="846365" y="918702"/>
                    </a:cubicBezTo>
                    <a:cubicBezTo>
                      <a:pt x="845811" y="920321"/>
                      <a:pt x="845258" y="924639"/>
                      <a:pt x="844705" y="926258"/>
                    </a:cubicBezTo>
                    <a:cubicBezTo>
                      <a:pt x="843599" y="927337"/>
                      <a:pt x="831431" y="934354"/>
                      <a:pt x="828666" y="937592"/>
                    </a:cubicBezTo>
                    <a:cubicBezTo>
                      <a:pt x="824794" y="942450"/>
                      <a:pt x="822582" y="954863"/>
                      <a:pt x="818157" y="958102"/>
                    </a:cubicBezTo>
                    <a:cubicBezTo>
                      <a:pt x="814285" y="961340"/>
                      <a:pt x="801011" y="960800"/>
                      <a:pt x="795480" y="963499"/>
                    </a:cubicBezTo>
                    <a:cubicBezTo>
                      <a:pt x="787737" y="966737"/>
                      <a:pt x="779440" y="972135"/>
                      <a:pt x="772803" y="976992"/>
                    </a:cubicBezTo>
                    <a:cubicBezTo>
                      <a:pt x="770591" y="978611"/>
                      <a:pt x="769485" y="980230"/>
                      <a:pt x="767272" y="981850"/>
                    </a:cubicBezTo>
                    <a:cubicBezTo>
                      <a:pt x="763954" y="983469"/>
                      <a:pt x="759529" y="984008"/>
                      <a:pt x="756211" y="985628"/>
                    </a:cubicBezTo>
                    <a:cubicBezTo>
                      <a:pt x="750680" y="988866"/>
                      <a:pt x="750680" y="992104"/>
                      <a:pt x="742936" y="994263"/>
                    </a:cubicBezTo>
                    <a:cubicBezTo>
                      <a:pt x="719153" y="1001280"/>
                      <a:pt x="699795" y="995343"/>
                      <a:pt x="680437" y="980770"/>
                    </a:cubicBezTo>
                    <a:cubicBezTo>
                      <a:pt x="676012" y="977532"/>
                      <a:pt x="658866" y="962419"/>
                      <a:pt x="655548" y="961340"/>
                    </a:cubicBezTo>
                    <a:cubicBezTo>
                      <a:pt x="643933" y="958102"/>
                      <a:pt x="629552" y="962419"/>
                      <a:pt x="617384" y="960800"/>
                    </a:cubicBezTo>
                    <a:cubicBezTo>
                      <a:pt x="610194" y="959721"/>
                      <a:pt x="603557" y="955403"/>
                      <a:pt x="596367" y="953784"/>
                    </a:cubicBezTo>
                    <a:cubicBezTo>
                      <a:pt x="591389" y="952704"/>
                      <a:pt x="578668" y="950546"/>
                      <a:pt x="573690" y="951085"/>
                    </a:cubicBezTo>
                    <a:cubicBezTo>
                      <a:pt x="563181" y="952165"/>
                      <a:pt x="534974" y="958641"/>
                      <a:pt x="525571" y="962419"/>
                    </a:cubicBezTo>
                    <a:cubicBezTo>
                      <a:pt x="523359" y="962959"/>
                      <a:pt x="520040" y="966198"/>
                      <a:pt x="519487" y="967817"/>
                    </a:cubicBezTo>
                    <a:cubicBezTo>
                      <a:pt x="515062" y="974833"/>
                      <a:pt x="519487" y="988866"/>
                      <a:pt x="522806" y="995882"/>
                    </a:cubicBezTo>
                    <a:cubicBezTo>
                      <a:pt x="523359" y="997502"/>
                      <a:pt x="524465" y="998581"/>
                      <a:pt x="524465" y="1000200"/>
                    </a:cubicBezTo>
                    <a:cubicBezTo>
                      <a:pt x="525571" y="1007217"/>
                      <a:pt x="521699" y="1016932"/>
                      <a:pt x="522253" y="1024488"/>
                    </a:cubicBezTo>
                    <a:cubicBezTo>
                      <a:pt x="522253" y="1027726"/>
                      <a:pt x="523912" y="1030425"/>
                      <a:pt x="523912" y="1033123"/>
                    </a:cubicBezTo>
                    <a:cubicBezTo>
                      <a:pt x="523912" y="1035822"/>
                      <a:pt x="522806" y="1041219"/>
                      <a:pt x="521699" y="1043918"/>
                    </a:cubicBezTo>
                    <a:cubicBezTo>
                      <a:pt x="518381" y="1043918"/>
                      <a:pt x="515062" y="1042299"/>
                      <a:pt x="511744" y="1041759"/>
                    </a:cubicBezTo>
                    <a:cubicBezTo>
                      <a:pt x="503447" y="1041759"/>
                      <a:pt x="489620" y="1048236"/>
                      <a:pt x="482983" y="1053093"/>
                    </a:cubicBezTo>
                    <a:cubicBezTo>
                      <a:pt x="476346" y="1057951"/>
                      <a:pt x="463072" y="1071983"/>
                      <a:pt x="456988" y="1074142"/>
                    </a:cubicBezTo>
                    <a:cubicBezTo>
                      <a:pt x="453669" y="1075761"/>
                      <a:pt x="444267" y="1070904"/>
                      <a:pt x="439842" y="1070364"/>
                    </a:cubicBezTo>
                    <a:cubicBezTo>
                      <a:pt x="435417" y="1069824"/>
                      <a:pt x="428780" y="1069824"/>
                      <a:pt x="424355" y="1070364"/>
                    </a:cubicBezTo>
                    <a:cubicBezTo>
                      <a:pt x="422143" y="1070904"/>
                      <a:pt x="419377" y="1072523"/>
                      <a:pt x="417165" y="1071983"/>
                    </a:cubicBezTo>
                    <a:cubicBezTo>
                      <a:pt x="414953" y="1071983"/>
                      <a:pt x="403891" y="1068745"/>
                      <a:pt x="402232" y="1067126"/>
                    </a:cubicBezTo>
                    <a:cubicBezTo>
                      <a:pt x="400019" y="1066046"/>
                      <a:pt x="397254" y="1061729"/>
                      <a:pt x="396148" y="1059570"/>
                    </a:cubicBezTo>
                    <a:cubicBezTo>
                      <a:pt x="395041" y="1056331"/>
                      <a:pt x="394488" y="1052553"/>
                      <a:pt x="392829" y="1049315"/>
                    </a:cubicBezTo>
                    <a:cubicBezTo>
                      <a:pt x="391170" y="1047696"/>
                      <a:pt x="386745" y="1044997"/>
                      <a:pt x="386192" y="1043378"/>
                    </a:cubicBezTo>
                    <a:cubicBezTo>
                      <a:pt x="383426" y="1037441"/>
                      <a:pt x="392829" y="1036362"/>
                      <a:pt x="391170" y="1031504"/>
                    </a:cubicBezTo>
                    <a:cubicBezTo>
                      <a:pt x="390064" y="1028266"/>
                      <a:pt x="377896" y="1023948"/>
                      <a:pt x="374577" y="1024488"/>
                    </a:cubicBezTo>
                    <a:cubicBezTo>
                      <a:pt x="372918" y="1024488"/>
                      <a:pt x="369046" y="1026647"/>
                      <a:pt x="367940" y="1027726"/>
                    </a:cubicBezTo>
                    <a:cubicBezTo>
                      <a:pt x="364621" y="1030425"/>
                      <a:pt x="367940" y="1039060"/>
                      <a:pt x="363515" y="1039600"/>
                    </a:cubicBezTo>
                    <a:cubicBezTo>
                      <a:pt x="359090" y="1040140"/>
                      <a:pt x="354666" y="1036901"/>
                      <a:pt x="351347" y="1035282"/>
                    </a:cubicBezTo>
                    <a:cubicBezTo>
                      <a:pt x="348029" y="1034203"/>
                      <a:pt x="343604" y="1035282"/>
                      <a:pt x="340838" y="1033123"/>
                    </a:cubicBezTo>
                    <a:cubicBezTo>
                      <a:pt x="335861" y="1030964"/>
                      <a:pt x="336414" y="1022329"/>
                      <a:pt x="324246" y="1025567"/>
                    </a:cubicBezTo>
                    <a:cubicBezTo>
                      <a:pt x="320927" y="1026107"/>
                      <a:pt x="318715" y="1029345"/>
                      <a:pt x="315396" y="1030425"/>
                    </a:cubicBezTo>
                    <a:cubicBezTo>
                      <a:pt x="313184" y="1030964"/>
                      <a:pt x="308206" y="1030425"/>
                      <a:pt x="307100" y="1030964"/>
                    </a:cubicBezTo>
                    <a:cubicBezTo>
                      <a:pt x="306547" y="1031504"/>
                      <a:pt x="305441" y="1034742"/>
                      <a:pt x="305441" y="1035822"/>
                    </a:cubicBezTo>
                    <a:cubicBezTo>
                      <a:pt x="305994" y="1037981"/>
                      <a:pt x="309865" y="1040140"/>
                      <a:pt x="308206" y="1042838"/>
                    </a:cubicBezTo>
                    <a:cubicBezTo>
                      <a:pt x="307100" y="1044997"/>
                      <a:pt x="303781" y="1046077"/>
                      <a:pt x="302122" y="1048236"/>
                    </a:cubicBezTo>
                    <a:cubicBezTo>
                      <a:pt x="298250" y="1053093"/>
                      <a:pt x="300463" y="1062268"/>
                      <a:pt x="293826" y="1066586"/>
                    </a:cubicBezTo>
                    <a:cubicBezTo>
                      <a:pt x="293272" y="1067126"/>
                      <a:pt x="289954" y="1068205"/>
                      <a:pt x="288848" y="1068205"/>
                    </a:cubicBezTo>
                    <a:cubicBezTo>
                      <a:pt x="288295" y="1067666"/>
                      <a:pt x="286635" y="1066586"/>
                      <a:pt x="286635" y="1065507"/>
                    </a:cubicBezTo>
                    <a:cubicBezTo>
                      <a:pt x="286635" y="1064967"/>
                      <a:pt x="288295" y="1062808"/>
                      <a:pt x="288848" y="1062268"/>
                    </a:cubicBezTo>
                    <a:cubicBezTo>
                      <a:pt x="291060" y="1058490"/>
                      <a:pt x="290507" y="1053093"/>
                      <a:pt x="292166" y="1048775"/>
                    </a:cubicBezTo>
                    <a:cubicBezTo>
                      <a:pt x="292166" y="1048236"/>
                      <a:pt x="293272" y="1046616"/>
                      <a:pt x="293272" y="1045537"/>
                    </a:cubicBezTo>
                    <a:cubicBezTo>
                      <a:pt x="293272" y="1043378"/>
                      <a:pt x="291060" y="1042838"/>
                      <a:pt x="289401" y="1042838"/>
                    </a:cubicBezTo>
                    <a:cubicBezTo>
                      <a:pt x="286082" y="1042838"/>
                      <a:pt x="283870" y="1044997"/>
                      <a:pt x="281104" y="1046616"/>
                    </a:cubicBezTo>
                    <a:cubicBezTo>
                      <a:pt x="276127" y="1048775"/>
                      <a:pt x="270596" y="1050394"/>
                      <a:pt x="266171" y="1053633"/>
                    </a:cubicBezTo>
                    <a:cubicBezTo>
                      <a:pt x="260640" y="1056871"/>
                      <a:pt x="257875" y="1062808"/>
                      <a:pt x="252344" y="1066046"/>
                    </a:cubicBezTo>
                    <a:cubicBezTo>
                      <a:pt x="250131" y="1067126"/>
                      <a:pt x="241282" y="1069824"/>
                      <a:pt x="239069" y="1070364"/>
                    </a:cubicBezTo>
                    <a:cubicBezTo>
                      <a:pt x="236857" y="1070364"/>
                      <a:pt x="231879" y="1069824"/>
                      <a:pt x="231879" y="1067126"/>
                    </a:cubicBezTo>
                    <a:cubicBezTo>
                      <a:pt x="231326" y="1066046"/>
                      <a:pt x="231879" y="1064427"/>
                      <a:pt x="232432" y="1063888"/>
                    </a:cubicBezTo>
                    <a:cubicBezTo>
                      <a:pt x="232985" y="1062808"/>
                      <a:pt x="240729" y="1058490"/>
                      <a:pt x="242388" y="1057411"/>
                    </a:cubicBezTo>
                    <a:cubicBezTo>
                      <a:pt x="245153" y="1055252"/>
                      <a:pt x="247919" y="1051474"/>
                      <a:pt x="251237" y="1049855"/>
                    </a:cubicBezTo>
                    <a:cubicBezTo>
                      <a:pt x="252897" y="1048775"/>
                      <a:pt x="255662" y="1049855"/>
                      <a:pt x="257875" y="1048775"/>
                    </a:cubicBezTo>
                    <a:cubicBezTo>
                      <a:pt x="262299" y="1047696"/>
                      <a:pt x="265618" y="1044997"/>
                      <a:pt x="269490" y="1043378"/>
                    </a:cubicBezTo>
                    <a:cubicBezTo>
                      <a:pt x="272808" y="1042299"/>
                      <a:pt x="276680" y="1041759"/>
                      <a:pt x="279998" y="1040140"/>
                    </a:cubicBezTo>
                    <a:cubicBezTo>
                      <a:pt x="285529" y="1036362"/>
                      <a:pt x="281658" y="1029885"/>
                      <a:pt x="286635" y="1028805"/>
                    </a:cubicBezTo>
                    <a:cubicBezTo>
                      <a:pt x="288848" y="1027726"/>
                      <a:pt x="291060" y="1029345"/>
                      <a:pt x="293272" y="1028805"/>
                    </a:cubicBezTo>
                    <a:cubicBezTo>
                      <a:pt x="297144" y="1028266"/>
                      <a:pt x="298250" y="1015852"/>
                      <a:pt x="300463" y="1012614"/>
                    </a:cubicBezTo>
                    <a:cubicBezTo>
                      <a:pt x="301569" y="1010995"/>
                      <a:pt x="302675" y="1010995"/>
                      <a:pt x="302122" y="1008836"/>
                    </a:cubicBezTo>
                    <a:cubicBezTo>
                      <a:pt x="301016" y="1002899"/>
                      <a:pt x="279445" y="1012614"/>
                      <a:pt x="275574" y="1014233"/>
                    </a:cubicBezTo>
                    <a:cubicBezTo>
                      <a:pt x="272808" y="1015312"/>
                      <a:pt x="271149" y="1015852"/>
                      <a:pt x="268383" y="1016392"/>
                    </a:cubicBezTo>
                    <a:cubicBezTo>
                      <a:pt x="261193" y="1018011"/>
                      <a:pt x="245153" y="1027726"/>
                      <a:pt x="235751" y="1030425"/>
                    </a:cubicBezTo>
                    <a:cubicBezTo>
                      <a:pt x="231879" y="1031504"/>
                      <a:pt x="224689" y="1029885"/>
                      <a:pt x="224136" y="1029885"/>
                    </a:cubicBezTo>
                    <a:cubicBezTo>
                      <a:pt x="221924" y="1030964"/>
                      <a:pt x="216946" y="1037441"/>
                      <a:pt x="215286" y="1037441"/>
                    </a:cubicBezTo>
                    <a:cubicBezTo>
                      <a:pt x="208096" y="1039060"/>
                      <a:pt x="207543" y="1025027"/>
                      <a:pt x="210309" y="1021789"/>
                    </a:cubicBezTo>
                    <a:cubicBezTo>
                      <a:pt x="216946" y="1014233"/>
                      <a:pt x="221371" y="1018011"/>
                      <a:pt x="229114" y="1019630"/>
                    </a:cubicBezTo>
                    <a:cubicBezTo>
                      <a:pt x="231879" y="1015312"/>
                      <a:pt x="234645" y="1010455"/>
                      <a:pt x="233539" y="1005597"/>
                    </a:cubicBezTo>
                    <a:cubicBezTo>
                      <a:pt x="232985" y="1003978"/>
                      <a:pt x="231326" y="999660"/>
                      <a:pt x="230220" y="999121"/>
                    </a:cubicBezTo>
                    <a:cubicBezTo>
                      <a:pt x="228561" y="998041"/>
                      <a:pt x="222477" y="998581"/>
                      <a:pt x="220264" y="997502"/>
                    </a:cubicBezTo>
                    <a:cubicBezTo>
                      <a:pt x="216393" y="996422"/>
                      <a:pt x="209756" y="990485"/>
                      <a:pt x="205884" y="991565"/>
                    </a:cubicBezTo>
                    <a:cubicBezTo>
                      <a:pt x="202565" y="992104"/>
                      <a:pt x="200353" y="996962"/>
                      <a:pt x="195928" y="993184"/>
                    </a:cubicBezTo>
                    <a:cubicBezTo>
                      <a:pt x="194822" y="992104"/>
                      <a:pt x="193716" y="985628"/>
                      <a:pt x="193163" y="984008"/>
                    </a:cubicBezTo>
                    <a:cubicBezTo>
                      <a:pt x="192610" y="982389"/>
                      <a:pt x="191504" y="981310"/>
                      <a:pt x="190950" y="979691"/>
                    </a:cubicBezTo>
                    <a:cubicBezTo>
                      <a:pt x="189844" y="977532"/>
                      <a:pt x="190950" y="971055"/>
                      <a:pt x="189844" y="969436"/>
                    </a:cubicBezTo>
                    <a:cubicBezTo>
                      <a:pt x="189291" y="968356"/>
                      <a:pt x="184866" y="964578"/>
                      <a:pt x="183760" y="963499"/>
                    </a:cubicBezTo>
                    <a:cubicBezTo>
                      <a:pt x="182101" y="962959"/>
                      <a:pt x="179336" y="962959"/>
                      <a:pt x="177676" y="961880"/>
                    </a:cubicBezTo>
                    <a:cubicBezTo>
                      <a:pt x="181548" y="958641"/>
                      <a:pt x="186526" y="957022"/>
                      <a:pt x="189291" y="952165"/>
                    </a:cubicBezTo>
                    <a:cubicBezTo>
                      <a:pt x="192057" y="946228"/>
                      <a:pt x="190950" y="939751"/>
                      <a:pt x="189291" y="933274"/>
                    </a:cubicBezTo>
                    <a:cubicBezTo>
                      <a:pt x="189291" y="932195"/>
                      <a:pt x="188738" y="930576"/>
                      <a:pt x="187632" y="929496"/>
                    </a:cubicBezTo>
                    <a:cubicBezTo>
                      <a:pt x="186526" y="927877"/>
                      <a:pt x="168274" y="921940"/>
                      <a:pt x="165508" y="921401"/>
                    </a:cubicBezTo>
                    <a:cubicBezTo>
                      <a:pt x="159977" y="920321"/>
                      <a:pt x="146703" y="922480"/>
                      <a:pt x="142831" y="919781"/>
                    </a:cubicBezTo>
                    <a:cubicBezTo>
                      <a:pt x="139513" y="917622"/>
                      <a:pt x="134535" y="907368"/>
                      <a:pt x="132876" y="906288"/>
                    </a:cubicBezTo>
                    <a:cubicBezTo>
                      <a:pt x="131770" y="905749"/>
                      <a:pt x="130663" y="906288"/>
                      <a:pt x="129004" y="906288"/>
                    </a:cubicBezTo>
                    <a:cubicBezTo>
                      <a:pt x="120708" y="907907"/>
                      <a:pt x="120708" y="917083"/>
                      <a:pt x="115730" y="917622"/>
                    </a:cubicBezTo>
                    <a:cubicBezTo>
                      <a:pt x="112964" y="918162"/>
                      <a:pt x="88628" y="910606"/>
                      <a:pt x="85863" y="908447"/>
                    </a:cubicBezTo>
                    <a:lnTo>
                      <a:pt x="85863" y="906828"/>
                    </a:lnTo>
                    <a:cubicBezTo>
                      <a:pt x="85310" y="906288"/>
                      <a:pt x="87522" y="899812"/>
                      <a:pt x="88075" y="899272"/>
                    </a:cubicBezTo>
                    <a:cubicBezTo>
                      <a:pt x="90288" y="895494"/>
                      <a:pt x="94712" y="901431"/>
                      <a:pt x="97478" y="896573"/>
                    </a:cubicBezTo>
                    <a:cubicBezTo>
                      <a:pt x="98031" y="895494"/>
                      <a:pt x="100243" y="889017"/>
                      <a:pt x="100243" y="887938"/>
                    </a:cubicBezTo>
                    <a:cubicBezTo>
                      <a:pt x="100796" y="883620"/>
                      <a:pt x="89182" y="881461"/>
                      <a:pt x="86416" y="877143"/>
                    </a:cubicBezTo>
                    <a:cubicBezTo>
                      <a:pt x="85310" y="875524"/>
                      <a:pt x="84757" y="866888"/>
                      <a:pt x="85310" y="864730"/>
                    </a:cubicBezTo>
                    <a:cubicBezTo>
                      <a:pt x="87522" y="858793"/>
                      <a:pt x="100243" y="861491"/>
                      <a:pt x="104115" y="863650"/>
                    </a:cubicBezTo>
                    <a:cubicBezTo>
                      <a:pt x="106327" y="865269"/>
                      <a:pt x="111858" y="873365"/>
                      <a:pt x="112411" y="876064"/>
                    </a:cubicBezTo>
                    <a:cubicBezTo>
                      <a:pt x="113518" y="879842"/>
                      <a:pt x="109646" y="880921"/>
                      <a:pt x="112411" y="887398"/>
                    </a:cubicBezTo>
                    <a:cubicBezTo>
                      <a:pt x="112964" y="888477"/>
                      <a:pt x="114624" y="891176"/>
                      <a:pt x="115730" y="891716"/>
                    </a:cubicBezTo>
                    <a:cubicBezTo>
                      <a:pt x="120708" y="892795"/>
                      <a:pt x="118495" y="886319"/>
                      <a:pt x="121261" y="885239"/>
                    </a:cubicBezTo>
                    <a:cubicBezTo>
                      <a:pt x="122920" y="884699"/>
                      <a:pt x="126239" y="888477"/>
                      <a:pt x="132876" y="886858"/>
                    </a:cubicBezTo>
                    <a:cubicBezTo>
                      <a:pt x="135088" y="886319"/>
                      <a:pt x="153893" y="876603"/>
                      <a:pt x="154999" y="874984"/>
                    </a:cubicBezTo>
                    <a:cubicBezTo>
                      <a:pt x="155553" y="874445"/>
                      <a:pt x="156659" y="872286"/>
                      <a:pt x="156659" y="871746"/>
                    </a:cubicBezTo>
                    <a:cubicBezTo>
                      <a:pt x="156659" y="867428"/>
                      <a:pt x="143938" y="874445"/>
                      <a:pt x="140066" y="872286"/>
                    </a:cubicBezTo>
                    <a:cubicBezTo>
                      <a:pt x="137854" y="871206"/>
                      <a:pt x="123473" y="855015"/>
                      <a:pt x="121814" y="852316"/>
                    </a:cubicBezTo>
                    <a:cubicBezTo>
                      <a:pt x="116283" y="841521"/>
                      <a:pt x="126792" y="843141"/>
                      <a:pt x="129557" y="842061"/>
                    </a:cubicBezTo>
                    <a:cubicBezTo>
                      <a:pt x="133429" y="839902"/>
                      <a:pt x="130110" y="833965"/>
                      <a:pt x="131770" y="830187"/>
                    </a:cubicBezTo>
                    <a:cubicBezTo>
                      <a:pt x="132876" y="826949"/>
                      <a:pt x="137854" y="828568"/>
                      <a:pt x="137301" y="819933"/>
                    </a:cubicBezTo>
                    <a:cubicBezTo>
                      <a:pt x="137301" y="819393"/>
                      <a:pt x="137301" y="818313"/>
                      <a:pt x="136747" y="817774"/>
                    </a:cubicBezTo>
                    <a:cubicBezTo>
                      <a:pt x="134535" y="814535"/>
                      <a:pt x="125686" y="821012"/>
                      <a:pt x="120155" y="817234"/>
                    </a:cubicBezTo>
                    <a:cubicBezTo>
                      <a:pt x="112964" y="812376"/>
                      <a:pt x="119602" y="804820"/>
                      <a:pt x="115730" y="799963"/>
                    </a:cubicBezTo>
                    <a:cubicBezTo>
                      <a:pt x="112964" y="795645"/>
                      <a:pt x="107434" y="791867"/>
                      <a:pt x="103562" y="788629"/>
                    </a:cubicBezTo>
                    <a:cubicBezTo>
                      <a:pt x="100796" y="787009"/>
                      <a:pt x="98031" y="785930"/>
                      <a:pt x="95819" y="784311"/>
                    </a:cubicBezTo>
                    <a:cubicBezTo>
                      <a:pt x="95266" y="783231"/>
                      <a:pt x="94712" y="782692"/>
                      <a:pt x="94712" y="781612"/>
                    </a:cubicBezTo>
                    <a:cubicBezTo>
                      <a:pt x="94159" y="780533"/>
                      <a:pt x="95266" y="776215"/>
                      <a:pt x="95819" y="775136"/>
                    </a:cubicBezTo>
                    <a:cubicBezTo>
                      <a:pt x="96372" y="771897"/>
                      <a:pt x="99690" y="765420"/>
                      <a:pt x="101903" y="762722"/>
                    </a:cubicBezTo>
                    <a:cubicBezTo>
                      <a:pt x="105774" y="757325"/>
                      <a:pt x="118495" y="750848"/>
                      <a:pt x="115177" y="742752"/>
                    </a:cubicBezTo>
                    <a:cubicBezTo>
                      <a:pt x="114624" y="741133"/>
                      <a:pt x="112964" y="741133"/>
                      <a:pt x="111305" y="741133"/>
                    </a:cubicBezTo>
                    <a:cubicBezTo>
                      <a:pt x="98031" y="740593"/>
                      <a:pt x="92500" y="749229"/>
                      <a:pt x="81438" y="754626"/>
                    </a:cubicBezTo>
                    <a:cubicBezTo>
                      <a:pt x="77013" y="757325"/>
                      <a:pt x="48806" y="770278"/>
                      <a:pt x="45487" y="770818"/>
                    </a:cubicBezTo>
                    <a:cubicBezTo>
                      <a:pt x="44381" y="770818"/>
                      <a:pt x="41063" y="769738"/>
                      <a:pt x="39956" y="768659"/>
                    </a:cubicBezTo>
                    <a:cubicBezTo>
                      <a:pt x="38297" y="767579"/>
                      <a:pt x="36085" y="746530"/>
                      <a:pt x="35532" y="743292"/>
                    </a:cubicBezTo>
                    <a:cubicBezTo>
                      <a:pt x="34978" y="735196"/>
                      <a:pt x="33319" y="726560"/>
                      <a:pt x="34425" y="718465"/>
                    </a:cubicBezTo>
                    <a:cubicBezTo>
                      <a:pt x="34978" y="706051"/>
                      <a:pt x="43275" y="708750"/>
                      <a:pt x="46040" y="704432"/>
                    </a:cubicBezTo>
                    <a:cubicBezTo>
                      <a:pt x="49912" y="697415"/>
                      <a:pt x="48253" y="688780"/>
                      <a:pt x="51571" y="681763"/>
                    </a:cubicBezTo>
                    <a:cubicBezTo>
                      <a:pt x="52677" y="679604"/>
                      <a:pt x="55443" y="677985"/>
                      <a:pt x="56549" y="676366"/>
                    </a:cubicBezTo>
                    <a:cubicBezTo>
                      <a:pt x="62080" y="669889"/>
                      <a:pt x="64845" y="661794"/>
                      <a:pt x="71483" y="655857"/>
                    </a:cubicBezTo>
                    <a:cubicBezTo>
                      <a:pt x="78120" y="650459"/>
                      <a:pt x="86969" y="648840"/>
                      <a:pt x="93606" y="643983"/>
                    </a:cubicBezTo>
                    <a:cubicBezTo>
                      <a:pt x="96372" y="641824"/>
                      <a:pt x="98031" y="639125"/>
                      <a:pt x="100796" y="637506"/>
                    </a:cubicBezTo>
                    <a:cubicBezTo>
                      <a:pt x="103009" y="635887"/>
                      <a:pt x="110199" y="632649"/>
                      <a:pt x="112411" y="632109"/>
                    </a:cubicBezTo>
                    <a:cubicBezTo>
                      <a:pt x="121814" y="630490"/>
                      <a:pt x="117389" y="640744"/>
                      <a:pt x="127898" y="643983"/>
                    </a:cubicBezTo>
                    <a:cubicBezTo>
                      <a:pt x="134535" y="646142"/>
                      <a:pt x="150575" y="642903"/>
                      <a:pt x="156659" y="639125"/>
                    </a:cubicBezTo>
                    <a:cubicBezTo>
                      <a:pt x="163849" y="634807"/>
                      <a:pt x="176017" y="628331"/>
                      <a:pt x="162190" y="622394"/>
                    </a:cubicBezTo>
                    <a:cubicBezTo>
                      <a:pt x="161083" y="621854"/>
                      <a:pt x="159977" y="621854"/>
                      <a:pt x="159424" y="621314"/>
                    </a:cubicBezTo>
                    <a:cubicBezTo>
                      <a:pt x="157212" y="619155"/>
                      <a:pt x="159424" y="613219"/>
                      <a:pt x="160530" y="611599"/>
                    </a:cubicBezTo>
                    <a:cubicBezTo>
                      <a:pt x="162190" y="609440"/>
                      <a:pt x="168274" y="607821"/>
                      <a:pt x="170486" y="607821"/>
                    </a:cubicBezTo>
                    <a:cubicBezTo>
                      <a:pt x="172145" y="607821"/>
                      <a:pt x="178782" y="608901"/>
                      <a:pt x="179889" y="609440"/>
                    </a:cubicBezTo>
                    <a:cubicBezTo>
                      <a:pt x="184313" y="612139"/>
                      <a:pt x="177123" y="620235"/>
                      <a:pt x="179889" y="621854"/>
                    </a:cubicBezTo>
                    <a:cubicBezTo>
                      <a:pt x="180995" y="622394"/>
                      <a:pt x="187632" y="624013"/>
                      <a:pt x="188738" y="624013"/>
                    </a:cubicBezTo>
                    <a:cubicBezTo>
                      <a:pt x="190397" y="623473"/>
                      <a:pt x="193716" y="621314"/>
                      <a:pt x="195375" y="620775"/>
                    </a:cubicBezTo>
                    <a:cubicBezTo>
                      <a:pt x="198141" y="619155"/>
                      <a:pt x="226348" y="609980"/>
                      <a:pt x="228008" y="609980"/>
                    </a:cubicBezTo>
                    <a:cubicBezTo>
                      <a:pt x="230773" y="609980"/>
                      <a:pt x="233539" y="611060"/>
                      <a:pt x="236304" y="610520"/>
                    </a:cubicBezTo>
                    <a:cubicBezTo>
                      <a:pt x="243494" y="609440"/>
                      <a:pt x="249578" y="604043"/>
                      <a:pt x="256768" y="601884"/>
                    </a:cubicBezTo>
                    <a:cubicBezTo>
                      <a:pt x="261193" y="600805"/>
                      <a:pt x="266724" y="601884"/>
                      <a:pt x="271149" y="600265"/>
                    </a:cubicBezTo>
                    <a:cubicBezTo>
                      <a:pt x="272808" y="599725"/>
                      <a:pt x="277786" y="594328"/>
                      <a:pt x="278339" y="592169"/>
                    </a:cubicBezTo>
                    <a:cubicBezTo>
                      <a:pt x="278892" y="590550"/>
                      <a:pt x="278339" y="587852"/>
                      <a:pt x="278339" y="585693"/>
                    </a:cubicBezTo>
                    <a:cubicBezTo>
                      <a:pt x="266171" y="581915"/>
                      <a:pt x="259534" y="592709"/>
                      <a:pt x="250684" y="587852"/>
                    </a:cubicBezTo>
                    <a:cubicBezTo>
                      <a:pt x="249578" y="585693"/>
                      <a:pt x="249578" y="580835"/>
                      <a:pt x="250684" y="579216"/>
                    </a:cubicBezTo>
                    <a:cubicBezTo>
                      <a:pt x="251791" y="576517"/>
                      <a:pt x="261746" y="567882"/>
                      <a:pt x="264512" y="566263"/>
                    </a:cubicBezTo>
                    <a:cubicBezTo>
                      <a:pt x="274467" y="560326"/>
                      <a:pt x="286635" y="555468"/>
                      <a:pt x="297697" y="552230"/>
                    </a:cubicBezTo>
                    <a:cubicBezTo>
                      <a:pt x="305994" y="549531"/>
                      <a:pt x="314843" y="549531"/>
                      <a:pt x="322586" y="546833"/>
                    </a:cubicBezTo>
                    <a:cubicBezTo>
                      <a:pt x="325352" y="545753"/>
                      <a:pt x="336414" y="539816"/>
                      <a:pt x="338073" y="538197"/>
                    </a:cubicBezTo>
                    <a:cubicBezTo>
                      <a:pt x="338626" y="537118"/>
                      <a:pt x="340285" y="533339"/>
                      <a:pt x="339732" y="532260"/>
                    </a:cubicBezTo>
                    <a:cubicBezTo>
                      <a:pt x="339732" y="531181"/>
                      <a:pt x="339179" y="530641"/>
                      <a:pt x="338626" y="530641"/>
                    </a:cubicBezTo>
                    <a:cubicBezTo>
                      <a:pt x="337520" y="530101"/>
                      <a:pt x="318162" y="532800"/>
                      <a:pt x="315396" y="533339"/>
                    </a:cubicBezTo>
                    <a:cubicBezTo>
                      <a:pt x="306547" y="535498"/>
                      <a:pt x="297697" y="540896"/>
                      <a:pt x="288295" y="541435"/>
                    </a:cubicBezTo>
                    <a:cubicBezTo>
                      <a:pt x="284423" y="541975"/>
                      <a:pt x="260087" y="531720"/>
                      <a:pt x="256215" y="529022"/>
                    </a:cubicBezTo>
                    <a:cubicBezTo>
                      <a:pt x="252344" y="526323"/>
                      <a:pt x="251237" y="519846"/>
                      <a:pt x="251237" y="515529"/>
                    </a:cubicBezTo>
                    <a:cubicBezTo>
                      <a:pt x="251237" y="511751"/>
                      <a:pt x="252344" y="498797"/>
                      <a:pt x="254556" y="496099"/>
                    </a:cubicBezTo>
                    <a:cubicBezTo>
                      <a:pt x="256215" y="493940"/>
                      <a:pt x="264512" y="492860"/>
                      <a:pt x="267277" y="492320"/>
                    </a:cubicBezTo>
                    <a:cubicBezTo>
                      <a:pt x="272255" y="491781"/>
                      <a:pt x="277233" y="493400"/>
                      <a:pt x="282211" y="492860"/>
                    </a:cubicBezTo>
                    <a:cubicBezTo>
                      <a:pt x="299356" y="490701"/>
                      <a:pt x="317055" y="488003"/>
                      <a:pt x="333648" y="484225"/>
                    </a:cubicBezTo>
                    <a:cubicBezTo>
                      <a:pt x="348029" y="480986"/>
                      <a:pt x="349688" y="469652"/>
                      <a:pt x="356325" y="468033"/>
                    </a:cubicBezTo>
                    <a:cubicBezTo>
                      <a:pt x="365174" y="466414"/>
                      <a:pt x="374577" y="472890"/>
                      <a:pt x="383426" y="471811"/>
                    </a:cubicBezTo>
                    <a:cubicBezTo>
                      <a:pt x="385086" y="471811"/>
                      <a:pt x="386192" y="470732"/>
                      <a:pt x="387851" y="470192"/>
                    </a:cubicBezTo>
                    <a:cubicBezTo>
                      <a:pt x="391170" y="470192"/>
                      <a:pt x="394488" y="471271"/>
                      <a:pt x="397807" y="471271"/>
                    </a:cubicBezTo>
                    <a:cubicBezTo>
                      <a:pt x="403891" y="470732"/>
                      <a:pt x="412187" y="469112"/>
                      <a:pt x="417718" y="466953"/>
                    </a:cubicBezTo>
                    <a:cubicBezTo>
                      <a:pt x="429333" y="463175"/>
                      <a:pt x="439842" y="455080"/>
                      <a:pt x="445926" y="444825"/>
                    </a:cubicBezTo>
                    <a:cubicBezTo>
                      <a:pt x="450904" y="436729"/>
                      <a:pt x="444267" y="425935"/>
                      <a:pt x="451457" y="418378"/>
                    </a:cubicBezTo>
                    <a:cubicBezTo>
                      <a:pt x="462519" y="407584"/>
                      <a:pt x="476346" y="399488"/>
                      <a:pt x="486855" y="387614"/>
                    </a:cubicBezTo>
                    <a:cubicBezTo>
                      <a:pt x="494045" y="378979"/>
                      <a:pt x="496810" y="366565"/>
                      <a:pt x="504001" y="357390"/>
                    </a:cubicBezTo>
                    <a:cubicBezTo>
                      <a:pt x="507872" y="351992"/>
                      <a:pt x="515615" y="349834"/>
                      <a:pt x="519487" y="343897"/>
                    </a:cubicBezTo>
                    <a:cubicBezTo>
                      <a:pt x="522253" y="340119"/>
                      <a:pt x="524465" y="332562"/>
                      <a:pt x="527784" y="329864"/>
                    </a:cubicBezTo>
                    <a:cubicBezTo>
                      <a:pt x="536633" y="322308"/>
                      <a:pt x="548248" y="318530"/>
                      <a:pt x="557650" y="311513"/>
                    </a:cubicBezTo>
                    <a:cubicBezTo>
                      <a:pt x="564841" y="305576"/>
                      <a:pt x="573690" y="292623"/>
                      <a:pt x="581433" y="288845"/>
                    </a:cubicBezTo>
                    <a:cubicBezTo>
                      <a:pt x="599685" y="281289"/>
                      <a:pt x="619044" y="276431"/>
                      <a:pt x="638402" y="273193"/>
                    </a:cubicBezTo>
                    <a:cubicBezTo>
                      <a:pt x="650017" y="271034"/>
                      <a:pt x="661079" y="269954"/>
                      <a:pt x="672694" y="265637"/>
                    </a:cubicBezTo>
                    <a:cubicBezTo>
                      <a:pt x="681543" y="262398"/>
                      <a:pt x="694264" y="258620"/>
                      <a:pt x="702007" y="253223"/>
                    </a:cubicBezTo>
                    <a:cubicBezTo>
                      <a:pt x="707538" y="249445"/>
                      <a:pt x="710304" y="229475"/>
                      <a:pt x="717494" y="228936"/>
                    </a:cubicBezTo>
                    <a:cubicBezTo>
                      <a:pt x="719706" y="228396"/>
                      <a:pt x="727450" y="230555"/>
                      <a:pt x="729109" y="232174"/>
                    </a:cubicBezTo>
                    <a:cubicBezTo>
                      <a:pt x="739065" y="240270"/>
                      <a:pt x="738512" y="255382"/>
                      <a:pt x="752892" y="260779"/>
                    </a:cubicBezTo>
                    <a:cubicBezTo>
                      <a:pt x="762848" y="264557"/>
                      <a:pt x="778334" y="263478"/>
                      <a:pt x="787184" y="257541"/>
                    </a:cubicBezTo>
                    <a:cubicBezTo>
                      <a:pt x="793821" y="253223"/>
                      <a:pt x="798246" y="248905"/>
                      <a:pt x="805989" y="244048"/>
                    </a:cubicBezTo>
                    <a:cubicBezTo>
                      <a:pt x="807648" y="242968"/>
                      <a:pt x="809307" y="241349"/>
                      <a:pt x="810967" y="240809"/>
                    </a:cubicBezTo>
                    <a:cubicBezTo>
                      <a:pt x="812626" y="240809"/>
                      <a:pt x="820922" y="243508"/>
                      <a:pt x="822028" y="244048"/>
                    </a:cubicBezTo>
                    <a:cubicBezTo>
                      <a:pt x="829772" y="248905"/>
                      <a:pt x="825347" y="252683"/>
                      <a:pt x="829219" y="258081"/>
                    </a:cubicBezTo>
                    <a:cubicBezTo>
                      <a:pt x="834196" y="263478"/>
                      <a:pt x="841940" y="269954"/>
                      <a:pt x="849130" y="272113"/>
                    </a:cubicBezTo>
                    <a:cubicBezTo>
                      <a:pt x="851895" y="273193"/>
                      <a:pt x="860745" y="274812"/>
                      <a:pt x="863510" y="274272"/>
                    </a:cubicBezTo>
                    <a:cubicBezTo>
                      <a:pt x="877891" y="273193"/>
                      <a:pt x="876785" y="259160"/>
                      <a:pt x="880656" y="255922"/>
                    </a:cubicBezTo>
                    <a:cubicBezTo>
                      <a:pt x="881762" y="254842"/>
                      <a:pt x="890612" y="252144"/>
                      <a:pt x="892271" y="252144"/>
                    </a:cubicBezTo>
                    <a:cubicBezTo>
                      <a:pt x="895590" y="251604"/>
                      <a:pt x="902227" y="253763"/>
                      <a:pt x="903886" y="253763"/>
                    </a:cubicBezTo>
                    <a:cubicBezTo>
                      <a:pt x="904992" y="253223"/>
                      <a:pt x="905545" y="252683"/>
                      <a:pt x="906652" y="252683"/>
                    </a:cubicBezTo>
                    <a:cubicBezTo>
                      <a:pt x="911629" y="251604"/>
                      <a:pt x="917713" y="259700"/>
                      <a:pt x="921585" y="261859"/>
                    </a:cubicBezTo>
                    <a:cubicBezTo>
                      <a:pt x="928222" y="265637"/>
                      <a:pt x="932647" y="260239"/>
                      <a:pt x="938731" y="260239"/>
                    </a:cubicBezTo>
                    <a:cubicBezTo>
                      <a:pt x="945921" y="260239"/>
                      <a:pt x="952558" y="264018"/>
                      <a:pt x="959195" y="263478"/>
                    </a:cubicBezTo>
                    <a:cubicBezTo>
                      <a:pt x="970257" y="262938"/>
                      <a:pt x="972469" y="248366"/>
                      <a:pt x="980213" y="245667"/>
                    </a:cubicBezTo>
                    <a:cubicBezTo>
                      <a:pt x="987956" y="243508"/>
                      <a:pt x="987403" y="252683"/>
                      <a:pt x="998465" y="252683"/>
                    </a:cubicBezTo>
                    <a:cubicBezTo>
                      <a:pt x="1002890" y="252683"/>
                      <a:pt x="1009527" y="250524"/>
                      <a:pt x="1013398" y="249445"/>
                    </a:cubicBezTo>
                    <a:cubicBezTo>
                      <a:pt x="1016717" y="248366"/>
                      <a:pt x="1019482" y="245667"/>
                      <a:pt x="1022801" y="245127"/>
                    </a:cubicBezTo>
                    <a:cubicBezTo>
                      <a:pt x="1028332" y="244048"/>
                      <a:pt x="1037734" y="245667"/>
                      <a:pt x="1042159" y="242968"/>
                    </a:cubicBezTo>
                    <a:cubicBezTo>
                      <a:pt x="1054327" y="237031"/>
                      <a:pt x="1067048" y="224078"/>
                      <a:pt x="1077557" y="214903"/>
                    </a:cubicBezTo>
                    <a:cubicBezTo>
                      <a:pt x="1080322" y="212204"/>
                      <a:pt x="1081982" y="208966"/>
                      <a:pt x="1085300" y="206807"/>
                    </a:cubicBezTo>
                    <a:cubicBezTo>
                      <a:pt x="1094150" y="200330"/>
                      <a:pt x="1104659" y="194393"/>
                      <a:pt x="1114614" y="190075"/>
                    </a:cubicBezTo>
                    <a:cubicBezTo>
                      <a:pt x="1127888" y="183599"/>
                      <a:pt x="1132313" y="187917"/>
                      <a:pt x="1142822" y="185758"/>
                    </a:cubicBezTo>
                    <a:cubicBezTo>
                      <a:pt x="1153331" y="183599"/>
                      <a:pt x="1162180" y="178741"/>
                      <a:pt x="1172136" y="176043"/>
                    </a:cubicBezTo>
                    <a:cubicBezTo>
                      <a:pt x="1174901" y="175503"/>
                      <a:pt x="1178220" y="175503"/>
                      <a:pt x="1180432" y="174423"/>
                    </a:cubicBezTo>
                    <a:cubicBezTo>
                      <a:pt x="1190388" y="169566"/>
                      <a:pt x="1199237" y="149056"/>
                      <a:pt x="1207534" y="140421"/>
                    </a:cubicBezTo>
                    <a:cubicBezTo>
                      <a:pt x="1211405" y="136643"/>
                      <a:pt x="1216383" y="133944"/>
                      <a:pt x="1220255" y="130166"/>
                    </a:cubicBezTo>
                    <a:cubicBezTo>
                      <a:pt x="1223573" y="126928"/>
                      <a:pt x="1225786" y="123150"/>
                      <a:pt x="1227998" y="119372"/>
                    </a:cubicBezTo>
                    <a:cubicBezTo>
                      <a:pt x="1245697" y="97783"/>
                      <a:pt x="1257865" y="89147"/>
                      <a:pt x="1265055" y="60542"/>
                    </a:cubicBezTo>
                    <a:lnTo>
                      <a:pt x="1293816" y="56224"/>
                    </a:lnTo>
                    <a:lnTo>
                      <a:pt x="1301559" y="39493"/>
                    </a:lnTo>
                    <a:lnTo>
                      <a:pt x="1341935" y="26539"/>
                    </a:lnTo>
                    <a:lnTo>
                      <a:pt x="1351891" y="3331"/>
                    </a:lnTo>
                    <a:lnTo>
                      <a:pt x="1362952" y="-447"/>
                    </a:lnTo>
                    <a:lnTo>
                      <a:pt x="1404987" y="13586"/>
                    </a:lnTo>
                    <a:lnTo>
                      <a:pt x="1405541" y="18443"/>
                    </a:lnTo>
                    <a:lnTo>
                      <a:pt x="1419368" y="22221"/>
                    </a:lnTo>
                    <a:lnTo>
                      <a:pt x="1426005" y="16285"/>
                    </a:lnTo>
                    <a:lnTo>
                      <a:pt x="1434301" y="17364"/>
                    </a:lnTo>
                    <a:lnTo>
                      <a:pt x="1440385" y="31397"/>
                    </a:lnTo>
                    <a:lnTo>
                      <a:pt x="1461956" y="33016"/>
                    </a:lnTo>
                    <a:lnTo>
                      <a:pt x="1473571" y="49208"/>
                    </a:lnTo>
                    <a:lnTo>
                      <a:pt x="1471359" y="73495"/>
                    </a:lnTo>
                    <a:cubicBezTo>
                      <a:pt x="1471359" y="76194"/>
                      <a:pt x="1470805" y="80512"/>
                      <a:pt x="1471912" y="82671"/>
                    </a:cubicBezTo>
                    <a:cubicBezTo>
                      <a:pt x="1473018" y="84829"/>
                      <a:pt x="1476336" y="85369"/>
                      <a:pt x="1477996" y="86988"/>
                    </a:cubicBezTo>
                    <a:cubicBezTo>
                      <a:pt x="1482973" y="92386"/>
                      <a:pt x="1478549" y="95084"/>
                      <a:pt x="1479655" y="99402"/>
                    </a:cubicBezTo>
                    <a:cubicBezTo>
                      <a:pt x="1480761" y="103720"/>
                      <a:pt x="1486292" y="104799"/>
                      <a:pt x="1487951" y="107498"/>
                    </a:cubicBezTo>
                    <a:cubicBezTo>
                      <a:pt x="1491270" y="111276"/>
                      <a:pt x="1492929" y="117213"/>
                      <a:pt x="1494588" y="122070"/>
                    </a:cubicBezTo>
                    <a:cubicBezTo>
                      <a:pt x="1495141" y="122070"/>
                      <a:pt x="1501226" y="125848"/>
                      <a:pt x="1503991" y="126388"/>
                    </a:cubicBezTo>
                    <a:cubicBezTo>
                      <a:pt x="1510628" y="127468"/>
                      <a:pt x="1518371" y="126928"/>
                      <a:pt x="1523902" y="123150"/>
                    </a:cubicBezTo>
                    <a:cubicBezTo>
                      <a:pt x="1530539" y="118832"/>
                      <a:pt x="1548791" y="101561"/>
                      <a:pt x="1555429" y="102101"/>
                    </a:cubicBezTo>
                    <a:cubicBezTo>
                      <a:pt x="1563172" y="102640"/>
                      <a:pt x="1574787" y="108577"/>
                      <a:pt x="1581977" y="110196"/>
                    </a:cubicBezTo>
                    <a:cubicBezTo>
                      <a:pt x="1588061" y="111816"/>
                      <a:pt x="1598017" y="113974"/>
                      <a:pt x="1604101" y="115594"/>
                    </a:cubicBezTo>
                    <a:cubicBezTo>
                      <a:pt x="1605207" y="115594"/>
                      <a:pt x="1605760" y="117213"/>
                      <a:pt x="1606313" y="117753"/>
                    </a:cubicBezTo>
                    <a:lnTo>
                      <a:pt x="1617375" y="126928"/>
                    </a:lnTo>
                    <a:lnTo>
                      <a:pt x="1591933" y="123689"/>
                    </a:lnTo>
                    <a:lnTo>
                      <a:pt x="1586955" y="138802"/>
                    </a:lnTo>
                    <a:lnTo>
                      <a:pt x="1591933" y="166867"/>
                    </a:lnTo>
                    <a:lnTo>
                      <a:pt x="1565384" y="191695"/>
                    </a:lnTo>
                    <a:lnTo>
                      <a:pt x="1577552" y="207886"/>
                    </a:lnTo>
                    <a:lnTo>
                      <a:pt x="1589167" y="213823"/>
                    </a:lnTo>
                    <a:lnTo>
                      <a:pt x="1593039" y="231634"/>
                    </a:lnTo>
                    <a:lnTo>
                      <a:pt x="1610738" y="237031"/>
                    </a:lnTo>
                    <a:lnTo>
                      <a:pt x="1634521" y="289385"/>
                    </a:lnTo>
                    <a:lnTo>
                      <a:pt x="1650560" y="285606"/>
                    </a:lnTo>
                    <a:lnTo>
                      <a:pt x="1654985" y="348754"/>
                    </a:lnTo>
                    <a:lnTo>
                      <a:pt x="1668259" y="349294"/>
                    </a:lnTo>
                    <a:lnTo>
                      <a:pt x="1677109" y="353612"/>
                    </a:lnTo>
                    <a:lnTo>
                      <a:pt x="1684852" y="347135"/>
                    </a:lnTo>
                    <a:lnTo>
                      <a:pt x="1691489" y="354151"/>
                    </a:lnTo>
                    <a:lnTo>
                      <a:pt x="1690383" y="362247"/>
                    </a:lnTo>
                    <a:lnTo>
                      <a:pt x="1697573" y="365486"/>
                    </a:lnTo>
                    <a:lnTo>
                      <a:pt x="1701445" y="382757"/>
                    </a:lnTo>
                    <a:lnTo>
                      <a:pt x="1730206" y="391932"/>
                    </a:lnTo>
                    <a:lnTo>
                      <a:pt x="1728546" y="408663"/>
                    </a:lnTo>
                    <a:lnTo>
                      <a:pt x="1719697" y="409743"/>
                    </a:lnTo>
                    <a:lnTo>
                      <a:pt x="1704210" y="436729"/>
                    </a:lnTo>
                    <a:lnTo>
                      <a:pt x="1701445" y="449143"/>
                    </a:lnTo>
                    <a:lnTo>
                      <a:pt x="1692595" y="445904"/>
                    </a:lnTo>
                    <a:lnTo>
                      <a:pt x="1687064" y="441047"/>
                    </a:lnTo>
                    <a:lnTo>
                      <a:pt x="1687618" y="431332"/>
                    </a:lnTo>
                    <a:lnTo>
                      <a:pt x="1683193" y="422156"/>
                    </a:lnTo>
                    <a:lnTo>
                      <a:pt x="1671025" y="421617"/>
                    </a:lnTo>
                    <a:lnTo>
                      <a:pt x="1662728" y="425935"/>
                    </a:lnTo>
                    <a:lnTo>
                      <a:pt x="1653879" y="441587"/>
                    </a:lnTo>
                    <a:lnTo>
                      <a:pt x="1624565" y="452921"/>
                    </a:lnTo>
                    <a:lnTo>
                      <a:pt x="1609078" y="452921"/>
                    </a:lnTo>
                    <a:lnTo>
                      <a:pt x="1599676" y="456699"/>
                    </a:lnTo>
                    <a:lnTo>
                      <a:pt x="1584189" y="457238"/>
                    </a:lnTo>
                    <a:lnTo>
                      <a:pt x="1570362" y="473430"/>
                    </a:lnTo>
                    <a:lnTo>
                      <a:pt x="1558747" y="473970"/>
                    </a:lnTo>
                    <a:lnTo>
                      <a:pt x="1550451" y="503655"/>
                    </a:lnTo>
                    <a:lnTo>
                      <a:pt x="1536070" y="520926"/>
                    </a:lnTo>
                    <a:close/>
                    <a:moveTo>
                      <a:pt x="136194" y="437269"/>
                    </a:moveTo>
                    <a:cubicBezTo>
                      <a:pt x="140066" y="441587"/>
                      <a:pt x="138960" y="448063"/>
                      <a:pt x="140619" y="452921"/>
                    </a:cubicBezTo>
                    <a:cubicBezTo>
                      <a:pt x="142831" y="457238"/>
                      <a:pt x="147256" y="458858"/>
                      <a:pt x="150022" y="462096"/>
                    </a:cubicBezTo>
                    <a:cubicBezTo>
                      <a:pt x="153340" y="465874"/>
                      <a:pt x="155553" y="470192"/>
                      <a:pt x="158871" y="473430"/>
                    </a:cubicBezTo>
                    <a:cubicBezTo>
                      <a:pt x="168827" y="483145"/>
                      <a:pt x="182101" y="489082"/>
                      <a:pt x="194822" y="494479"/>
                    </a:cubicBezTo>
                    <a:cubicBezTo>
                      <a:pt x="198141" y="495559"/>
                      <a:pt x="204225" y="497718"/>
                      <a:pt x="207543" y="498257"/>
                    </a:cubicBezTo>
                    <a:cubicBezTo>
                      <a:pt x="214180" y="498257"/>
                      <a:pt x="221371" y="495019"/>
                      <a:pt x="228008" y="493940"/>
                    </a:cubicBezTo>
                    <a:cubicBezTo>
                      <a:pt x="229667" y="493400"/>
                      <a:pt x="238516" y="493940"/>
                      <a:pt x="239623" y="495559"/>
                    </a:cubicBezTo>
                    <a:cubicBezTo>
                      <a:pt x="243494" y="499337"/>
                      <a:pt x="241835" y="518227"/>
                      <a:pt x="239623" y="523085"/>
                    </a:cubicBezTo>
                    <a:cubicBezTo>
                      <a:pt x="237963" y="526323"/>
                      <a:pt x="231326" y="530641"/>
                      <a:pt x="228008" y="531181"/>
                    </a:cubicBezTo>
                    <a:cubicBezTo>
                      <a:pt x="213627" y="536038"/>
                      <a:pt x="215286" y="527403"/>
                      <a:pt x="206437" y="528482"/>
                    </a:cubicBezTo>
                    <a:cubicBezTo>
                      <a:pt x="202565" y="529022"/>
                      <a:pt x="197588" y="532260"/>
                      <a:pt x="193716" y="533339"/>
                    </a:cubicBezTo>
                    <a:cubicBezTo>
                      <a:pt x="184866" y="536038"/>
                      <a:pt x="179889" y="534419"/>
                      <a:pt x="171039" y="540356"/>
                    </a:cubicBezTo>
                    <a:cubicBezTo>
                      <a:pt x="164955" y="543594"/>
                      <a:pt x="161083" y="548991"/>
                      <a:pt x="154999" y="552230"/>
                    </a:cubicBezTo>
                    <a:cubicBezTo>
                      <a:pt x="150575" y="554389"/>
                      <a:pt x="145597" y="554928"/>
                      <a:pt x="140619" y="556548"/>
                    </a:cubicBezTo>
                    <a:cubicBezTo>
                      <a:pt x="134535" y="558706"/>
                      <a:pt x="121261" y="563024"/>
                      <a:pt x="118495" y="569501"/>
                    </a:cubicBezTo>
                    <a:cubicBezTo>
                      <a:pt x="113518" y="579216"/>
                      <a:pt x="109646" y="601345"/>
                      <a:pt x="103009" y="609440"/>
                    </a:cubicBezTo>
                    <a:cubicBezTo>
                      <a:pt x="94712" y="619695"/>
                      <a:pt x="81991" y="627791"/>
                      <a:pt x="72036" y="636966"/>
                    </a:cubicBezTo>
                    <a:cubicBezTo>
                      <a:pt x="59868" y="647761"/>
                      <a:pt x="52124" y="663413"/>
                      <a:pt x="43828" y="676906"/>
                    </a:cubicBezTo>
                    <a:cubicBezTo>
                      <a:pt x="41063" y="681224"/>
                      <a:pt x="35532" y="692018"/>
                      <a:pt x="30554" y="692558"/>
                    </a:cubicBezTo>
                    <a:cubicBezTo>
                      <a:pt x="29448" y="692558"/>
                      <a:pt x="27788" y="692018"/>
                      <a:pt x="26682" y="690939"/>
                    </a:cubicBezTo>
                    <a:cubicBezTo>
                      <a:pt x="26129" y="690399"/>
                      <a:pt x="26129" y="676366"/>
                      <a:pt x="26682" y="674207"/>
                    </a:cubicBezTo>
                    <a:cubicBezTo>
                      <a:pt x="28341" y="662873"/>
                      <a:pt x="38850" y="652079"/>
                      <a:pt x="47700" y="645062"/>
                    </a:cubicBezTo>
                    <a:cubicBezTo>
                      <a:pt x="53784" y="640205"/>
                      <a:pt x="67611" y="633728"/>
                      <a:pt x="71483" y="629410"/>
                    </a:cubicBezTo>
                    <a:cubicBezTo>
                      <a:pt x="72589" y="628331"/>
                      <a:pt x="75354" y="621314"/>
                      <a:pt x="73142" y="620235"/>
                    </a:cubicBezTo>
                    <a:cubicBezTo>
                      <a:pt x="72036" y="619695"/>
                      <a:pt x="68717" y="619695"/>
                      <a:pt x="67611" y="620235"/>
                    </a:cubicBezTo>
                    <a:cubicBezTo>
                      <a:pt x="60421" y="621854"/>
                      <a:pt x="52677" y="628871"/>
                      <a:pt x="44934" y="631569"/>
                    </a:cubicBezTo>
                    <a:cubicBezTo>
                      <a:pt x="36085" y="634807"/>
                      <a:pt x="17280" y="637506"/>
                      <a:pt x="8983" y="632109"/>
                    </a:cubicBezTo>
                    <a:cubicBezTo>
                      <a:pt x="7877" y="631569"/>
                      <a:pt x="2346" y="620775"/>
                      <a:pt x="1240" y="618616"/>
                    </a:cubicBezTo>
                    <a:cubicBezTo>
                      <a:pt x="3452" y="613758"/>
                      <a:pt x="14514" y="592169"/>
                      <a:pt x="14514" y="588931"/>
                    </a:cubicBezTo>
                    <a:cubicBezTo>
                      <a:pt x="14514" y="580295"/>
                      <a:pt x="3452" y="562485"/>
                      <a:pt x="8430" y="550611"/>
                    </a:cubicBezTo>
                    <a:cubicBezTo>
                      <a:pt x="10642" y="546293"/>
                      <a:pt x="22257" y="542515"/>
                      <a:pt x="23917" y="539276"/>
                    </a:cubicBezTo>
                    <a:cubicBezTo>
                      <a:pt x="25023" y="537118"/>
                      <a:pt x="25023" y="534419"/>
                      <a:pt x="25023" y="532260"/>
                    </a:cubicBezTo>
                    <a:cubicBezTo>
                      <a:pt x="25023" y="505814"/>
                      <a:pt x="18939" y="512290"/>
                      <a:pt x="-972" y="504194"/>
                    </a:cubicBezTo>
                    <a:lnTo>
                      <a:pt x="2346" y="495019"/>
                    </a:lnTo>
                    <a:lnTo>
                      <a:pt x="18386" y="485304"/>
                    </a:lnTo>
                    <a:lnTo>
                      <a:pt x="21151" y="470192"/>
                    </a:lnTo>
                    <a:lnTo>
                      <a:pt x="39956" y="466414"/>
                    </a:lnTo>
                    <a:lnTo>
                      <a:pt x="53231" y="449143"/>
                    </a:lnTo>
                    <a:lnTo>
                      <a:pt x="66505" y="447523"/>
                    </a:lnTo>
                    <a:lnTo>
                      <a:pt x="73142" y="441587"/>
                    </a:lnTo>
                    <a:lnTo>
                      <a:pt x="104668" y="455080"/>
                    </a:lnTo>
                    <a:lnTo>
                      <a:pt x="111305" y="445904"/>
                    </a:lnTo>
                    <a:lnTo>
                      <a:pt x="124026" y="443745"/>
                    </a:lnTo>
                    <a:lnTo>
                      <a:pt x="125132" y="436729"/>
                    </a:lnTo>
                    <a:lnTo>
                      <a:pt x="136194" y="437269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0" name="Freeform 1052">
                <a:extLst>
                  <a:ext uri="{FF2B5EF4-FFF2-40B4-BE49-F238E27FC236}">
                    <a16:creationId xmlns:a16="http://schemas.microsoft.com/office/drawing/2014/main" id="{BD6A61BF-E208-40B1-894A-156CBEF7FF4C}"/>
                  </a:ext>
                </a:extLst>
              </p:cNvPr>
              <p:cNvSpPr/>
              <p:nvPr/>
            </p:nvSpPr>
            <p:spPr>
              <a:xfrm>
                <a:off x="8873498" y="4704070"/>
                <a:ext cx="514511" cy="797932"/>
              </a:xfrm>
              <a:custGeom>
                <a:avLst/>
                <a:gdLst>
                  <a:gd name="connsiteX0" fmla="*/ 84288 w 514511"/>
                  <a:gd name="connsiteY0" fmla="*/ 793660 h 797932"/>
                  <a:gd name="connsiteX1" fmla="*/ 106411 w 514511"/>
                  <a:gd name="connsiteY1" fmla="*/ 778548 h 797932"/>
                  <a:gd name="connsiteX2" fmla="*/ 131300 w 514511"/>
                  <a:gd name="connsiteY2" fmla="*/ 780707 h 797932"/>
                  <a:gd name="connsiteX3" fmla="*/ 140703 w 514511"/>
                  <a:gd name="connsiteY3" fmla="*/ 794200 h 797932"/>
                  <a:gd name="connsiteX4" fmla="*/ 149552 w 514511"/>
                  <a:gd name="connsiteY4" fmla="*/ 787723 h 797932"/>
                  <a:gd name="connsiteX5" fmla="*/ 171676 w 514511"/>
                  <a:gd name="connsiteY5" fmla="*/ 797438 h 797932"/>
                  <a:gd name="connsiteX6" fmla="*/ 216477 w 514511"/>
                  <a:gd name="connsiteY6" fmla="*/ 788803 h 797932"/>
                  <a:gd name="connsiteX7" fmla="*/ 355856 w 514511"/>
                  <a:gd name="connsiteY7" fmla="*/ 591264 h 797932"/>
                  <a:gd name="connsiteX8" fmla="*/ 506850 w 514511"/>
                  <a:gd name="connsiteY8" fmla="*/ 381312 h 797932"/>
                  <a:gd name="connsiteX9" fmla="*/ 513487 w 514511"/>
                  <a:gd name="connsiteY9" fmla="*/ 338673 h 797932"/>
                  <a:gd name="connsiteX10" fmla="*/ 489151 w 514511"/>
                  <a:gd name="connsiteY10" fmla="*/ 262572 h 797932"/>
                  <a:gd name="connsiteX11" fmla="*/ 490810 w 514511"/>
                  <a:gd name="connsiteY11" fmla="*/ 229110 h 797932"/>
                  <a:gd name="connsiteX12" fmla="*/ 484173 w 514511"/>
                  <a:gd name="connsiteY12" fmla="*/ 206981 h 797932"/>
                  <a:gd name="connsiteX13" fmla="*/ 464815 w 514511"/>
                  <a:gd name="connsiteY13" fmla="*/ 184852 h 797932"/>
                  <a:gd name="connsiteX14" fmla="*/ 453753 w 514511"/>
                  <a:gd name="connsiteY14" fmla="*/ 139516 h 797932"/>
                  <a:gd name="connsiteX15" fmla="*/ 455412 w 514511"/>
                  <a:gd name="connsiteY15" fmla="*/ 128181 h 797932"/>
                  <a:gd name="connsiteX16" fmla="*/ 486385 w 514511"/>
                  <a:gd name="connsiteY16" fmla="*/ 96877 h 797932"/>
                  <a:gd name="connsiteX17" fmla="*/ 511828 w 514511"/>
                  <a:gd name="connsiteY17" fmla="*/ 15379 h 797932"/>
                  <a:gd name="connsiteX18" fmla="*/ 505744 w 514511"/>
                  <a:gd name="connsiteY18" fmla="*/ 7283 h 797932"/>
                  <a:gd name="connsiteX19" fmla="*/ 486939 w 514511"/>
                  <a:gd name="connsiteY19" fmla="*/ 1886 h 797932"/>
                  <a:gd name="connsiteX20" fmla="*/ 481408 w 514511"/>
                  <a:gd name="connsiteY20" fmla="*/ 20237 h 797932"/>
                  <a:gd name="connsiteX21" fmla="*/ 424439 w 514511"/>
                  <a:gd name="connsiteY21" fmla="*/ 63954 h 797932"/>
                  <a:gd name="connsiteX22" fmla="*/ 375767 w 514511"/>
                  <a:gd name="connsiteY22" fmla="*/ 83384 h 797932"/>
                  <a:gd name="connsiteX23" fmla="*/ 319905 w 514511"/>
                  <a:gd name="connsiteY23" fmla="*/ 155707 h 797932"/>
                  <a:gd name="connsiteX24" fmla="*/ 264596 w 514511"/>
                  <a:gd name="connsiteY24" fmla="*/ 196187 h 797932"/>
                  <a:gd name="connsiteX25" fmla="*/ 217583 w 514511"/>
                  <a:gd name="connsiteY25" fmla="*/ 210759 h 797932"/>
                  <a:gd name="connsiteX26" fmla="*/ 192140 w 514511"/>
                  <a:gd name="connsiteY26" fmla="*/ 200504 h 797932"/>
                  <a:gd name="connsiteX27" fmla="*/ 172229 w 514511"/>
                  <a:gd name="connsiteY27" fmla="*/ 205362 h 797932"/>
                  <a:gd name="connsiteX28" fmla="*/ 123557 w 514511"/>
                  <a:gd name="connsiteY28" fmla="*/ 257715 h 797932"/>
                  <a:gd name="connsiteX29" fmla="*/ 78757 w 514511"/>
                  <a:gd name="connsiteY29" fmla="*/ 282542 h 797932"/>
                  <a:gd name="connsiteX30" fmla="*/ 64376 w 514511"/>
                  <a:gd name="connsiteY30" fmla="*/ 271208 h 797932"/>
                  <a:gd name="connsiteX31" fmla="*/ 48337 w 514511"/>
                  <a:gd name="connsiteY31" fmla="*/ 270668 h 797932"/>
                  <a:gd name="connsiteX32" fmla="*/ 34509 w 514511"/>
                  <a:gd name="connsiteY32" fmla="*/ 274986 h 797932"/>
                  <a:gd name="connsiteX33" fmla="*/ 39487 w 514511"/>
                  <a:gd name="connsiteY33" fmla="*/ 318164 h 797932"/>
                  <a:gd name="connsiteX34" fmla="*/ 59951 w 514511"/>
                  <a:gd name="connsiteY34" fmla="*/ 339213 h 797932"/>
                  <a:gd name="connsiteX35" fmla="*/ 35615 w 514511"/>
                  <a:gd name="connsiteY35" fmla="*/ 354325 h 797932"/>
                  <a:gd name="connsiteX36" fmla="*/ 40040 w 514511"/>
                  <a:gd name="connsiteY36" fmla="*/ 381312 h 797932"/>
                  <a:gd name="connsiteX37" fmla="*/ 29531 w 514511"/>
                  <a:gd name="connsiteY37" fmla="*/ 393186 h 797932"/>
                  <a:gd name="connsiteX38" fmla="*/ 29531 w 514511"/>
                  <a:gd name="connsiteY38" fmla="*/ 401821 h 797932"/>
                  <a:gd name="connsiteX39" fmla="*/ 25660 w 514511"/>
                  <a:gd name="connsiteY39" fmla="*/ 410996 h 797932"/>
                  <a:gd name="connsiteX40" fmla="*/ 2983 w 514511"/>
                  <a:gd name="connsiteY40" fmla="*/ 399662 h 797932"/>
                  <a:gd name="connsiteX41" fmla="*/ -889 w 514511"/>
                  <a:gd name="connsiteY41" fmla="*/ 446078 h 797932"/>
                  <a:gd name="connsiteX42" fmla="*/ 6855 w 514511"/>
                  <a:gd name="connsiteY42" fmla="*/ 457952 h 797932"/>
                  <a:gd name="connsiteX43" fmla="*/ 24554 w 514511"/>
                  <a:gd name="connsiteY43" fmla="*/ 468207 h 797932"/>
                  <a:gd name="connsiteX44" fmla="*/ 28425 w 514511"/>
                  <a:gd name="connsiteY44" fmla="*/ 489256 h 797932"/>
                  <a:gd name="connsiteX45" fmla="*/ 38934 w 514511"/>
                  <a:gd name="connsiteY45" fmla="*/ 531355 h 797932"/>
                  <a:gd name="connsiteX46" fmla="*/ 44465 w 514511"/>
                  <a:gd name="connsiteY46" fmla="*/ 537831 h 797932"/>
                  <a:gd name="connsiteX47" fmla="*/ 52761 w 514511"/>
                  <a:gd name="connsiteY47" fmla="*/ 552404 h 797932"/>
                  <a:gd name="connsiteX48" fmla="*/ 78757 w 514511"/>
                  <a:gd name="connsiteY48" fmla="*/ 544308 h 797932"/>
                  <a:gd name="connsiteX49" fmla="*/ 82075 w 514511"/>
                  <a:gd name="connsiteY49" fmla="*/ 534053 h 797932"/>
                  <a:gd name="connsiteX50" fmla="*/ 98115 w 514511"/>
                  <a:gd name="connsiteY50" fmla="*/ 533514 h 797932"/>
                  <a:gd name="connsiteX51" fmla="*/ 94243 w 514511"/>
                  <a:gd name="connsiteY51" fmla="*/ 549705 h 797932"/>
                  <a:gd name="connsiteX52" fmla="*/ 105305 w 514511"/>
                  <a:gd name="connsiteY52" fmla="*/ 550785 h 797932"/>
                  <a:gd name="connsiteX53" fmla="*/ 117473 w 514511"/>
                  <a:gd name="connsiteY53" fmla="*/ 557261 h 797932"/>
                  <a:gd name="connsiteX54" fmla="*/ 115814 w 514511"/>
                  <a:gd name="connsiteY54" fmla="*/ 562659 h 797932"/>
                  <a:gd name="connsiteX55" fmla="*/ 129088 w 514511"/>
                  <a:gd name="connsiteY55" fmla="*/ 580470 h 797932"/>
                  <a:gd name="connsiteX56" fmla="*/ 123557 w 514511"/>
                  <a:gd name="connsiteY56" fmla="*/ 599900 h 797932"/>
                  <a:gd name="connsiteX57" fmla="*/ 112495 w 514511"/>
                  <a:gd name="connsiteY57" fmla="*/ 605837 h 797932"/>
                  <a:gd name="connsiteX58" fmla="*/ 108071 w 514511"/>
                  <a:gd name="connsiteY58" fmla="*/ 621488 h 797932"/>
                  <a:gd name="connsiteX59" fmla="*/ 119685 w 514511"/>
                  <a:gd name="connsiteY59" fmla="*/ 630124 h 797932"/>
                  <a:gd name="connsiteX60" fmla="*/ 100327 w 514511"/>
                  <a:gd name="connsiteY60" fmla="*/ 636061 h 797932"/>
                  <a:gd name="connsiteX61" fmla="*/ 93690 w 514511"/>
                  <a:gd name="connsiteY61" fmla="*/ 640919 h 797932"/>
                  <a:gd name="connsiteX62" fmla="*/ 88712 w 514511"/>
                  <a:gd name="connsiteY62" fmla="*/ 667365 h 797932"/>
                  <a:gd name="connsiteX63" fmla="*/ 97562 w 514511"/>
                  <a:gd name="connsiteY63" fmla="*/ 671683 h 797932"/>
                  <a:gd name="connsiteX64" fmla="*/ 73226 w 514511"/>
                  <a:gd name="connsiteY64" fmla="*/ 725655 h 797932"/>
                  <a:gd name="connsiteX65" fmla="*/ 78204 w 514511"/>
                  <a:gd name="connsiteY65" fmla="*/ 744006 h 797932"/>
                  <a:gd name="connsiteX66" fmla="*/ 79310 w 514511"/>
                  <a:gd name="connsiteY66" fmla="*/ 754800 h 797932"/>
                  <a:gd name="connsiteX67" fmla="*/ 83734 w 514511"/>
                  <a:gd name="connsiteY67" fmla="*/ 768293 h 797932"/>
                  <a:gd name="connsiteX68" fmla="*/ 84288 w 514511"/>
                  <a:gd name="connsiteY68" fmla="*/ 793660 h 797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514511" h="797932">
                    <a:moveTo>
                      <a:pt x="84288" y="793660"/>
                    </a:moveTo>
                    <a:lnTo>
                      <a:pt x="106411" y="778548"/>
                    </a:lnTo>
                    <a:lnTo>
                      <a:pt x="131300" y="780707"/>
                    </a:lnTo>
                    <a:lnTo>
                      <a:pt x="140703" y="794200"/>
                    </a:lnTo>
                    <a:lnTo>
                      <a:pt x="149552" y="787723"/>
                    </a:lnTo>
                    <a:lnTo>
                      <a:pt x="171676" y="797438"/>
                    </a:lnTo>
                    <a:lnTo>
                      <a:pt x="216477" y="788803"/>
                    </a:lnTo>
                    <a:lnTo>
                      <a:pt x="355856" y="591264"/>
                    </a:lnTo>
                    <a:lnTo>
                      <a:pt x="506850" y="381312"/>
                    </a:lnTo>
                    <a:lnTo>
                      <a:pt x="513487" y="338673"/>
                    </a:lnTo>
                    <a:lnTo>
                      <a:pt x="489151" y="262572"/>
                    </a:lnTo>
                    <a:lnTo>
                      <a:pt x="490810" y="229110"/>
                    </a:lnTo>
                    <a:lnTo>
                      <a:pt x="484173" y="206981"/>
                    </a:lnTo>
                    <a:lnTo>
                      <a:pt x="464815" y="184852"/>
                    </a:lnTo>
                    <a:lnTo>
                      <a:pt x="453753" y="139516"/>
                    </a:lnTo>
                    <a:lnTo>
                      <a:pt x="455412" y="128181"/>
                    </a:lnTo>
                    <a:lnTo>
                      <a:pt x="486385" y="96877"/>
                    </a:lnTo>
                    <a:lnTo>
                      <a:pt x="511828" y="15379"/>
                    </a:lnTo>
                    <a:cubicBezTo>
                      <a:pt x="510168" y="12681"/>
                      <a:pt x="507956" y="9982"/>
                      <a:pt x="505744" y="7283"/>
                    </a:cubicBezTo>
                    <a:cubicBezTo>
                      <a:pt x="498000" y="-4051"/>
                      <a:pt x="499107" y="-273"/>
                      <a:pt x="486939" y="1886"/>
                    </a:cubicBezTo>
                    <a:lnTo>
                      <a:pt x="481408" y="20237"/>
                    </a:lnTo>
                    <a:lnTo>
                      <a:pt x="424439" y="63954"/>
                    </a:lnTo>
                    <a:lnTo>
                      <a:pt x="375767" y="83384"/>
                    </a:lnTo>
                    <a:lnTo>
                      <a:pt x="319905" y="155707"/>
                    </a:lnTo>
                    <a:lnTo>
                      <a:pt x="264596" y="196187"/>
                    </a:lnTo>
                    <a:lnTo>
                      <a:pt x="217583" y="210759"/>
                    </a:lnTo>
                    <a:lnTo>
                      <a:pt x="192140" y="200504"/>
                    </a:lnTo>
                    <a:lnTo>
                      <a:pt x="172229" y="205362"/>
                    </a:lnTo>
                    <a:lnTo>
                      <a:pt x="123557" y="257715"/>
                    </a:lnTo>
                    <a:lnTo>
                      <a:pt x="78757" y="282542"/>
                    </a:lnTo>
                    <a:lnTo>
                      <a:pt x="64376" y="271208"/>
                    </a:lnTo>
                    <a:lnTo>
                      <a:pt x="48337" y="270668"/>
                    </a:lnTo>
                    <a:lnTo>
                      <a:pt x="34509" y="274986"/>
                    </a:lnTo>
                    <a:lnTo>
                      <a:pt x="39487" y="318164"/>
                    </a:lnTo>
                    <a:lnTo>
                      <a:pt x="59951" y="339213"/>
                    </a:lnTo>
                    <a:lnTo>
                      <a:pt x="35615" y="354325"/>
                    </a:lnTo>
                    <a:lnTo>
                      <a:pt x="40040" y="381312"/>
                    </a:lnTo>
                    <a:lnTo>
                      <a:pt x="29531" y="393186"/>
                    </a:lnTo>
                    <a:lnTo>
                      <a:pt x="29531" y="401821"/>
                    </a:lnTo>
                    <a:lnTo>
                      <a:pt x="25660" y="410996"/>
                    </a:lnTo>
                    <a:lnTo>
                      <a:pt x="2983" y="399662"/>
                    </a:lnTo>
                    <a:cubicBezTo>
                      <a:pt x="-336" y="414774"/>
                      <a:pt x="-1442" y="430426"/>
                      <a:pt x="-889" y="446078"/>
                    </a:cubicBezTo>
                    <a:cubicBezTo>
                      <a:pt x="2430" y="449856"/>
                      <a:pt x="2983" y="454714"/>
                      <a:pt x="6855" y="457952"/>
                    </a:cubicBezTo>
                    <a:cubicBezTo>
                      <a:pt x="12386" y="462270"/>
                      <a:pt x="19576" y="460111"/>
                      <a:pt x="24554" y="468207"/>
                    </a:cubicBezTo>
                    <a:cubicBezTo>
                      <a:pt x="26766" y="472525"/>
                      <a:pt x="27319" y="483859"/>
                      <a:pt x="28425" y="489256"/>
                    </a:cubicBezTo>
                    <a:cubicBezTo>
                      <a:pt x="30085" y="498971"/>
                      <a:pt x="33956" y="523259"/>
                      <a:pt x="38934" y="531355"/>
                    </a:cubicBezTo>
                    <a:cubicBezTo>
                      <a:pt x="40040" y="534053"/>
                      <a:pt x="42806" y="535672"/>
                      <a:pt x="44465" y="537831"/>
                    </a:cubicBezTo>
                    <a:cubicBezTo>
                      <a:pt x="47783" y="542689"/>
                      <a:pt x="48890" y="548086"/>
                      <a:pt x="52761" y="552404"/>
                    </a:cubicBezTo>
                    <a:lnTo>
                      <a:pt x="78757" y="544308"/>
                    </a:lnTo>
                    <a:lnTo>
                      <a:pt x="82075" y="534053"/>
                    </a:lnTo>
                    <a:lnTo>
                      <a:pt x="98115" y="533514"/>
                    </a:lnTo>
                    <a:lnTo>
                      <a:pt x="94243" y="549705"/>
                    </a:lnTo>
                    <a:lnTo>
                      <a:pt x="105305" y="550785"/>
                    </a:lnTo>
                    <a:lnTo>
                      <a:pt x="117473" y="557261"/>
                    </a:lnTo>
                    <a:lnTo>
                      <a:pt x="115814" y="562659"/>
                    </a:lnTo>
                    <a:lnTo>
                      <a:pt x="129088" y="580470"/>
                    </a:lnTo>
                    <a:lnTo>
                      <a:pt x="123557" y="599900"/>
                    </a:lnTo>
                    <a:lnTo>
                      <a:pt x="112495" y="605837"/>
                    </a:lnTo>
                    <a:lnTo>
                      <a:pt x="108071" y="621488"/>
                    </a:lnTo>
                    <a:lnTo>
                      <a:pt x="119685" y="630124"/>
                    </a:lnTo>
                    <a:lnTo>
                      <a:pt x="100327" y="636061"/>
                    </a:lnTo>
                    <a:lnTo>
                      <a:pt x="93690" y="640919"/>
                    </a:lnTo>
                    <a:lnTo>
                      <a:pt x="88712" y="667365"/>
                    </a:lnTo>
                    <a:lnTo>
                      <a:pt x="97562" y="671683"/>
                    </a:lnTo>
                    <a:lnTo>
                      <a:pt x="73226" y="725655"/>
                    </a:lnTo>
                    <a:cubicBezTo>
                      <a:pt x="74885" y="730513"/>
                      <a:pt x="77097" y="739148"/>
                      <a:pt x="78204" y="744006"/>
                    </a:cubicBezTo>
                    <a:cubicBezTo>
                      <a:pt x="79310" y="747244"/>
                      <a:pt x="78757" y="752102"/>
                      <a:pt x="79310" y="754800"/>
                    </a:cubicBezTo>
                    <a:cubicBezTo>
                      <a:pt x="80416" y="758578"/>
                      <a:pt x="83181" y="764515"/>
                      <a:pt x="83734" y="768293"/>
                    </a:cubicBezTo>
                    <a:cubicBezTo>
                      <a:pt x="84288" y="775310"/>
                      <a:pt x="84288" y="786644"/>
                      <a:pt x="84288" y="793660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1" name="Freeform 1053">
                <a:extLst>
                  <a:ext uri="{FF2B5EF4-FFF2-40B4-BE49-F238E27FC236}">
                    <a16:creationId xmlns:a16="http://schemas.microsoft.com/office/drawing/2014/main" id="{2450AA55-5419-4644-B9FA-E1CCA19D2EFC}"/>
                  </a:ext>
                </a:extLst>
              </p:cNvPr>
              <p:cNvSpPr/>
              <p:nvPr/>
            </p:nvSpPr>
            <p:spPr>
              <a:xfrm>
                <a:off x="6600425" y="4623333"/>
                <a:ext cx="11061" cy="12953"/>
              </a:xfrm>
              <a:custGeom>
                <a:avLst/>
                <a:gdLst>
                  <a:gd name="connsiteX0" fmla="*/ -709 w 11061"/>
                  <a:gd name="connsiteY0" fmla="*/ 4424 h 12953"/>
                  <a:gd name="connsiteX1" fmla="*/ 9247 w 11061"/>
                  <a:gd name="connsiteY1" fmla="*/ -433 h 12953"/>
                  <a:gd name="connsiteX2" fmla="*/ 10353 w 11061"/>
                  <a:gd name="connsiteY2" fmla="*/ 7123 h 12953"/>
                  <a:gd name="connsiteX3" fmla="*/ 7587 w 11061"/>
                  <a:gd name="connsiteY3" fmla="*/ 12520 h 12953"/>
                  <a:gd name="connsiteX4" fmla="*/ 950 w 11061"/>
                  <a:gd name="connsiteY4" fmla="*/ 10901 h 12953"/>
                  <a:gd name="connsiteX5" fmla="*/ -709 w 11061"/>
                  <a:gd name="connsiteY5" fmla="*/ 4424 h 12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061" h="12953">
                    <a:moveTo>
                      <a:pt x="-709" y="4424"/>
                    </a:moveTo>
                    <a:lnTo>
                      <a:pt x="9247" y="-433"/>
                    </a:lnTo>
                    <a:lnTo>
                      <a:pt x="10353" y="7123"/>
                    </a:lnTo>
                    <a:lnTo>
                      <a:pt x="7587" y="12520"/>
                    </a:lnTo>
                    <a:lnTo>
                      <a:pt x="950" y="10901"/>
                    </a:lnTo>
                    <a:lnTo>
                      <a:pt x="-709" y="4424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2" name="Freeform 1054">
                <a:extLst>
                  <a:ext uri="{FF2B5EF4-FFF2-40B4-BE49-F238E27FC236}">
                    <a16:creationId xmlns:a16="http://schemas.microsoft.com/office/drawing/2014/main" id="{D707A1A9-A79F-4B50-A80A-B7085AEA4F00}"/>
                  </a:ext>
                </a:extLst>
              </p:cNvPr>
              <p:cNvSpPr/>
              <p:nvPr/>
            </p:nvSpPr>
            <p:spPr>
              <a:xfrm>
                <a:off x="6922209" y="3888769"/>
                <a:ext cx="432634" cy="244932"/>
              </a:xfrm>
              <a:custGeom>
                <a:avLst/>
                <a:gdLst>
                  <a:gd name="connsiteX0" fmla="*/ 3212 w 432634"/>
                  <a:gd name="connsiteY0" fmla="*/ 142673 h 244932"/>
                  <a:gd name="connsiteX1" fmla="*/ 3212 w 432634"/>
                  <a:gd name="connsiteY1" fmla="*/ 191248 h 244932"/>
                  <a:gd name="connsiteX2" fmla="*/ 10402 w 432634"/>
                  <a:gd name="connsiteY2" fmla="*/ 202582 h 244932"/>
                  <a:gd name="connsiteX3" fmla="*/ 17593 w 432634"/>
                  <a:gd name="connsiteY3" fmla="*/ 214456 h 244932"/>
                  <a:gd name="connsiteX4" fmla="*/ 20358 w 432634"/>
                  <a:gd name="connsiteY4" fmla="*/ 222552 h 244932"/>
                  <a:gd name="connsiteX5" fmla="*/ 47460 w 432634"/>
                  <a:gd name="connsiteY5" fmla="*/ 224171 h 244932"/>
                  <a:gd name="connsiteX6" fmla="*/ 77880 w 432634"/>
                  <a:gd name="connsiteY6" fmla="*/ 243061 h 244932"/>
                  <a:gd name="connsiteX7" fmla="*/ 107193 w 432634"/>
                  <a:gd name="connsiteY7" fmla="*/ 243601 h 244932"/>
                  <a:gd name="connsiteX8" fmla="*/ 158631 w 432634"/>
                  <a:gd name="connsiteY8" fmla="*/ 231187 h 244932"/>
                  <a:gd name="connsiteX9" fmla="*/ 163609 w 432634"/>
                  <a:gd name="connsiteY9" fmla="*/ 218234 h 244932"/>
                  <a:gd name="connsiteX10" fmla="*/ 160290 w 432634"/>
                  <a:gd name="connsiteY10" fmla="*/ 210678 h 244932"/>
                  <a:gd name="connsiteX11" fmla="*/ 166927 w 432634"/>
                  <a:gd name="connsiteY11" fmla="*/ 196645 h 244932"/>
                  <a:gd name="connsiteX12" fmla="*/ 207303 w 432634"/>
                  <a:gd name="connsiteY12" fmla="*/ 186930 h 244932"/>
                  <a:gd name="connsiteX13" fmla="*/ 218918 w 432634"/>
                  <a:gd name="connsiteY13" fmla="*/ 164801 h 244932"/>
                  <a:gd name="connsiteX14" fmla="*/ 249891 w 432634"/>
                  <a:gd name="connsiteY14" fmla="*/ 173437 h 244932"/>
                  <a:gd name="connsiteX15" fmla="*/ 259847 w 432634"/>
                  <a:gd name="connsiteY15" fmla="*/ 159944 h 244932"/>
                  <a:gd name="connsiteX16" fmla="*/ 271462 w 432634"/>
                  <a:gd name="connsiteY16" fmla="*/ 154546 h 244932"/>
                  <a:gd name="connsiteX17" fmla="*/ 282524 w 432634"/>
                  <a:gd name="connsiteY17" fmla="*/ 121084 h 244932"/>
                  <a:gd name="connsiteX18" fmla="*/ 297457 w 432634"/>
                  <a:gd name="connsiteY18" fmla="*/ 112448 h 244932"/>
                  <a:gd name="connsiteX19" fmla="*/ 330090 w 432634"/>
                  <a:gd name="connsiteY19" fmla="*/ 116766 h 244932"/>
                  <a:gd name="connsiteX20" fmla="*/ 360510 w 432634"/>
                  <a:gd name="connsiteY20" fmla="*/ 102733 h 244932"/>
                  <a:gd name="connsiteX21" fmla="*/ 389823 w 432634"/>
                  <a:gd name="connsiteY21" fmla="*/ 124862 h 244932"/>
                  <a:gd name="connsiteX22" fmla="*/ 413053 w 432634"/>
                  <a:gd name="connsiteY22" fmla="*/ 109210 h 244932"/>
                  <a:gd name="connsiteX23" fmla="*/ 413606 w 432634"/>
                  <a:gd name="connsiteY23" fmla="*/ 90319 h 244932"/>
                  <a:gd name="connsiteX24" fmla="*/ 423009 w 432634"/>
                  <a:gd name="connsiteY24" fmla="*/ 74667 h 244932"/>
                  <a:gd name="connsiteX25" fmla="*/ 431858 w 432634"/>
                  <a:gd name="connsiteY25" fmla="*/ 27712 h 244932"/>
                  <a:gd name="connsiteX26" fmla="*/ 390930 w 432634"/>
                  <a:gd name="connsiteY26" fmla="*/ 19616 h 244932"/>
                  <a:gd name="connsiteX27" fmla="*/ 378762 w 432634"/>
                  <a:gd name="connsiteY27" fmla="*/ 3424 h 244932"/>
                  <a:gd name="connsiteX28" fmla="*/ 348895 w 432634"/>
                  <a:gd name="connsiteY28" fmla="*/ -354 h 244932"/>
                  <a:gd name="connsiteX29" fmla="*/ 312391 w 432634"/>
                  <a:gd name="connsiteY29" fmla="*/ 9361 h 244932"/>
                  <a:gd name="connsiteX30" fmla="*/ 302988 w 432634"/>
                  <a:gd name="connsiteY30" fmla="*/ 21775 h 244932"/>
                  <a:gd name="connsiteX31" fmla="*/ 285289 w 432634"/>
                  <a:gd name="connsiteY31" fmla="*/ 14218 h 244932"/>
                  <a:gd name="connsiteX32" fmla="*/ 270356 w 432634"/>
                  <a:gd name="connsiteY32" fmla="*/ 21775 h 244932"/>
                  <a:gd name="connsiteX33" fmla="*/ 256528 w 432634"/>
                  <a:gd name="connsiteY33" fmla="*/ 21235 h 244932"/>
                  <a:gd name="connsiteX34" fmla="*/ 245466 w 432634"/>
                  <a:gd name="connsiteY34" fmla="*/ 29331 h 244932"/>
                  <a:gd name="connsiteX35" fmla="*/ 235511 w 432634"/>
                  <a:gd name="connsiteY35" fmla="*/ 47681 h 244932"/>
                  <a:gd name="connsiteX36" fmla="*/ 217812 w 432634"/>
                  <a:gd name="connsiteY36" fmla="*/ 49300 h 244932"/>
                  <a:gd name="connsiteX37" fmla="*/ 216153 w 432634"/>
                  <a:gd name="connsiteY37" fmla="*/ 35807 h 244932"/>
                  <a:gd name="connsiteX38" fmla="*/ 211728 w 432634"/>
                  <a:gd name="connsiteY38" fmla="*/ 28251 h 244932"/>
                  <a:gd name="connsiteX39" fmla="*/ 198454 w 432634"/>
                  <a:gd name="connsiteY39" fmla="*/ 25013 h 244932"/>
                  <a:gd name="connsiteX40" fmla="*/ 181308 w 432634"/>
                  <a:gd name="connsiteY40" fmla="*/ 6123 h 244932"/>
                  <a:gd name="connsiteX41" fmla="*/ 165821 w 432634"/>
                  <a:gd name="connsiteY41" fmla="*/ 18536 h 244932"/>
                  <a:gd name="connsiteX42" fmla="*/ 163609 w 432634"/>
                  <a:gd name="connsiteY42" fmla="*/ 33109 h 244932"/>
                  <a:gd name="connsiteX43" fmla="*/ 148675 w 432634"/>
                  <a:gd name="connsiteY43" fmla="*/ 39046 h 244932"/>
                  <a:gd name="connsiteX44" fmla="*/ 147016 w 432634"/>
                  <a:gd name="connsiteY44" fmla="*/ 29331 h 244932"/>
                  <a:gd name="connsiteX45" fmla="*/ 139826 w 432634"/>
                  <a:gd name="connsiteY45" fmla="*/ 23933 h 244932"/>
                  <a:gd name="connsiteX46" fmla="*/ 133742 w 432634"/>
                  <a:gd name="connsiteY46" fmla="*/ 13139 h 244932"/>
                  <a:gd name="connsiteX47" fmla="*/ 96132 w 432634"/>
                  <a:gd name="connsiteY47" fmla="*/ 57396 h 244932"/>
                  <a:gd name="connsiteX48" fmla="*/ 90048 w 432634"/>
                  <a:gd name="connsiteY48" fmla="*/ 81684 h 244932"/>
                  <a:gd name="connsiteX49" fmla="*/ 94472 w 432634"/>
                  <a:gd name="connsiteY49" fmla="*/ 103812 h 244932"/>
                  <a:gd name="connsiteX50" fmla="*/ 93366 w 432634"/>
                  <a:gd name="connsiteY50" fmla="*/ 113528 h 244932"/>
                  <a:gd name="connsiteX51" fmla="*/ 78433 w 432634"/>
                  <a:gd name="connsiteY51" fmla="*/ 137275 h 244932"/>
                  <a:gd name="connsiteX52" fmla="*/ 65158 w 432634"/>
                  <a:gd name="connsiteY52" fmla="*/ 135116 h 244932"/>
                  <a:gd name="connsiteX53" fmla="*/ 43588 w 432634"/>
                  <a:gd name="connsiteY53" fmla="*/ 142133 h 244932"/>
                  <a:gd name="connsiteX54" fmla="*/ 3212 w 432634"/>
                  <a:gd name="connsiteY54" fmla="*/ 142673 h 24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432634" h="244932">
                    <a:moveTo>
                      <a:pt x="3212" y="142673"/>
                    </a:moveTo>
                    <a:cubicBezTo>
                      <a:pt x="1000" y="158864"/>
                      <a:pt x="-4531" y="176135"/>
                      <a:pt x="3212" y="191248"/>
                    </a:cubicBezTo>
                    <a:cubicBezTo>
                      <a:pt x="5425" y="195565"/>
                      <a:pt x="8190" y="198264"/>
                      <a:pt x="10402" y="202582"/>
                    </a:cubicBezTo>
                    <a:lnTo>
                      <a:pt x="17593" y="214456"/>
                    </a:lnTo>
                    <a:lnTo>
                      <a:pt x="20358" y="222552"/>
                    </a:lnTo>
                    <a:lnTo>
                      <a:pt x="47460" y="224171"/>
                    </a:lnTo>
                    <a:cubicBezTo>
                      <a:pt x="55203" y="229568"/>
                      <a:pt x="69030" y="241982"/>
                      <a:pt x="77880" y="243061"/>
                    </a:cubicBezTo>
                    <a:cubicBezTo>
                      <a:pt x="86176" y="244680"/>
                      <a:pt x="98897" y="245220"/>
                      <a:pt x="107193" y="243601"/>
                    </a:cubicBezTo>
                    <a:cubicBezTo>
                      <a:pt x="124892" y="240902"/>
                      <a:pt x="141485" y="237124"/>
                      <a:pt x="158631" y="231187"/>
                    </a:cubicBezTo>
                    <a:lnTo>
                      <a:pt x="163609" y="218234"/>
                    </a:lnTo>
                    <a:lnTo>
                      <a:pt x="160290" y="210678"/>
                    </a:lnTo>
                    <a:lnTo>
                      <a:pt x="166927" y="196645"/>
                    </a:lnTo>
                    <a:lnTo>
                      <a:pt x="207303" y="186930"/>
                    </a:lnTo>
                    <a:lnTo>
                      <a:pt x="218918" y="164801"/>
                    </a:lnTo>
                    <a:lnTo>
                      <a:pt x="249891" y="173437"/>
                    </a:lnTo>
                    <a:lnTo>
                      <a:pt x="259847" y="159944"/>
                    </a:lnTo>
                    <a:lnTo>
                      <a:pt x="271462" y="154546"/>
                    </a:lnTo>
                    <a:lnTo>
                      <a:pt x="282524" y="121084"/>
                    </a:lnTo>
                    <a:lnTo>
                      <a:pt x="297457" y="112448"/>
                    </a:lnTo>
                    <a:lnTo>
                      <a:pt x="330090" y="116766"/>
                    </a:lnTo>
                    <a:lnTo>
                      <a:pt x="360510" y="102733"/>
                    </a:lnTo>
                    <a:lnTo>
                      <a:pt x="389823" y="124862"/>
                    </a:lnTo>
                    <a:lnTo>
                      <a:pt x="413053" y="109210"/>
                    </a:lnTo>
                    <a:lnTo>
                      <a:pt x="413606" y="90319"/>
                    </a:lnTo>
                    <a:lnTo>
                      <a:pt x="423009" y="74667"/>
                    </a:lnTo>
                    <a:lnTo>
                      <a:pt x="431858" y="27712"/>
                    </a:lnTo>
                    <a:lnTo>
                      <a:pt x="390930" y="19616"/>
                    </a:lnTo>
                    <a:lnTo>
                      <a:pt x="378762" y="3424"/>
                    </a:lnTo>
                    <a:lnTo>
                      <a:pt x="348895" y="-354"/>
                    </a:lnTo>
                    <a:lnTo>
                      <a:pt x="312391" y="9361"/>
                    </a:lnTo>
                    <a:lnTo>
                      <a:pt x="302988" y="21775"/>
                    </a:lnTo>
                    <a:lnTo>
                      <a:pt x="285289" y="14218"/>
                    </a:lnTo>
                    <a:lnTo>
                      <a:pt x="270356" y="21775"/>
                    </a:lnTo>
                    <a:lnTo>
                      <a:pt x="256528" y="21235"/>
                    </a:lnTo>
                    <a:lnTo>
                      <a:pt x="245466" y="29331"/>
                    </a:lnTo>
                    <a:lnTo>
                      <a:pt x="235511" y="47681"/>
                    </a:lnTo>
                    <a:lnTo>
                      <a:pt x="217812" y="49300"/>
                    </a:lnTo>
                    <a:lnTo>
                      <a:pt x="216153" y="35807"/>
                    </a:lnTo>
                    <a:lnTo>
                      <a:pt x="211728" y="28251"/>
                    </a:lnTo>
                    <a:lnTo>
                      <a:pt x="198454" y="25013"/>
                    </a:lnTo>
                    <a:lnTo>
                      <a:pt x="181308" y="6123"/>
                    </a:lnTo>
                    <a:lnTo>
                      <a:pt x="165821" y="18536"/>
                    </a:lnTo>
                    <a:lnTo>
                      <a:pt x="163609" y="33109"/>
                    </a:lnTo>
                    <a:lnTo>
                      <a:pt x="148675" y="39046"/>
                    </a:lnTo>
                    <a:lnTo>
                      <a:pt x="147016" y="29331"/>
                    </a:lnTo>
                    <a:lnTo>
                      <a:pt x="139826" y="23933"/>
                    </a:lnTo>
                    <a:lnTo>
                      <a:pt x="133742" y="13139"/>
                    </a:lnTo>
                    <a:lnTo>
                      <a:pt x="96132" y="57396"/>
                    </a:lnTo>
                    <a:lnTo>
                      <a:pt x="90048" y="81684"/>
                    </a:lnTo>
                    <a:lnTo>
                      <a:pt x="94472" y="103812"/>
                    </a:lnTo>
                    <a:lnTo>
                      <a:pt x="93366" y="113528"/>
                    </a:lnTo>
                    <a:lnTo>
                      <a:pt x="78433" y="137275"/>
                    </a:lnTo>
                    <a:lnTo>
                      <a:pt x="65158" y="135116"/>
                    </a:lnTo>
                    <a:lnTo>
                      <a:pt x="43588" y="142133"/>
                    </a:lnTo>
                    <a:lnTo>
                      <a:pt x="3212" y="142673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3" name="Freeform 1055">
                <a:extLst>
                  <a:ext uri="{FF2B5EF4-FFF2-40B4-BE49-F238E27FC236}">
                    <a16:creationId xmlns:a16="http://schemas.microsoft.com/office/drawing/2014/main" id="{D8E91E1A-C76D-49BE-93D6-F3DCBD415221}"/>
                  </a:ext>
                </a:extLst>
              </p:cNvPr>
              <p:cNvSpPr/>
              <p:nvPr/>
            </p:nvSpPr>
            <p:spPr>
              <a:xfrm>
                <a:off x="6663478" y="4257940"/>
                <a:ext cx="260506" cy="179188"/>
              </a:xfrm>
              <a:custGeom>
                <a:avLst/>
                <a:gdLst>
                  <a:gd name="connsiteX0" fmla="*/ 133669 w 260506"/>
                  <a:gd name="connsiteY0" fmla="*/ 33605 h 179188"/>
                  <a:gd name="connsiteX1" fmla="*/ 165748 w 260506"/>
                  <a:gd name="connsiteY1" fmla="*/ 34685 h 179188"/>
                  <a:gd name="connsiteX2" fmla="*/ 173491 w 260506"/>
                  <a:gd name="connsiteY2" fmla="*/ 34145 h 179188"/>
                  <a:gd name="connsiteX3" fmla="*/ 180682 w 260506"/>
                  <a:gd name="connsiteY3" fmla="*/ 26589 h 179188"/>
                  <a:gd name="connsiteX4" fmla="*/ 193956 w 260506"/>
                  <a:gd name="connsiteY4" fmla="*/ 19573 h 179188"/>
                  <a:gd name="connsiteX5" fmla="*/ 214420 w 260506"/>
                  <a:gd name="connsiteY5" fmla="*/ 21731 h 179188"/>
                  <a:gd name="connsiteX6" fmla="*/ 210549 w 260506"/>
                  <a:gd name="connsiteY6" fmla="*/ 5540 h 179188"/>
                  <a:gd name="connsiteX7" fmla="*/ 219398 w 260506"/>
                  <a:gd name="connsiteY7" fmla="*/ 1762 h 179188"/>
                  <a:gd name="connsiteX8" fmla="*/ 238203 w 260506"/>
                  <a:gd name="connsiteY8" fmla="*/ -397 h 179188"/>
                  <a:gd name="connsiteX9" fmla="*/ 245393 w 260506"/>
                  <a:gd name="connsiteY9" fmla="*/ 19573 h 179188"/>
                  <a:gd name="connsiteX10" fmla="*/ 259774 w 260506"/>
                  <a:gd name="connsiteY10" fmla="*/ 36304 h 179188"/>
                  <a:gd name="connsiteX11" fmla="*/ 229907 w 260506"/>
                  <a:gd name="connsiteY11" fmla="*/ 57353 h 179188"/>
                  <a:gd name="connsiteX12" fmla="*/ 203912 w 260506"/>
                  <a:gd name="connsiteY12" fmla="*/ 67068 h 179188"/>
                  <a:gd name="connsiteX13" fmla="*/ 202805 w 260506"/>
                  <a:gd name="connsiteY13" fmla="*/ 110786 h 179188"/>
                  <a:gd name="connsiteX14" fmla="*/ 181788 w 260506"/>
                  <a:gd name="connsiteY14" fmla="*/ 127517 h 179188"/>
                  <a:gd name="connsiteX15" fmla="*/ 180682 w 260506"/>
                  <a:gd name="connsiteY15" fmla="*/ 152345 h 179188"/>
                  <a:gd name="connsiteX16" fmla="*/ 176257 w 260506"/>
                  <a:gd name="connsiteY16" fmla="*/ 160440 h 179188"/>
                  <a:gd name="connsiteX17" fmla="*/ 166301 w 260506"/>
                  <a:gd name="connsiteY17" fmla="*/ 165298 h 179188"/>
                  <a:gd name="connsiteX18" fmla="*/ 151368 w 260506"/>
                  <a:gd name="connsiteY18" fmla="*/ 161520 h 179188"/>
                  <a:gd name="connsiteX19" fmla="*/ 139753 w 260506"/>
                  <a:gd name="connsiteY19" fmla="*/ 165298 h 179188"/>
                  <a:gd name="connsiteX20" fmla="*/ 125926 w 260506"/>
                  <a:gd name="connsiteY20" fmla="*/ 164218 h 179188"/>
                  <a:gd name="connsiteX21" fmla="*/ 117076 w 260506"/>
                  <a:gd name="connsiteY21" fmla="*/ 146947 h 179188"/>
                  <a:gd name="connsiteX22" fmla="*/ 106567 w 260506"/>
                  <a:gd name="connsiteY22" fmla="*/ 152884 h 179188"/>
                  <a:gd name="connsiteX23" fmla="*/ 90528 w 260506"/>
                  <a:gd name="connsiteY23" fmla="*/ 168536 h 179188"/>
                  <a:gd name="connsiteX24" fmla="*/ 68957 w 260506"/>
                  <a:gd name="connsiteY24" fmla="*/ 178791 h 179188"/>
                  <a:gd name="connsiteX25" fmla="*/ 26922 w 260506"/>
                  <a:gd name="connsiteY25" fmla="*/ 178251 h 179188"/>
                  <a:gd name="connsiteX26" fmla="*/ 41302 w 260506"/>
                  <a:gd name="connsiteY26" fmla="*/ 164758 h 179188"/>
                  <a:gd name="connsiteX27" fmla="*/ 47386 w 260506"/>
                  <a:gd name="connsiteY27" fmla="*/ 165838 h 179188"/>
                  <a:gd name="connsiteX28" fmla="*/ 53471 w 260506"/>
                  <a:gd name="connsiteY28" fmla="*/ 159901 h 179188"/>
                  <a:gd name="connsiteX29" fmla="*/ 41302 w 260506"/>
                  <a:gd name="connsiteY29" fmla="*/ 145328 h 179188"/>
                  <a:gd name="connsiteX30" fmla="*/ 31347 w 260506"/>
                  <a:gd name="connsiteY30" fmla="*/ 139931 h 179188"/>
                  <a:gd name="connsiteX31" fmla="*/ 24710 w 260506"/>
                  <a:gd name="connsiteY31" fmla="*/ 130216 h 179188"/>
                  <a:gd name="connsiteX32" fmla="*/ 11436 w 260506"/>
                  <a:gd name="connsiteY32" fmla="*/ 124819 h 179188"/>
                  <a:gd name="connsiteX33" fmla="*/ 13095 w 260506"/>
                  <a:gd name="connsiteY33" fmla="*/ 116723 h 179188"/>
                  <a:gd name="connsiteX34" fmla="*/ 25816 w 260506"/>
                  <a:gd name="connsiteY34" fmla="*/ 104309 h 179188"/>
                  <a:gd name="connsiteX35" fmla="*/ 15860 w 260506"/>
                  <a:gd name="connsiteY35" fmla="*/ 98912 h 179188"/>
                  <a:gd name="connsiteX36" fmla="*/ 3139 w 260506"/>
                  <a:gd name="connsiteY36" fmla="*/ 97832 h 179188"/>
                  <a:gd name="connsiteX37" fmla="*/ -733 w 260506"/>
                  <a:gd name="connsiteY37" fmla="*/ 89197 h 179188"/>
                  <a:gd name="connsiteX38" fmla="*/ 26922 w 260506"/>
                  <a:gd name="connsiteY38" fmla="*/ 58972 h 179188"/>
                  <a:gd name="connsiteX39" fmla="*/ 97165 w 260506"/>
                  <a:gd name="connsiteY39" fmla="*/ 64909 h 179188"/>
                  <a:gd name="connsiteX40" fmla="*/ 119288 w 260506"/>
                  <a:gd name="connsiteY40" fmla="*/ 43320 h 179188"/>
                  <a:gd name="connsiteX41" fmla="*/ 129797 w 260506"/>
                  <a:gd name="connsiteY41" fmla="*/ 37923 h 179188"/>
                  <a:gd name="connsiteX42" fmla="*/ 133669 w 260506"/>
                  <a:gd name="connsiteY42" fmla="*/ 33605 h 179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260506" h="179188">
                    <a:moveTo>
                      <a:pt x="133669" y="33605"/>
                    </a:moveTo>
                    <a:cubicBezTo>
                      <a:pt x="145837" y="34685"/>
                      <a:pt x="154133" y="31986"/>
                      <a:pt x="165748" y="34685"/>
                    </a:cubicBezTo>
                    <a:lnTo>
                      <a:pt x="173491" y="34145"/>
                    </a:lnTo>
                    <a:lnTo>
                      <a:pt x="180682" y="26589"/>
                    </a:lnTo>
                    <a:lnTo>
                      <a:pt x="193956" y="19573"/>
                    </a:lnTo>
                    <a:lnTo>
                      <a:pt x="214420" y="21731"/>
                    </a:lnTo>
                    <a:lnTo>
                      <a:pt x="210549" y="5540"/>
                    </a:lnTo>
                    <a:lnTo>
                      <a:pt x="219398" y="1762"/>
                    </a:lnTo>
                    <a:lnTo>
                      <a:pt x="238203" y="-397"/>
                    </a:lnTo>
                    <a:lnTo>
                      <a:pt x="245393" y="19573"/>
                    </a:lnTo>
                    <a:lnTo>
                      <a:pt x="259774" y="36304"/>
                    </a:lnTo>
                    <a:lnTo>
                      <a:pt x="229907" y="57353"/>
                    </a:lnTo>
                    <a:lnTo>
                      <a:pt x="203912" y="67068"/>
                    </a:lnTo>
                    <a:lnTo>
                      <a:pt x="202805" y="110786"/>
                    </a:lnTo>
                    <a:lnTo>
                      <a:pt x="181788" y="127517"/>
                    </a:lnTo>
                    <a:lnTo>
                      <a:pt x="180682" y="152345"/>
                    </a:lnTo>
                    <a:lnTo>
                      <a:pt x="176257" y="160440"/>
                    </a:lnTo>
                    <a:lnTo>
                      <a:pt x="166301" y="165298"/>
                    </a:lnTo>
                    <a:lnTo>
                      <a:pt x="151368" y="161520"/>
                    </a:lnTo>
                    <a:lnTo>
                      <a:pt x="139753" y="165298"/>
                    </a:lnTo>
                    <a:lnTo>
                      <a:pt x="125926" y="164218"/>
                    </a:lnTo>
                    <a:lnTo>
                      <a:pt x="117076" y="146947"/>
                    </a:lnTo>
                    <a:lnTo>
                      <a:pt x="106567" y="152884"/>
                    </a:lnTo>
                    <a:lnTo>
                      <a:pt x="90528" y="168536"/>
                    </a:lnTo>
                    <a:lnTo>
                      <a:pt x="68957" y="178791"/>
                    </a:lnTo>
                    <a:lnTo>
                      <a:pt x="26922" y="178251"/>
                    </a:lnTo>
                    <a:cubicBezTo>
                      <a:pt x="30794" y="176632"/>
                      <a:pt x="40749" y="168536"/>
                      <a:pt x="41302" y="164758"/>
                    </a:cubicBezTo>
                    <a:lnTo>
                      <a:pt x="47386" y="165838"/>
                    </a:lnTo>
                    <a:lnTo>
                      <a:pt x="53471" y="159901"/>
                    </a:lnTo>
                    <a:lnTo>
                      <a:pt x="41302" y="145328"/>
                    </a:lnTo>
                    <a:lnTo>
                      <a:pt x="31347" y="139931"/>
                    </a:lnTo>
                    <a:lnTo>
                      <a:pt x="24710" y="130216"/>
                    </a:lnTo>
                    <a:lnTo>
                      <a:pt x="11436" y="124819"/>
                    </a:lnTo>
                    <a:lnTo>
                      <a:pt x="13095" y="116723"/>
                    </a:lnTo>
                    <a:lnTo>
                      <a:pt x="25816" y="104309"/>
                    </a:lnTo>
                    <a:lnTo>
                      <a:pt x="15860" y="98912"/>
                    </a:lnTo>
                    <a:lnTo>
                      <a:pt x="3139" y="97832"/>
                    </a:lnTo>
                    <a:lnTo>
                      <a:pt x="-733" y="89197"/>
                    </a:lnTo>
                    <a:lnTo>
                      <a:pt x="26922" y="58972"/>
                    </a:lnTo>
                    <a:lnTo>
                      <a:pt x="97165" y="64909"/>
                    </a:lnTo>
                    <a:lnTo>
                      <a:pt x="119288" y="43320"/>
                    </a:lnTo>
                    <a:lnTo>
                      <a:pt x="129797" y="37923"/>
                    </a:lnTo>
                    <a:lnTo>
                      <a:pt x="133669" y="33605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4" name="Freeform 1056">
                <a:extLst>
                  <a:ext uri="{FF2B5EF4-FFF2-40B4-BE49-F238E27FC236}">
                    <a16:creationId xmlns:a16="http://schemas.microsoft.com/office/drawing/2014/main" id="{DB6CCF5E-1978-40F6-9A9D-82B0D116FB2B}"/>
                  </a:ext>
                </a:extLst>
              </p:cNvPr>
              <p:cNvSpPr/>
              <p:nvPr/>
            </p:nvSpPr>
            <p:spPr>
              <a:xfrm>
                <a:off x="6400380" y="1631107"/>
                <a:ext cx="594952" cy="1644780"/>
              </a:xfrm>
              <a:custGeom>
                <a:avLst/>
                <a:gdLst>
                  <a:gd name="connsiteX0" fmla="*/ 501866 w 594952"/>
                  <a:gd name="connsiteY0" fmla="*/ 1376679 h 1644780"/>
                  <a:gd name="connsiteX1" fmla="*/ 486379 w 594952"/>
                  <a:gd name="connsiteY1" fmla="*/ 1395570 h 1644780"/>
                  <a:gd name="connsiteX2" fmla="*/ 482508 w 594952"/>
                  <a:gd name="connsiteY2" fmla="*/ 1417159 h 1644780"/>
                  <a:gd name="connsiteX3" fmla="*/ 476977 w 594952"/>
                  <a:gd name="connsiteY3" fmla="*/ 1421477 h 1644780"/>
                  <a:gd name="connsiteX4" fmla="*/ 473105 w 594952"/>
                  <a:gd name="connsiteY4" fmla="*/ 1420397 h 1644780"/>
                  <a:gd name="connsiteX5" fmla="*/ 471999 w 594952"/>
                  <a:gd name="connsiteY5" fmla="*/ 1403666 h 1644780"/>
                  <a:gd name="connsiteX6" fmla="*/ 464809 w 594952"/>
                  <a:gd name="connsiteY6" fmla="*/ 1391252 h 1644780"/>
                  <a:gd name="connsiteX7" fmla="*/ 463149 w 594952"/>
                  <a:gd name="connsiteY7" fmla="*/ 1369123 h 1644780"/>
                  <a:gd name="connsiteX8" fmla="*/ 460384 w 594952"/>
                  <a:gd name="connsiteY8" fmla="*/ 1354551 h 1644780"/>
                  <a:gd name="connsiteX9" fmla="*/ 464256 w 594952"/>
                  <a:gd name="connsiteY9" fmla="*/ 1339978 h 1644780"/>
                  <a:gd name="connsiteX10" fmla="*/ 482508 w 594952"/>
                  <a:gd name="connsiteY10" fmla="*/ 1311373 h 1644780"/>
                  <a:gd name="connsiteX11" fmla="*/ 484720 w 594952"/>
                  <a:gd name="connsiteY11" fmla="*/ 1309754 h 1644780"/>
                  <a:gd name="connsiteX12" fmla="*/ 490804 w 594952"/>
                  <a:gd name="connsiteY12" fmla="*/ 1305436 h 1644780"/>
                  <a:gd name="connsiteX13" fmla="*/ 499653 w 594952"/>
                  <a:gd name="connsiteY13" fmla="*/ 1307595 h 1644780"/>
                  <a:gd name="connsiteX14" fmla="*/ 504631 w 594952"/>
                  <a:gd name="connsiteY14" fmla="*/ 1304896 h 1644780"/>
                  <a:gd name="connsiteX15" fmla="*/ 512928 w 594952"/>
                  <a:gd name="connsiteY15" fmla="*/ 1307595 h 1644780"/>
                  <a:gd name="connsiteX16" fmla="*/ 512375 w 594952"/>
                  <a:gd name="connsiteY16" fmla="*/ 1314072 h 1644780"/>
                  <a:gd name="connsiteX17" fmla="*/ 501313 w 594952"/>
                  <a:gd name="connsiteY17" fmla="*/ 1331882 h 1644780"/>
                  <a:gd name="connsiteX18" fmla="*/ 504078 w 594952"/>
                  <a:gd name="connsiteY18" fmla="*/ 1351852 h 1644780"/>
                  <a:gd name="connsiteX19" fmla="*/ 511268 w 594952"/>
                  <a:gd name="connsiteY19" fmla="*/ 1362647 h 1644780"/>
                  <a:gd name="connsiteX20" fmla="*/ 501866 w 594952"/>
                  <a:gd name="connsiteY20" fmla="*/ 1376679 h 1644780"/>
                  <a:gd name="connsiteX21" fmla="*/ 522330 w 594952"/>
                  <a:gd name="connsiteY21" fmla="*/ 185510 h 1644780"/>
                  <a:gd name="connsiteX22" fmla="*/ 552750 w 594952"/>
                  <a:gd name="connsiteY22" fmla="*/ 217894 h 1644780"/>
                  <a:gd name="connsiteX23" fmla="*/ 553857 w 594952"/>
                  <a:gd name="connsiteY23" fmla="*/ 235704 h 1644780"/>
                  <a:gd name="connsiteX24" fmla="*/ 557175 w 594952"/>
                  <a:gd name="connsiteY24" fmla="*/ 246499 h 1644780"/>
                  <a:gd name="connsiteX25" fmla="*/ 552750 w 594952"/>
                  <a:gd name="connsiteY25" fmla="*/ 261071 h 1644780"/>
                  <a:gd name="connsiteX26" fmla="*/ 555516 w 594952"/>
                  <a:gd name="connsiteY26" fmla="*/ 283200 h 1644780"/>
                  <a:gd name="connsiteX27" fmla="*/ 569896 w 594952"/>
                  <a:gd name="connsiteY27" fmla="*/ 296153 h 1644780"/>
                  <a:gd name="connsiteX28" fmla="*/ 594232 w 594952"/>
                  <a:gd name="connsiteY28" fmla="*/ 335553 h 1644780"/>
                  <a:gd name="connsiteX29" fmla="*/ 569343 w 594952"/>
                  <a:gd name="connsiteY29" fmla="*/ 339871 h 1644780"/>
                  <a:gd name="connsiteX30" fmla="*/ 557728 w 594952"/>
                  <a:gd name="connsiteY30" fmla="*/ 345268 h 1644780"/>
                  <a:gd name="connsiteX31" fmla="*/ 549985 w 594952"/>
                  <a:gd name="connsiteY31" fmla="*/ 346887 h 1644780"/>
                  <a:gd name="connsiteX32" fmla="*/ 541688 w 594952"/>
                  <a:gd name="connsiteY32" fmla="*/ 353904 h 1644780"/>
                  <a:gd name="connsiteX33" fmla="*/ 520671 w 594952"/>
                  <a:gd name="connsiteY33" fmla="*/ 341490 h 1644780"/>
                  <a:gd name="connsiteX34" fmla="*/ 519565 w 594952"/>
                  <a:gd name="connsiteY34" fmla="*/ 351745 h 1644780"/>
                  <a:gd name="connsiteX35" fmla="*/ 509609 w 594952"/>
                  <a:gd name="connsiteY35" fmla="*/ 349046 h 1644780"/>
                  <a:gd name="connsiteX36" fmla="*/ 507950 w 594952"/>
                  <a:gd name="connsiteY36" fmla="*/ 350126 h 1644780"/>
                  <a:gd name="connsiteX37" fmla="*/ 508503 w 594952"/>
                  <a:gd name="connsiteY37" fmla="*/ 366317 h 1644780"/>
                  <a:gd name="connsiteX38" fmla="*/ 515693 w 594952"/>
                  <a:gd name="connsiteY38" fmla="*/ 382509 h 1644780"/>
                  <a:gd name="connsiteX39" fmla="*/ 500207 w 594952"/>
                  <a:gd name="connsiteY39" fmla="*/ 384128 h 1644780"/>
                  <a:gd name="connsiteX40" fmla="*/ 497441 w 594952"/>
                  <a:gd name="connsiteY40" fmla="*/ 391145 h 1644780"/>
                  <a:gd name="connsiteX41" fmla="*/ 493016 w 594952"/>
                  <a:gd name="connsiteY41" fmla="*/ 392764 h 1644780"/>
                  <a:gd name="connsiteX42" fmla="*/ 494123 w 594952"/>
                  <a:gd name="connsiteY42" fmla="*/ 400320 h 1644780"/>
                  <a:gd name="connsiteX43" fmla="*/ 478083 w 594952"/>
                  <a:gd name="connsiteY43" fmla="*/ 408956 h 1644780"/>
                  <a:gd name="connsiteX44" fmla="*/ 477530 w 594952"/>
                  <a:gd name="connsiteY44" fmla="*/ 410575 h 1644780"/>
                  <a:gd name="connsiteX45" fmla="*/ 489145 w 594952"/>
                  <a:gd name="connsiteY45" fmla="*/ 428386 h 1644780"/>
                  <a:gd name="connsiteX46" fmla="*/ 484720 w 594952"/>
                  <a:gd name="connsiteY46" fmla="*/ 458070 h 1644780"/>
                  <a:gd name="connsiteX47" fmla="*/ 478636 w 594952"/>
                  <a:gd name="connsiteY47" fmla="*/ 471563 h 1644780"/>
                  <a:gd name="connsiteX48" fmla="*/ 475317 w 594952"/>
                  <a:gd name="connsiteY48" fmla="*/ 475342 h 1644780"/>
                  <a:gd name="connsiteX49" fmla="*/ 479189 w 594952"/>
                  <a:gd name="connsiteY49" fmla="*/ 483437 h 1644780"/>
                  <a:gd name="connsiteX50" fmla="*/ 477530 w 594952"/>
                  <a:gd name="connsiteY50" fmla="*/ 494772 h 1644780"/>
                  <a:gd name="connsiteX51" fmla="*/ 488592 w 594952"/>
                  <a:gd name="connsiteY51" fmla="*/ 503947 h 1644780"/>
                  <a:gd name="connsiteX52" fmla="*/ 498547 w 594952"/>
                  <a:gd name="connsiteY52" fmla="*/ 505026 h 1644780"/>
                  <a:gd name="connsiteX53" fmla="*/ 502419 w 594952"/>
                  <a:gd name="connsiteY53" fmla="*/ 518519 h 1644780"/>
                  <a:gd name="connsiteX54" fmla="*/ 506844 w 594952"/>
                  <a:gd name="connsiteY54" fmla="*/ 522297 h 1644780"/>
                  <a:gd name="connsiteX55" fmla="*/ 506291 w 594952"/>
                  <a:gd name="connsiteY55" fmla="*/ 524996 h 1644780"/>
                  <a:gd name="connsiteX56" fmla="*/ 487485 w 594952"/>
                  <a:gd name="connsiteY56" fmla="*/ 550903 h 1644780"/>
                  <a:gd name="connsiteX57" fmla="*/ 470340 w 594952"/>
                  <a:gd name="connsiteY57" fmla="*/ 601637 h 1644780"/>
                  <a:gd name="connsiteX58" fmla="*/ 456512 w 594952"/>
                  <a:gd name="connsiteY58" fmla="*/ 613511 h 1644780"/>
                  <a:gd name="connsiteX59" fmla="*/ 453747 w 594952"/>
                  <a:gd name="connsiteY59" fmla="*/ 617289 h 1644780"/>
                  <a:gd name="connsiteX60" fmla="*/ 446557 w 594952"/>
                  <a:gd name="connsiteY60" fmla="*/ 623765 h 1644780"/>
                  <a:gd name="connsiteX61" fmla="*/ 428858 w 594952"/>
                  <a:gd name="connsiteY61" fmla="*/ 650212 h 1644780"/>
                  <a:gd name="connsiteX62" fmla="*/ 418902 w 594952"/>
                  <a:gd name="connsiteY62" fmla="*/ 646434 h 1644780"/>
                  <a:gd name="connsiteX63" fmla="*/ 414477 w 594952"/>
                  <a:gd name="connsiteY63" fmla="*/ 653990 h 1644780"/>
                  <a:gd name="connsiteX64" fmla="*/ 406181 w 594952"/>
                  <a:gd name="connsiteY64" fmla="*/ 679357 h 1644780"/>
                  <a:gd name="connsiteX65" fmla="*/ 394013 w 594952"/>
                  <a:gd name="connsiteY65" fmla="*/ 679357 h 1644780"/>
                  <a:gd name="connsiteX66" fmla="*/ 373548 w 594952"/>
                  <a:gd name="connsiteY66" fmla="*/ 713899 h 1644780"/>
                  <a:gd name="connsiteX67" fmla="*/ 375761 w 594952"/>
                  <a:gd name="connsiteY67" fmla="*/ 717138 h 1644780"/>
                  <a:gd name="connsiteX68" fmla="*/ 353637 w 594952"/>
                  <a:gd name="connsiteY68" fmla="*/ 739266 h 1644780"/>
                  <a:gd name="connsiteX69" fmla="*/ 357509 w 594952"/>
                  <a:gd name="connsiteY69" fmla="*/ 752220 h 1644780"/>
                  <a:gd name="connsiteX70" fmla="*/ 334832 w 594952"/>
                  <a:gd name="connsiteY70" fmla="*/ 780825 h 1644780"/>
                  <a:gd name="connsiteX71" fmla="*/ 324323 w 594952"/>
                  <a:gd name="connsiteY71" fmla="*/ 774888 h 1644780"/>
                  <a:gd name="connsiteX72" fmla="*/ 319899 w 594952"/>
                  <a:gd name="connsiteY72" fmla="*/ 781365 h 1644780"/>
                  <a:gd name="connsiteX73" fmla="*/ 318239 w 594952"/>
                  <a:gd name="connsiteY73" fmla="*/ 785682 h 1644780"/>
                  <a:gd name="connsiteX74" fmla="*/ 333173 w 594952"/>
                  <a:gd name="connsiteY74" fmla="*/ 806732 h 1644780"/>
                  <a:gd name="connsiteX75" fmla="*/ 339810 w 594952"/>
                  <a:gd name="connsiteY75" fmla="*/ 812129 h 1644780"/>
                  <a:gd name="connsiteX76" fmla="*/ 340363 w 594952"/>
                  <a:gd name="connsiteY76" fmla="*/ 814288 h 1644780"/>
                  <a:gd name="connsiteX77" fmla="*/ 338704 w 594952"/>
                  <a:gd name="connsiteY77" fmla="*/ 817526 h 1644780"/>
                  <a:gd name="connsiteX78" fmla="*/ 332620 w 594952"/>
                  <a:gd name="connsiteY78" fmla="*/ 845052 h 1644780"/>
                  <a:gd name="connsiteX79" fmla="*/ 337044 w 594952"/>
                  <a:gd name="connsiteY79" fmla="*/ 860164 h 1644780"/>
                  <a:gd name="connsiteX80" fmla="*/ 342022 w 594952"/>
                  <a:gd name="connsiteY80" fmla="*/ 877975 h 1644780"/>
                  <a:gd name="connsiteX81" fmla="*/ 327089 w 594952"/>
                  <a:gd name="connsiteY81" fmla="*/ 878515 h 1644780"/>
                  <a:gd name="connsiteX82" fmla="*/ 325429 w 594952"/>
                  <a:gd name="connsiteY82" fmla="*/ 890928 h 1644780"/>
                  <a:gd name="connsiteX83" fmla="*/ 334832 w 594952"/>
                  <a:gd name="connsiteY83" fmla="*/ 915756 h 1644780"/>
                  <a:gd name="connsiteX84" fmla="*/ 340916 w 594952"/>
                  <a:gd name="connsiteY84" fmla="*/ 963251 h 1644780"/>
                  <a:gd name="connsiteX85" fmla="*/ 350872 w 594952"/>
                  <a:gd name="connsiteY85" fmla="*/ 977824 h 1644780"/>
                  <a:gd name="connsiteX86" fmla="*/ 347553 w 594952"/>
                  <a:gd name="connsiteY86" fmla="*/ 988618 h 1644780"/>
                  <a:gd name="connsiteX87" fmla="*/ 364699 w 594952"/>
                  <a:gd name="connsiteY87" fmla="*/ 999953 h 1644780"/>
                  <a:gd name="connsiteX88" fmla="*/ 372995 w 594952"/>
                  <a:gd name="connsiteY88" fmla="*/ 999413 h 1644780"/>
                  <a:gd name="connsiteX89" fmla="*/ 380186 w 594952"/>
                  <a:gd name="connsiteY89" fmla="*/ 1007509 h 1644780"/>
                  <a:gd name="connsiteX90" fmla="*/ 387376 w 594952"/>
                  <a:gd name="connsiteY90" fmla="*/ 999953 h 1644780"/>
                  <a:gd name="connsiteX91" fmla="*/ 392907 w 594952"/>
                  <a:gd name="connsiteY91" fmla="*/ 999953 h 1644780"/>
                  <a:gd name="connsiteX92" fmla="*/ 398438 w 594952"/>
                  <a:gd name="connsiteY92" fmla="*/ 1008048 h 1644780"/>
                  <a:gd name="connsiteX93" fmla="*/ 407287 w 594952"/>
                  <a:gd name="connsiteY93" fmla="*/ 1015605 h 1644780"/>
                  <a:gd name="connsiteX94" fmla="*/ 411159 w 594952"/>
                  <a:gd name="connsiteY94" fmla="*/ 1023161 h 1644780"/>
                  <a:gd name="connsiteX95" fmla="*/ 429964 w 594952"/>
                  <a:gd name="connsiteY95" fmla="*/ 1032336 h 1644780"/>
                  <a:gd name="connsiteX96" fmla="*/ 431070 w 594952"/>
                  <a:gd name="connsiteY96" fmla="*/ 1042591 h 1644780"/>
                  <a:gd name="connsiteX97" fmla="*/ 449322 w 594952"/>
                  <a:gd name="connsiteY97" fmla="*/ 1051226 h 1644780"/>
                  <a:gd name="connsiteX98" fmla="*/ 450428 w 594952"/>
                  <a:gd name="connsiteY98" fmla="*/ 1050147 h 1644780"/>
                  <a:gd name="connsiteX99" fmla="*/ 451534 w 594952"/>
                  <a:gd name="connsiteY99" fmla="*/ 1047448 h 1644780"/>
                  <a:gd name="connsiteX100" fmla="*/ 456512 w 594952"/>
                  <a:gd name="connsiteY100" fmla="*/ 1046909 h 1644780"/>
                  <a:gd name="connsiteX101" fmla="*/ 460384 w 594952"/>
                  <a:gd name="connsiteY101" fmla="*/ 1058243 h 1644780"/>
                  <a:gd name="connsiteX102" fmla="*/ 470340 w 594952"/>
                  <a:gd name="connsiteY102" fmla="*/ 1068497 h 1644780"/>
                  <a:gd name="connsiteX103" fmla="*/ 470340 w 594952"/>
                  <a:gd name="connsiteY103" fmla="*/ 1070117 h 1644780"/>
                  <a:gd name="connsiteX104" fmla="*/ 458725 w 594952"/>
                  <a:gd name="connsiteY104" fmla="*/ 1081451 h 1644780"/>
                  <a:gd name="connsiteX105" fmla="*/ 471446 w 594952"/>
                  <a:gd name="connsiteY105" fmla="*/ 1083070 h 1644780"/>
                  <a:gd name="connsiteX106" fmla="*/ 472552 w 594952"/>
                  <a:gd name="connsiteY106" fmla="*/ 1084689 h 1644780"/>
                  <a:gd name="connsiteX107" fmla="*/ 471446 w 594952"/>
                  <a:gd name="connsiteY107" fmla="*/ 1086848 h 1644780"/>
                  <a:gd name="connsiteX108" fmla="*/ 455406 w 594952"/>
                  <a:gd name="connsiteY108" fmla="*/ 1097643 h 1644780"/>
                  <a:gd name="connsiteX109" fmla="*/ 434942 w 594952"/>
                  <a:gd name="connsiteY109" fmla="*/ 1121930 h 1644780"/>
                  <a:gd name="connsiteX110" fmla="*/ 425539 w 594952"/>
                  <a:gd name="connsiteY110" fmla="*/ 1126788 h 1644780"/>
                  <a:gd name="connsiteX111" fmla="*/ 417796 w 594952"/>
                  <a:gd name="connsiteY111" fmla="*/ 1134344 h 1644780"/>
                  <a:gd name="connsiteX112" fmla="*/ 412265 w 594952"/>
                  <a:gd name="connsiteY112" fmla="*/ 1136503 h 1644780"/>
                  <a:gd name="connsiteX113" fmla="*/ 403969 w 594952"/>
                  <a:gd name="connsiteY113" fmla="*/ 1134883 h 1644780"/>
                  <a:gd name="connsiteX114" fmla="*/ 401756 w 594952"/>
                  <a:gd name="connsiteY114" fmla="*/ 1132185 h 1644780"/>
                  <a:gd name="connsiteX115" fmla="*/ 394013 w 594952"/>
                  <a:gd name="connsiteY115" fmla="*/ 1107358 h 1644780"/>
                  <a:gd name="connsiteX116" fmla="*/ 392354 w 594952"/>
                  <a:gd name="connsiteY116" fmla="*/ 1107897 h 1644780"/>
                  <a:gd name="connsiteX117" fmla="*/ 392354 w 594952"/>
                  <a:gd name="connsiteY117" fmla="*/ 1125708 h 1644780"/>
                  <a:gd name="connsiteX118" fmla="*/ 390141 w 594952"/>
                  <a:gd name="connsiteY118" fmla="*/ 1127327 h 1644780"/>
                  <a:gd name="connsiteX119" fmla="*/ 385163 w 594952"/>
                  <a:gd name="connsiteY119" fmla="*/ 1124629 h 1644780"/>
                  <a:gd name="connsiteX120" fmla="*/ 374102 w 594952"/>
                  <a:gd name="connsiteY120" fmla="*/ 1128407 h 1644780"/>
                  <a:gd name="connsiteX121" fmla="*/ 361380 w 594952"/>
                  <a:gd name="connsiteY121" fmla="*/ 1124629 h 1644780"/>
                  <a:gd name="connsiteX122" fmla="*/ 356956 w 594952"/>
                  <a:gd name="connsiteY122" fmla="*/ 1125168 h 1644780"/>
                  <a:gd name="connsiteX123" fmla="*/ 345341 w 594952"/>
                  <a:gd name="connsiteY123" fmla="*/ 1127327 h 1644780"/>
                  <a:gd name="connsiteX124" fmla="*/ 328195 w 594952"/>
                  <a:gd name="connsiteY124" fmla="*/ 1126788 h 1644780"/>
                  <a:gd name="connsiteX125" fmla="*/ 308284 w 594952"/>
                  <a:gd name="connsiteY125" fmla="*/ 1136503 h 1644780"/>
                  <a:gd name="connsiteX126" fmla="*/ 295009 w 594952"/>
                  <a:gd name="connsiteY126" fmla="*/ 1138122 h 1644780"/>
                  <a:gd name="connsiteX127" fmla="*/ 294456 w 594952"/>
                  <a:gd name="connsiteY127" fmla="*/ 1139201 h 1644780"/>
                  <a:gd name="connsiteX128" fmla="*/ 295563 w 594952"/>
                  <a:gd name="connsiteY128" fmla="*/ 1140820 h 1644780"/>
                  <a:gd name="connsiteX129" fmla="*/ 304412 w 594952"/>
                  <a:gd name="connsiteY129" fmla="*/ 1142440 h 1644780"/>
                  <a:gd name="connsiteX130" fmla="*/ 314368 w 594952"/>
                  <a:gd name="connsiteY130" fmla="*/ 1145138 h 1644780"/>
                  <a:gd name="connsiteX131" fmla="*/ 329854 w 594952"/>
                  <a:gd name="connsiteY131" fmla="*/ 1141900 h 1644780"/>
                  <a:gd name="connsiteX132" fmla="*/ 339810 w 594952"/>
                  <a:gd name="connsiteY132" fmla="*/ 1142440 h 1644780"/>
                  <a:gd name="connsiteX133" fmla="*/ 340916 w 594952"/>
                  <a:gd name="connsiteY133" fmla="*/ 1137582 h 1644780"/>
                  <a:gd name="connsiteX134" fmla="*/ 350319 w 594952"/>
                  <a:gd name="connsiteY134" fmla="*/ 1138122 h 1644780"/>
                  <a:gd name="connsiteX135" fmla="*/ 360827 w 594952"/>
                  <a:gd name="connsiteY135" fmla="*/ 1145678 h 1644780"/>
                  <a:gd name="connsiteX136" fmla="*/ 372442 w 594952"/>
                  <a:gd name="connsiteY136" fmla="*/ 1147837 h 1644780"/>
                  <a:gd name="connsiteX137" fmla="*/ 374655 w 594952"/>
                  <a:gd name="connsiteY137" fmla="*/ 1155933 h 1644780"/>
                  <a:gd name="connsiteX138" fmla="*/ 378526 w 594952"/>
                  <a:gd name="connsiteY138" fmla="*/ 1157012 h 1644780"/>
                  <a:gd name="connsiteX139" fmla="*/ 387376 w 594952"/>
                  <a:gd name="connsiteY139" fmla="*/ 1154853 h 1644780"/>
                  <a:gd name="connsiteX140" fmla="*/ 407287 w 594952"/>
                  <a:gd name="connsiteY140" fmla="*/ 1155933 h 1644780"/>
                  <a:gd name="connsiteX141" fmla="*/ 413371 w 594952"/>
                  <a:gd name="connsiteY141" fmla="*/ 1150535 h 1644780"/>
                  <a:gd name="connsiteX142" fmla="*/ 439920 w 594952"/>
                  <a:gd name="connsiteY142" fmla="*/ 1137042 h 1644780"/>
                  <a:gd name="connsiteX143" fmla="*/ 446557 w 594952"/>
                  <a:gd name="connsiteY143" fmla="*/ 1130026 h 1644780"/>
                  <a:gd name="connsiteX144" fmla="*/ 449875 w 594952"/>
                  <a:gd name="connsiteY144" fmla="*/ 1130026 h 1644780"/>
                  <a:gd name="connsiteX145" fmla="*/ 452641 w 594952"/>
                  <a:gd name="connsiteY145" fmla="*/ 1141900 h 1644780"/>
                  <a:gd name="connsiteX146" fmla="*/ 439366 w 594952"/>
                  <a:gd name="connsiteY146" fmla="*/ 1144059 h 1644780"/>
                  <a:gd name="connsiteX147" fmla="*/ 445450 w 594952"/>
                  <a:gd name="connsiteY147" fmla="*/ 1158631 h 1644780"/>
                  <a:gd name="connsiteX148" fmla="*/ 432176 w 594952"/>
                  <a:gd name="connsiteY148" fmla="*/ 1168886 h 1644780"/>
                  <a:gd name="connsiteX149" fmla="*/ 422221 w 594952"/>
                  <a:gd name="connsiteY149" fmla="*/ 1193174 h 1644780"/>
                  <a:gd name="connsiteX150" fmla="*/ 420561 w 594952"/>
                  <a:gd name="connsiteY150" fmla="*/ 1193713 h 1644780"/>
                  <a:gd name="connsiteX151" fmla="*/ 408393 w 594952"/>
                  <a:gd name="connsiteY151" fmla="*/ 1180760 h 1644780"/>
                  <a:gd name="connsiteX152" fmla="*/ 405075 w 594952"/>
                  <a:gd name="connsiteY152" fmla="*/ 1181300 h 1644780"/>
                  <a:gd name="connsiteX153" fmla="*/ 403415 w 594952"/>
                  <a:gd name="connsiteY153" fmla="*/ 1189935 h 1644780"/>
                  <a:gd name="connsiteX154" fmla="*/ 390141 w 594952"/>
                  <a:gd name="connsiteY154" fmla="*/ 1208826 h 1644780"/>
                  <a:gd name="connsiteX155" fmla="*/ 386823 w 594952"/>
                  <a:gd name="connsiteY155" fmla="*/ 1212604 h 1644780"/>
                  <a:gd name="connsiteX156" fmla="*/ 375208 w 594952"/>
                  <a:gd name="connsiteY156" fmla="*/ 1214223 h 1644780"/>
                  <a:gd name="connsiteX157" fmla="*/ 374102 w 594952"/>
                  <a:gd name="connsiteY157" fmla="*/ 1226097 h 1644780"/>
                  <a:gd name="connsiteX158" fmla="*/ 353637 w 594952"/>
                  <a:gd name="connsiteY158" fmla="*/ 1233653 h 1644780"/>
                  <a:gd name="connsiteX159" fmla="*/ 360274 w 594952"/>
                  <a:gd name="connsiteY159" fmla="*/ 1253623 h 1644780"/>
                  <a:gd name="connsiteX160" fmla="*/ 355296 w 594952"/>
                  <a:gd name="connsiteY160" fmla="*/ 1257401 h 1644780"/>
                  <a:gd name="connsiteX161" fmla="*/ 358615 w 594952"/>
                  <a:gd name="connsiteY161" fmla="*/ 1274672 h 1644780"/>
                  <a:gd name="connsiteX162" fmla="*/ 363593 w 594952"/>
                  <a:gd name="connsiteY162" fmla="*/ 1282228 h 1644780"/>
                  <a:gd name="connsiteX163" fmla="*/ 358615 w 594952"/>
                  <a:gd name="connsiteY163" fmla="*/ 1297880 h 1644780"/>
                  <a:gd name="connsiteX164" fmla="*/ 363593 w 594952"/>
                  <a:gd name="connsiteY164" fmla="*/ 1311373 h 1644780"/>
                  <a:gd name="connsiteX165" fmla="*/ 359721 w 594952"/>
                  <a:gd name="connsiteY165" fmla="*/ 1329184 h 1644780"/>
                  <a:gd name="connsiteX166" fmla="*/ 364146 w 594952"/>
                  <a:gd name="connsiteY166" fmla="*/ 1343217 h 1644780"/>
                  <a:gd name="connsiteX167" fmla="*/ 360274 w 594952"/>
                  <a:gd name="connsiteY167" fmla="*/ 1356710 h 1644780"/>
                  <a:gd name="connsiteX168" fmla="*/ 365805 w 594952"/>
                  <a:gd name="connsiteY168" fmla="*/ 1384236 h 1644780"/>
                  <a:gd name="connsiteX169" fmla="*/ 361380 w 594952"/>
                  <a:gd name="connsiteY169" fmla="*/ 1391252 h 1644780"/>
                  <a:gd name="connsiteX170" fmla="*/ 363040 w 594952"/>
                  <a:gd name="connsiteY170" fmla="*/ 1406904 h 1644780"/>
                  <a:gd name="connsiteX171" fmla="*/ 361380 w 594952"/>
                  <a:gd name="connsiteY171" fmla="*/ 1415540 h 1644780"/>
                  <a:gd name="connsiteX172" fmla="*/ 365252 w 594952"/>
                  <a:gd name="connsiteY172" fmla="*/ 1420397 h 1644780"/>
                  <a:gd name="connsiteX173" fmla="*/ 364146 w 594952"/>
                  <a:gd name="connsiteY173" fmla="*/ 1423096 h 1644780"/>
                  <a:gd name="connsiteX174" fmla="*/ 358615 w 594952"/>
                  <a:gd name="connsiteY174" fmla="*/ 1425255 h 1644780"/>
                  <a:gd name="connsiteX175" fmla="*/ 359721 w 594952"/>
                  <a:gd name="connsiteY175" fmla="*/ 1450082 h 1644780"/>
                  <a:gd name="connsiteX176" fmla="*/ 344788 w 594952"/>
                  <a:gd name="connsiteY176" fmla="*/ 1495419 h 1644780"/>
                  <a:gd name="connsiteX177" fmla="*/ 342022 w 594952"/>
                  <a:gd name="connsiteY177" fmla="*/ 1510531 h 1644780"/>
                  <a:gd name="connsiteX178" fmla="*/ 337044 w 594952"/>
                  <a:gd name="connsiteY178" fmla="*/ 1537517 h 1644780"/>
                  <a:gd name="connsiteX179" fmla="*/ 334832 w 594952"/>
                  <a:gd name="connsiteY179" fmla="*/ 1539676 h 1644780"/>
                  <a:gd name="connsiteX180" fmla="*/ 325983 w 594952"/>
                  <a:gd name="connsiteY180" fmla="*/ 1530501 h 1644780"/>
                  <a:gd name="connsiteX181" fmla="*/ 293903 w 594952"/>
                  <a:gd name="connsiteY181" fmla="*/ 1538057 h 1644780"/>
                  <a:gd name="connsiteX182" fmla="*/ 259612 w 594952"/>
                  <a:gd name="connsiteY182" fmla="*/ 1541835 h 1644780"/>
                  <a:gd name="connsiteX183" fmla="*/ 255187 w 594952"/>
                  <a:gd name="connsiteY183" fmla="*/ 1555328 h 1644780"/>
                  <a:gd name="connsiteX184" fmla="*/ 246890 w 594952"/>
                  <a:gd name="connsiteY184" fmla="*/ 1555328 h 1644780"/>
                  <a:gd name="connsiteX185" fmla="*/ 229191 w 594952"/>
                  <a:gd name="connsiteY185" fmla="*/ 1582854 h 1644780"/>
                  <a:gd name="connsiteX186" fmla="*/ 234722 w 594952"/>
                  <a:gd name="connsiteY186" fmla="*/ 1625492 h 1644780"/>
                  <a:gd name="connsiteX187" fmla="*/ 227532 w 594952"/>
                  <a:gd name="connsiteY187" fmla="*/ 1632508 h 1644780"/>
                  <a:gd name="connsiteX188" fmla="*/ 212599 w 594952"/>
                  <a:gd name="connsiteY188" fmla="*/ 1630349 h 1644780"/>
                  <a:gd name="connsiteX189" fmla="*/ 178860 w 594952"/>
                  <a:gd name="connsiteY189" fmla="*/ 1644382 h 1644780"/>
                  <a:gd name="connsiteX190" fmla="*/ 142909 w 594952"/>
                  <a:gd name="connsiteY190" fmla="*/ 1640064 h 1644780"/>
                  <a:gd name="connsiteX191" fmla="*/ 147887 w 594952"/>
                  <a:gd name="connsiteY191" fmla="*/ 1626032 h 1644780"/>
                  <a:gd name="connsiteX192" fmla="*/ 147887 w 594952"/>
                  <a:gd name="connsiteY192" fmla="*/ 1606062 h 1644780"/>
                  <a:gd name="connsiteX193" fmla="*/ 139037 w 594952"/>
                  <a:gd name="connsiteY193" fmla="*/ 1595807 h 1644780"/>
                  <a:gd name="connsiteX194" fmla="*/ 134613 w 594952"/>
                  <a:gd name="connsiteY194" fmla="*/ 1585013 h 1644780"/>
                  <a:gd name="connsiteX195" fmla="*/ 127423 w 594952"/>
                  <a:gd name="connsiteY195" fmla="*/ 1574758 h 1644780"/>
                  <a:gd name="connsiteX196" fmla="*/ 104193 w 594952"/>
                  <a:gd name="connsiteY196" fmla="*/ 1552090 h 1644780"/>
                  <a:gd name="connsiteX197" fmla="*/ 103640 w 594952"/>
                  <a:gd name="connsiteY197" fmla="*/ 1541835 h 1644780"/>
                  <a:gd name="connsiteX198" fmla="*/ 105852 w 594952"/>
                  <a:gd name="connsiteY198" fmla="*/ 1540755 h 1644780"/>
                  <a:gd name="connsiteX199" fmla="*/ 123551 w 594952"/>
                  <a:gd name="connsiteY199" fmla="*/ 1546153 h 1644780"/>
                  <a:gd name="connsiteX200" fmla="*/ 125210 w 594952"/>
                  <a:gd name="connsiteY200" fmla="*/ 1545073 h 1644780"/>
                  <a:gd name="connsiteX201" fmla="*/ 118573 w 594952"/>
                  <a:gd name="connsiteY201" fmla="*/ 1521325 h 1644780"/>
                  <a:gd name="connsiteX202" fmla="*/ 130188 w 594952"/>
                  <a:gd name="connsiteY202" fmla="*/ 1515928 h 1644780"/>
                  <a:gd name="connsiteX203" fmla="*/ 132400 w 594952"/>
                  <a:gd name="connsiteY203" fmla="*/ 1508912 h 1644780"/>
                  <a:gd name="connsiteX204" fmla="*/ 133507 w 594952"/>
                  <a:gd name="connsiteY204" fmla="*/ 1498117 h 1644780"/>
                  <a:gd name="connsiteX205" fmla="*/ 119126 w 594952"/>
                  <a:gd name="connsiteY205" fmla="*/ 1493260 h 1644780"/>
                  <a:gd name="connsiteX206" fmla="*/ 108617 w 594952"/>
                  <a:gd name="connsiteY206" fmla="*/ 1470591 h 1644780"/>
                  <a:gd name="connsiteX207" fmla="*/ 93131 w 594952"/>
                  <a:gd name="connsiteY207" fmla="*/ 1460337 h 1644780"/>
                  <a:gd name="connsiteX208" fmla="*/ 84834 w 594952"/>
                  <a:gd name="connsiteY208" fmla="*/ 1440367 h 1644780"/>
                  <a:gd name="connsiteX209" fmla="*/ 78750 w 594952"/>
                  <a:gd name="connsiteY209" fmla="*/ 1429033 h 1644780"/>
                  <a:gd name="connsiteX210" fmla="*/ 73773 w 594952"/>
                  <a:gd name="connsiteY210" fmla="*/ 1412841 h 1644780"/>
                  <a:gd name="connsiteX211" fmla="*/ 68242 w 594952"/>
                  <a:gd name="connsiteY211" fmla="*/ 1413381 h 1644780"/>
                  <a:gd name="connsiteX212" fmla="*/ 59945 w 594952"/>
                  <a:gd name="connsiteY212" fmla="*/ 1416079 h 1644780"/>
                  <a:gd name="connsiteX213" fmla="*/ 54414 w 594952"/>
                  <a:gd name="connsiteY213" fmla="*/ 1380458 h 1644780"/>
                  <a:gd name="connsiteX214" fmla="*/ 49437 w 594952"/>
                  <a:gd name="connsiteY214" fmla="*/ 1376140 h 1644780"/>
                  <a:gd name="connsiteX215" fmla="*/ 43906 w 594952"/>
                  <a:gd name="connsiteY215" fmla="*/ 1376140 h 1644780"/>
                  <a:gd name="connsiteX216" fmla="*/ 45565 w 594952"/>
                  <a:gd name="connsiteY216" fmla="*/ 1362647 h 1644780"/>
                  <a:gd name="connsiteX217" fmla="*/ 42799 w 594952"/>
                  <a:gd name="connsiteY217" fmla="*/ 1356710 h 1644780"/>
                  <a:gd name="connsiteX218" fmla="*/ 49437 w 594952"/>
                  <a:gd name="connsiteY218" fmla="*/ 1336200 h 1644780"/>
                  <a:gd name="connsiteX219" fmla="*/ 47777 w 594952"/>
                  <a:gd name="connsiteY219" fmla="*/ 1299499 h 1644780"/>
                  <a:gd name="connsiteX220" fmla="*/ 28419 w 594952"/>
                  <a:gd name="connsiteY220" fmla="*/ 1305436 h 1644780"/>
                  <a:gd name="connsiteX221" fmla="*/ 24547 w 594952"/>
                  <a:gd name="connsiteY221" fmla="*/ 1297340 h 1644780"/>
                  <a:gd name="connsiteX222" fmla="*/ 12379 w 594952"/>
                  <a:gd name="connsiteY222" fmla="*/ 1293022 h 1644780"/>
                  <a:gd name="connsiteX223" fmla="*/ 8508 w 594952"/>
                  <a:gd name="connsiteY223" fmla="*/ 1266036 h 1644780"/>
                  <a:gd name="connsiteX224" fmla="*/ 8508 w 594952"/>
                  <a:gd name="connsiteY224" fmla="*/ 1262798 h 1644780"/>
                  <a:gd name="connsiteX225" fmla="*/ -342 w 594952"/>
                  <a:gd name="connsiteY225" fmla="*/ 1228256 h 1644780"/>
                  <a:gd name="connsiteX226" fmla="*/ 3530 w 594952"/>
                  <a:gd name="connsiteY226" fmla="*/ 1211524 h 1644780"/>
                  <a:gd name="connsiteX227" fmla="*/ 11273 w 594952"/>
                  <a:gd name="connsiteY227" fmla="*/ 1214223 h 1644780"/>
                  <a:gd name="connsiteX228" fmla="*/ 12379 w 594952"/>
                  <a:gd name="connsiteY228" fmla="*/ 1236351 h 1644780"/>
                  <a:gd name="connsiteX229" fmla="*/ 19016 w 594952"/>
                  <a:gd name="connsiteY229" fmla="*/ 1237971 h 1644780"/>
                  <a:gd name="connsiteX230" fmla="*/ 25100 w 594952"/>
                  <a:gd name="connsiteY230" fmla="*/ 1236351 h 1644780"/>
                  <a:gd name="connsiteX231" fmla="*/ 37269 w 594952"/>
                  <a:gd name="connsiteY231" fmla="*/ 1191554 h 1644780"/>
                  <a:gd name="connsiteX232" fmla="*/ 28419 w 594952"/>
                  <a:gd name="connsiteY232" fmla="*/ 1152155 h 1644780"/>
                  <a:gd name="connsiteX233" fmla="*/ 38928 w 594952"/>
                  <a:gd name="connsiteY233" fmla="*/ 1142440 h 1644780"/>
                  <a:gd name="connsiteX234" fmla="*/ 36162 w 594952"/>
                  <a:gd name="connsiteY234" fmla="*/ 1121930 h 1644780"/>
                  <a:gd name="connsiteX235" fmla="*/ 55521 w 594952"/>
                  <a:gd name="connsiteY235" fmla="*/ 1117073 h 1644780"/>
                  <a:gd name="connsiteX236" fmla="*/ 68242 w 594952"/>
                  <a:gd name="connsiteY236" fmla="*/ 1097643 h 1644780"/>
                  <a:gd name="connsiteX237" fmla="*/ 69348 w 594952"/>
                  <a:gd name="connsiteY237" fmla="*/ 1072276 h 1644780"/>
                  <a:gd name="connsiteX238" fmla="*/ 75985 w 594952"/>
                  <a:gd name="connsiteY238" fmla="*/ 1049067 h 1644780"/>
                  <a:gd name="connsiteX239" fmla="*/ 47777 w 594952"/>
                  <a:gd name="connsiteY239" fmla="*/ 989698 h 1644780"/>
                  <a:gd name="connsiteX240" fmla="*/ 57180 w 594952"/>
                  <a:gd name="connsiteY240" fmla="*/ 981062 h 1644780"/>
                  <a:gd name="connsiteX241" fmla="*/ 67689 w 594952"/>
                  <a:gd name="connsiteY241" fmla="*/ 981062 h 1644780"/>
                  <a:gd name="connsiteX242" fmla="*/ 78750 w 594952"/>
                  <a:gd name="connsiteY242" fmla="*/ 949219 h 1644780"/>
                  <a:gd name="connsiteX243" fmla="*/ 75985 w 594952"/>
                  <a:gd name="connsiteY243" fmla="*/ 935726 h 1644780"/>
                  <a:gd name="connsiteX244" fmla="*/ 36715 w 594952"/>
                  <a:gd name="connsiteY244" fmla="*/ 902802 h 1644780"/>
                  <a:gd name="connsiteX245" fmla="*/ 41693 w 594952"/>
                  <a:gd name="connsiteY245" fmla="*/ 840734 h 1644780"/>
                  <a:gd name="connsiteX246" fmla="*/ 38928 w 594952"/>
                  <a:gd name="connsiteY246" fmla="*/ 833718 h 1644780"/>
                  <a:gd name="connsiteX247" fmla="*/ 20676 w 594952"/>
                  <a:gd name="connsiteY247" fmla="*/ 795937 h 1644780"/>
                  <a:gd name="connsiteX248" fmla="*/ 20123 w 594952"/>
                  <a:gd name="connsiteY248" fmla="*/ 764094 h 1644780"/>
                  <a:gd name="connsiteX249" fmla="*/ 26760 w 594952"/>
                  <a:gd name="connsiteY249" fmla="*/ 752220 h 1644780"/>
                  <a:gd name="connsiteX250" fmla="*/ 14592 w 594952"/>
                  <a:gd name="connsiteY250" fmla="*/ 720376 h 1644780"/>
                  <a:gd name="connsiteX251" fmla="*/ 23994 w 594952"/>
                  <a:gd name="connsiteY251" fmla="*/ 695009 h 1644780"/>
                  <a:gd name="connsiteX252" fmla="*/ 20123 w 594952"/>
                  <a:gd name="connsiteY252" fmla="*/ 683675 h 1644780"/>
                  <a:gd name="connsiteX253" fmla="*/ 25100 w 594952"/>
                  <a:gd name="connsiteY253" fmla="*/ 669642 h 1644780"/>
                  <a:gd name="connsiteX254" fmla="*/ 45565 w 594952"/>
                  <a:gd name="connsiteY254" fmla="*/ 637798 h 1644780"/>
                  <a:gd name="connsiteX255" fmla="*/ 71007 w 594952"/>
                  <a:gd name="connsiteY255" fmla="*/ 622686 h 1644780"/>
                  <a:gd name="connsiteX256" fmla="*/ 114148 w 594952"/>
                  <a:gd name="connsiteY256" fmla="*/ 625385 h 1644780"/>
                  <a:gd name="connsiteX257" fmla="*/ 119126 w 594952"/>
                  <a:gd name="connsiteY257" fmla="*/ 607574 h 1644780"/>
                  <a:gd name="connsiteX258" fmla="*/ 116361 w 594952"/>
                  <a:gd name="connsiteY258" fmla="*/ 576810 h 1644780"/>
                  <a:gd name="connsiteX259" fmla="*/ 91472 w 594952"/>
                  <a:gd name="connsiteY259" fmla="*/ 558999 h 1644780"/>
                  <a:gd name="connsiteX260" fmla="*/ 117467 w 594952"/>
                  <a:gd name="connsiteY260" fmla="*/ 495311 h 1644780"/>
                  <a:gd name="connsiteX261" fmla="*/ 124657 w 594952"/>
                  <a:gd name="connsiteY261" fmla="*/ 460769 h 1644780"/>
                  <a:gd name="connsiteX262" fmla="*/ 125763 w 594952"/>
                  <a:gd name="connsiteY262" fmla="*/ 416512 h 1644780"/>
                  <a:gd name="connsiteX263" fmla="*/ 116914 w 594952"/>
                  <a:gd name="connsiteY263" fmla="*/ 383049 h 1644780"/>
                  <a:gd name="connsiteX264" fmla="*/ 136825 w 594952"/>
                  <a:gd name="connsiteY264" fmla="*/ 373334 h 1644780"/>
                  <a:gd name="connsiteX265" fmla="*/ 160055 w 594952"/>
                  <a:gd name="connsiteY265" fmla="*/ 354444 h 1644780"/>
                  <a:gd name="connsiteX266" fmla="*/ 147887 w 594952"/>
                  <a:gd name="connsiteY266" fmla="*/ 335013 h 1644780"/>
                  <a:gd name="connsiteX267" fmla="*/ 189369 w 594952"/>
                  <a:gd name="connsiteY267" fmla="*/ 272406 h 1644780"/>
                  <a:gd name="connsiteX268" fmla="*/ 186050 w 594952"/>
                  <a:gd name="connsiteY268" fmla="*/ 241641 h 1644780"/>
                  <a:gd name="connsiteX269" fmla="*/ 171117 w 594952"/>
                  <a:gd name="connsiteY269" fmla="*/ 221132 h 1644780"/>
                  <a:gd name="connsiteX270" fmla="*/ 181626 w 594952"/>
                  <a:gd name="connsiteY270" fmla="*/ 205480 h 1644780"/>
                  <a:gd name="connsiteX271" fmla="*/ 191581 w 594952"/>
                  <a:gd name="connsiteY271" fmla="*/ 162842 h 1644780"/>
                  <a:gd name="connsiteX272" fmla="*/ 212599 w 594952"/>
                  <a:gd name="connsiteY272" fmla="*/ 140173 h 1644780"/>
                  <a:gd name="connsiteX273" fmla="*/ 236382 w 594952"/>
                  <a:gd name="connsiteY273" fmla="*/ 145571 h 1644780"/>
                  <a:gd name="connsiteX274" fmla="*/ 244678 w 594952"/>
                  <a:gd name="connsiteY274" fmla="*/ 145031 h 1644780"/>
                  <a:gd name="connsiteX275" fmla="*/ 251868 w 594952"/>
                  <a:gd name="connsiteY275" fmla="*/ 125601 h 1644780"/>
                  <a:gd name="connsiteX276" fmla="*/ 247997 w 594952"/>
                  <a:gd name="connsiteY276" fmla="*/ 120204 h 1644780"/>
                  <a:gd name="connsiteX277" fmla="*/ 240253 w 594952"/>
                  <a:gd name="connsiteY277" fmla="*/ 93217 h 1644780"/>
                  <a:gd name="connsiteX278" fmla="*/ 243572 w 594952"/>
                  <a:gd name="connsiteY278" fmla="*/ 81883 h 1644780"/>
                  <a:gd name="connsiteX279" fmla="*/ 277310 w 594952"/>
                  <a:gd name="connsiteY279" fmla="*/ 74327 h 1644780"/>
                  <a:gd name="connsiteX280" fmla="*/ 329854 w 594952"/>
                  <a:gd name="connsiteY280" fmla="*/ 84042 h 1644780"/>
                  <a:gd name="connsiteX281" fmla="*/ 333173 w 594952"/>
                  <a:gd name="connsiteY281" fmla="*/ 73248 h 1644780"/>
                  <a:gd name="connsiteX282" fmla="*/ 328195 w 594952"/>
                  <a:gd name="connsiteY282" fmla="*/ 70549 h 1644780"/>
                  <a:gd name="connsiteX283" fmla="*/ 335938 w 594952"/>
                  <a:gd name="connsiteY283" fmla="*/ 42483 h 1644780"/>
                  <a:gd name="connsiteX284" fmla="*/ 323217 w 594952"/>
                  <a:gd name="connsiteY284" fmla="*/ 7401 h 1644780"/>
                  <a:gd name="connsiteX285" fmla="*/ 339257 w 594952"/>
                  <a:gd name="connsiteY285" fmla="*/ -155 h 1644780"/>
                  <a:gd name="connsiteX286" fmla="*/ 355850 w 594952"/>
                  <a:gd name="connsiteY286" fmla="*/ 1464 h 1644780"/>
                  <a:gd name="connsiteX287" fmla="*/ 406734 w 594952"/>
                  <a:gd name="connsiteY287" fmla="*/ 44103 h 1644780"/>
                  <a:gd name="connsiteX288" fmla="*/ 446557 w 594952"/>
                  <a:gd name="connsiteY288" fmla="*/ 52198 h 1644780"/>
                  <a:gd name="connsiteX289" fmla="*/ 453747 w 594952"/>
                  <a:gd name="connsiteY289" fmla="*/ 55977 h 1644780"/>
                  <a:gd name="connsiteX290" fmla="*/ 462596 w 594952"/>
                  <a:gd name="connsiteY290" fmla="*/ 61913 h 1644780"/>
                  <a:gd name="connsiteX291" fmla="*/ 481955 w 594952"/>
                  <a:gd name="connsiteY291" fmla="*/ 82423 h 1644780"/>
                  <a:gd name="connsiteX292" fmla="*/ 498547 w 594952"/>
                  <a:gd name="connsiteY292" fmla="*/ 92138 h 1644780"/>
                  <a:gd name="connsiteX293" fmla="*/ 497441 w 594952"/>
                  <a:gd name="connsiteY293" fmla="*/ 111568 h 1644780"/>
                  <a:gd name="connsiteX294" fmla="*/ 510162 w 594952"/>
                  <a:gd name="connsiteY294" fmla="*/ 130998 h 1644780"/>
                  <a:gd name="connsiteX295" fmla="*/ 510162 w 594952"/>
                  <a:gd name="connsiteY295" fmla="*/ 148809 h 1644780"/>
                  <a:gd name="connsiteX296" fmla="*/ 525649 w 594952"/>
                  <a:gd name="connsiteY296" fmla="*/ 163381 h 1644780"/>
                  <a:gd name="connsiteX297" fmla="*/ 522330 w 594952"/>
                  <a:gd name="connsiteY297" fmla="*/ 185510 h 1644780"/>
                  <a:gd name="connsiteX298" fmla="*/ 375761 w 594952"/>
                  <a:gd name="connsiteY298" fmla="*/ 1511071 h 1644780"/>
                  <a:gd name="connsiteX299" fmla="*/ 372995 w 594952"/>
                  <a:gd name="connsiteY299" fmla="*/ 1516468 h 1644780"/>
                  <a:gd name="connsiteX300" fmla="*/ 368571 w 594952"/>
                  <a:gd name="connsiteY300" fmla="*/ 1514849 h 1644780"/>
                  <a:gd name="connsiteX301" fmla="*/ 366358 w 594952"/>
                  <a:gd name="connsiteY301" fmla="*/ 1501895 h 1644780"/>
                  <a:gd name="connsiteX302" fmla="*/ 371889 w 594952"/>
                  <a:gd name="connsiteY302" fmla="*/ 1458178 h 1644780"/>
                  <a:gd name="connsiteX303" fmla="*/ 384057 w 594952"/>
                  <a:gd name="connsiteY303" fmla="*/ 1422556 h 1644780"/>
                  <a:gd name="connsiteX304" fmla="*/ 390694 w 594952"/>
                  <a:gd name="connsiteY304" fmla="*/ 1389093 h 1644780"/>
                  <a:gd name="connsiteX305" fmla="*/ 392354 w 594952"/>
                  <a:gd name="connsiteY305" fmla="*/ 1386934 h 1644780"/>
                  <a:gd name="connsiteX306" fmla="*/ 394566 w 594952"/>
                  <a:gd name="connsiteY306" fmla="*/ 1385855 h 1644780"/>
                  <a:gd name="connsiteX307" fmla="*/ 396225 w 594952"/>
                  <a:gd name="connsiteY307" fmla="*/ 1385855 h 1644780"/>
                  <a:gd name="connsiteX308" fmla="*/ 397885 w 594952"/>
                  <a:gd name="connsiteY308" fmla="*/ 1388014 h 1644780"/>
                  <a:gd name="connsiteX309" fmla="*/ 397331 w 594952"/>
                  <a:gd name="connsiteY309" fmla="*/ 1396110 h 1644780"/>
                  <a:gd name="connsiteX310" fmla="*/ 375761 w 594952"/>
                  <a:gd name="connsiteY310" fmla="*/ 1511071 h 1644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</a:cxnLst>
                <a:rect l="l" t="t" r="r" b="b"/>
                <a:pathLst>
                  <a:path w="594952" h="1644780">
                    <a:moveTo>
                      <a:pt x="501866" y="1376679"/>
                    </a:moveTo>
                    <a:cubicBezTo>
                      <a:pt x="495782" y="1383696"/>
                      <a:pt x="489145" y="1385315"/>
                      <a:pt x="486379" y="1395570"/>
                    </a:cubicBezTo>
                    <a:cubicBezTo>
                      <a:pt x="485273" y="1400427"/>
                      <a:pt x="485273" y="1413920"/>
                      <a:pt x="482508" y="1417159"/>
                    </a:cubicBezTo>
                    <a:cubicBezTo>
                      <a:pt x="481955" y="1418238"/>
                      <a:pt x="478083" y="1421477"/>
                      <a:pt x="476977" y="1421477"/>
                    </a:cubicBezTo>
                    <a:cubicBezTo>
                      <a:pt x="475871" y="1421477"/>
                      <a:pt x="473658" y="1420937"/>
                      <a:pt x="473105" y="1420397"/>
                    </a:cubicBezTo>
                    <a:cubicBezTo>
                      <a:pt x="471999" y="1418778"/>
                      <a:pt x="472552" y="1407444"/>
                      <a:pt x="471999" y="1403666"/>
                    </a:cubicBezTo>
                    <a:cubicBezTo>
                      <a:pt x="470340" y="1399348"/>
                      <a:pt x="467021" y="1395570"/>
                      <a:pt x="464809" y="1391252"/>
                    </a:cubicBezTo>
                    <a:cubicBezTo>
                      <a:pt x="462043" y="1384236"/>
                      <a:pt x="464256" y="1376679"/>
                      <a:pt x="463149" y="1369123"/>
                    </a:cubicBezTo>
                    <a:cubicBezTo>
                      <a:pt x="463149" y="1364266"/>
                      <a:pt x="460937" y="1359408"/>
                      <a:pt x="460384" y="1354551"/>
                    </a:cubicBezTo>
                    <a:cubicBezTo>
                      <a:pt x="460384" y="1351312"/>
                      <a:pt x="463149" y="1342677"/>
                      <a:pt x="464256" y="1339978"/>
                    </a:cubicBezTo>
                    <a:cubicBezTo>
                      <a:pt x="465915" y="1337280"/>
                      <a:pt x="481955" y="1311373"/>
                      <a:pt x="482508" y="1311373"/>
                    </a:cubicBezTo>
                    <a:cubicBezTo>
                      <a:pt x="483061" y="1310833"/>
                      <a:pt x="484167" y="1310294"/>
                      <a:pt x="484720" y="1309754"/>
                    </a:cubicBezTo>
                    <a:cubicBezTo>
                      <a:pt x="486932" y="1308674"/>
                      <a:pt x="486932" y="1305436"/>
                      <a:pt x="490804" y="1305436"/>
                    </a:cubicBezTo>
                    <a:cubicBezTo>
                      <a:pt x="493569" y="1304896"/>
                      <a:pt x="496888" y="1307595"/>
                      <a:pt x="499653" y="1307595"/>
                    </a:cubicBezTo>
                    <a:cubicBezTo>
                      <a:pt x="501313" y="1307595"/>
                      <a:pt x="503525" y="1305436"/>
                      <a:pt x="504631" y="1304896"/>
                    </a:cubicBezTo>
                    <a:cubicBezTo>
                      <a:pt x="506844" y="1304896"/>
                      <a:pt x="511821" y="1305436"/>
                      <a:pt x="512928" y="1307595"/>
                    </a:cubicBezTo>
                    <a:cubicBezTo>
                      <a:pt x="512928" y="1308135"/>
                      <a:pt x="512928" y="1312992"/>
                      <a:pt x="512375" y="1314072"/>
                    </a:cubicBezTo>
                    <a:cubicBezTo>
                      <a:pt x="510715" y="1320548"/>
                      <a:pt x="501313" y="1321088"/>
                      <a:pt x="501313" y="1331882"/>
                    </a:cubicBezTo>
                    <a:cubicBezTo>
                      <a:pt x="500760" y="1335121"/>
                      <a:pt x="502419" y="1348614"/>
                      <a:pt x="504078" y="1351852"/>
                    </a:cubicBezTo>
                    <a:cubicBezTo>
                      <a:pt x="505184" y="1355091"/>
                      <a:pt x="512375" y="1358869"/>
                      <a:pt x="511268" y="1362647"/>
                    </a:cubicBezTo>
                    <a:cubicBezTo>
                      <a:pt x="510162" y="1364806"/>
                      <a:pt x="503525" y="1374521"/>
                      <a:pt x="501866" y="1376679"/>
                    </a:cubicBezTo>
                    <a:close/>
                    <a:moveTo>
                      <a:pt x="522330" y="185510"/>
                    </a:moveTo>
                    <a:cubicBezTo>
                      <a:pt x="529520" y="188748"/>
                      <a:pt x="549985" y="210877"/>
                      <a:pt x="552750" y="217894"/>
                    </a:cubicBezTo>
                    <a:cubicBezTo>
                      <a:pt x="554963" y="223291"/>
                      <a:pt x="552750" y="230307"/>
                      <a:pt x="553857" y="235704"/>
                    </a:cubicBezTo>
                    <a:cubicBezTo>
                      <a:pt x="554410" y="240022"/>
                      <a:pt x="557175" y="242721"/>
                      <a:pt x="557175" y="246499"/>
                    </a:cubicBezTo>
                    <a:cubicBezTo>
                      <a:pt x="557175" y="248118"/>
                      <a:pt x="553303" y="257833"/>
                      <a:pt x="552750" y="261071"/>
                    </a:cubicBezTo>
                    <a:cubicBezTo>
                      <a:pt x="552197" y="264849"/>
                      <a:pt x="553857" y="279422"/>
                      <a:pt x="555516" y="283200"/>
                    </a:cubicBezTo>
                    <a:cubicBezTo>
                      <a:pt x="558834" y="291296"/>
                      <a:pt x="567131" y="291836"/>
                      <a:pt x="569896" y="296153"/>
                    </a:cubicBezTo>
                    <a:cubicBezTo>
                      <a:pt x="580958" y="311805"/>
                      <a:pt x="576533" y="319362"/>
                      <a:pt x="594232" y="335553"/>
                    </a:cubicBezTo>
                    <a:cubicBezTo>
                      <a:pt x="582617" y="347427"/>
                      <a:pt x="580405" y="337172"/>
                      <a:pt x="569343" y="339871"/>
                    </a:cubicBezTo>
                    <a:cubicBezTo>
                      <a:pt x="565471" y="340411"/>
                      <a:pt x="561600" y="344189"/>
                      <a:pt x="557728" y="345268"/>
                    </a:cubicBezTo>
                    <a:cubicBezTo>
                      <a:pt x="555516" y="346348"/>
                      <a:pt x="552197" y="345808"/>
                      <a:pt x="549985" y="346887"/>
                    </a:cubicBezTo>
                    <a:cubicBezTo>
                      <a:pt x="546666" y="348507"/>
                      <a:pt x="544454" y="352285"/>
                      <a:pt x="541688" y="353904"/>
                    </a:cubicBezTo>
                    <a:cubicBezTo>
                      <a:pt x="533392" y="352285"/>
                      <a:pt x="532286" y="342570"/>
                      <a:pt x="520671" y="341490"/>
                    </a:cubicBezTo>
                    <a:cubicBezTo>
                      <a:pt x="517906" y="343649"/>
                      <a:pt x="516246" y="349046"/>
                      <a:pt x="519565" y="351745"/>
                    </a:cubicBezTo>
                    <a:cubicBezTo>
                      <a:pt x="515693" y="352824"/>
                      <a:pt x="512928" y="349586"/>
                      <a:pt x="509609" y="349046"/>
                    </a:cubicBezTo>
                    <a:lnTo>
                      <a:pt x="507950" y="350126"/>
                    </a:lnTo>
                    <a:cubicBezTo>
                      <a:pt x="507397" y="353904"/>
                      <a:pt x="507397" y="363079"/>
                      <a:pt x="508503" y="366317"/>
                    </a:cubicBezTo>
                    <a:cubicBezTo>
                      <a:pt x="510715" y="372794"/>
                      <a:pt x="519012" y="372794"/>
                      <a:pt x="515693" y="382509"/>
                    </a:cubicBezTo>
                    <a:cubicBezTo>
                      <a:pt x="511268" y="384668"/>
                      <a:pt x="501866" y="383049"/>
                      <a:pt x="500207" y="384128"/>
                    </a:cubicBezTo>
                    <a:cubicBezTo>
                      <a:pt x="499100" y="384668"/>
                      <a:pt x="498547" y="390065"/>
                      <a:pt x="497441" y="391145"/>
                    </a:cubicBezTo>
                    <a:cubicBezTo>
                      <a:pt x="496335" y="391684"/>
                      <a:pt x="493569" y="391684"/>
                      <a:pt x="493016" y="392764"/>
                    </a:cubicBezTo>
                    <a:cubicBezTo>
                      <a:pt x="492463" y="393843"/>
                      <a:pt x="494676" y="399780"/>
                      <a:pt x="494123" y="400320"/>
                    </a:cubicBezTo>
                    <a:cubicBezTo>
                      <a:pt x="492463" y="406797"/>
                      <a:pt x="483061" y="407336"/>
                      <a:pt x="478083" y="408956"/>
                    </a:cubicBezTo>
                    <a:lnTo>
                      <a:pt x="477530" y="410575"/>
                    </a:lnTo>
                    <a:cubicBezTo>
                      <a:pt x="480848" y="418131"/>
                      <a:pt x="489698" y="417591"/>
                      <a:pt x="489145" y="428386"/>
                    </a:cubicBezTo>
                    <a:cubicBezTo>
                      <a:pt x="489145" y="437561"/>
                      <a:pt x="486932" y="448895"/>
                      <a:pt x="484720" y="458070"/>
                    </a:cubicBezTo>
                    <a:cubicBezTo>
                      <a:pt x="483614" y="461848"/>
                      <a:pt x="480848" y="468325"/>
                      <a:pt x="478636" y="471563"/>
                    </a:cubicBezTo>
                    <a:cubicBezTo>
                      <a:pt x="478083" y="472103"/>
                      <a:pt x="475317" y="474802"/>
                      <a:pt x="475317" y="475342"/>
                    </a:cubicBezTo>
                    <a:cubicBezTo>
                      <a:pt x="474211" y="481278"/>
                      <a:pt x="477530" y="479659"/>
                      <a:pt x="479189" y="483437"/>
                    </a:cubicBezTo>
                    <a:cubicBezTo>
                      <a:pt x="479742" y="486136"/>
                      <a:pt x="476977" y="493152"/>
                      <a:pt x="477530" y="494772"/>
                    </a:cubicBezTo>
                    <a:cubicBezTo>
                      <a:pt x="478636" y="496391"/>
                      <a:pt x="486379" y="502867"/>
                      <a:pt x="488592" y="503947"/>
                    </a:cubicBezTo>
                    <a:cubicBezTo>
                      <a:pt x="490804" y="505026"/>
                      <a:pt x="495782" y="503947"/>
                      <a:pt x="498547" y="505026"/>
                    </a:cubicBezTo>
                    <a:cubicBezTo>
                      <a:pt x="501313" y="509344"/>
                      <a:pt x="500207" y="514202"/>
                      <a:pt x="502419" y="518519"/>
                    </a:cubicBezTo>
                    <a:cubicBezTo>
                      <a:pt x="502972" y="520139"/>
                      <a:pt x="505737" y="520678"/>
                      <a:pt x="506844" y="522297"/>
                    </a:cubicBezTo>
                    <a:lnTo>
                      <a:pt x="506291" y="524996"/>
                    </a:lnTo>
                    <a:cubicBezTo>
                      <a:pt x="499653" y="534171"/>
                      <a:pt x="491357" y="540108"/>
                      <a:pt x="487485" y="550903"/>
                    </a:cubicBezTo>
                    <a:cubicBezTo>
                      <a:pt x="481401" y="567095"/>
                      <a:pt x="480848" y="587064"/>
                      <a:pt x="470340" y="601637"/>
                    </a:cubicBezTo>
                    <a:cubicBezTo>
                      <a:pt x="466468" y="605955"/>
                      <a:pt x="461490" y="609733"/>
                      <a:pt x="456512" y="613511"/>
                    </a:cubicBezTo>
                    <a:cubicBezTo>
                      <a:pt x="455959" y="614050"/>
                      <a:pt x="454853" y="616749"/>
                      <a:pt x="453747" y="617289"/>
                    </a:cubicBezTo>
                    <a:cubicBezTo>
                      <a:pt x="452088" y="619987"/>
                      <a:pt x="448769" y="621607"/>
                      <a:pt x="446557" y="623765"/>
                    </a:cubicBezTo>
                    <a:cubicBezTo>
                      <a:pt x="442132" y="629702"/>
                      <a:pt x="433282" y="646974"/>
                      <a:pt x="428858" y="650212"/>
                    </a:cubicBezTo>
                    <a:cubicBezTo>
                      <a:pt x="427198" y="651291"/>
                      <a:pt x="422221" y="645894"/>
                      <a:pt x="418902" y="646434"/>
                    </a:cubicBezTo>
                    <a:cubicBezTo>
                      <a:pt x="417243" y="648593"/>
                      <a:pt x="416690" y="651291"/>
                      <a:pt x="414477" y="653990"/>
                    </a:cubicBezTo>
                    <a:cubicBezTo>
                      <a:pt x="407840" y="661006"/>
                      <a:pt x="409499" y="670721"/>
                      <a:pt x="406181" y="679357"/>
                    </a:cubicBezTo>
                    <a:cubicBezTo>
                      <a:pt x="403415" y="687993"/>
                      <a:pt x="398438" y="678817"/>
                      <a:pt x="394013" y="679357"/>
                    </a:cubicBezTo>
                    <a:cubicBezTo>
                      <a:pt x="385717" y="679897"/>
                      <a:pt x="374655" y="707423"/>
                      <a:pt x="373548" y="713899"/>
                    </a:cubicBezTo>
                    <a:cubicBezTo>
                      <a:pt x="373548" y="714439"/>
                      <a:pt x="375208" y="716598"/>
                      <a:pt x="375761" y="717138"/>
                    </a:cubicBezTo>
                    <a:cubicBezTo>
                      <a:pt x="371889" y="741425"/>
                      <a:pt x="363040" y="728472"/>
                      <a:pt x="353637" y="739266"/>
                    </a:cubicBezTo>
                    <a:cubicBezTo>
                      <a:pt x="351425" y="741965"/>
                      <a:pt x="356956" y="748981"/>
                      <a:pt x="357509" y="752220"/>
                    </a:cubicBezTo>
                    <a:cubicBezTo>
                      <a:pt x="358615" y="763554"/>
                      <a:pt x="348659" y="782444"/>
                      <a:pt x="334832" y="780825"/>
                    </a:cubicBezTo>
                    <a:cubicBezTo>
                      <a:pt x="329854" y="778666"/>
                      <a:pt x="332067" y="774888"/>
                      <a:pt x="324323" y="774888"/>
                    </a:cubicBezTo>
                    <a:cubicBezTo>
                      <a:pt x="320452" y="776507"/>
                      <a:pt x="321005" y="777587"/>
                      <a:pt x="319899" y="781365"/>
                    </a:cubicBezTo>
                    <a:cubicBezTo>
                      <a:pt x="319345" y="782444"/>
                      <a:pt x="318239" y="784603"/>
                      <a:pt x="318239" y="785682"/>
                    </a:cubicBezTo>
                    <a:cubicBezTo>
                      <a:pt x="318792" y="789461"/>
                      <a:pt x="329854" y="803493"/>
                      <a:pt x="333173" y="806732"/>
                    </a:cubicBezTo>
                    <a:cubicBezTo>
                      <a:pt x="335385" y="808891"/>
                      <a:pt x="338151" y="809970"/>
                      <a:pt x="339810" y="812129"/>
                    </a:cubicBezTo>
                    <a:lnTo>
                      <a:pt x="340363" y="814288"/>
                    </a:lnTo>
                    <a:lnTo>
                      <a:pt x="338704" y="817526"/>
                    </a:lnTo>
                    <a:cubicBezTo>
                      <a:pt x="334832" y="823463"/>
                      <a:pt x="332067" y="838575"/>
                      <a:pt x="332620" y="845052"/>
                    </a:cubicBezTo>
                    <a:cubicBezTo>
                      <a:pt x="332620" y="849910"/>
                      <a:pt x="337598" y="855846"/>
                      <a:pt x="337044" y="860164"/>
                    </a:cubicBezTo>
                    <a:cubicBezTo>
                      <a:pt x="339810" y="865022"/>
                      <a:pt x="351425" y="873657"/>
                      <a:pt x="342022" y="877975"/>
                    </a:cubicBezTo>
                    <a:cubicBezTo>
                      <a:pt x="338151" y="877435"/>
                      <a:pt x="329854" y="873118"/>
                      <a:pt x="327089" y="878515"/>
                    </a:cubicBezTo>
                    <a:cubicBezTo>
                      <a:pt x="325983" y="880134"/>
                      <a:pt x="324876" y="888770"/>
                      <a:pt x="325429" y="890928"/>
                    </a:cubicBezTo>
                    <a:cubicBezTo>
                      <a:pt x="327089" y="899564"/>
                      <a:pt x="333726" y="907660"/>
                      <a:pt x="334832" y="915756"/>
                    </a:cubicBezTo>
                    <a:cubicBezTo>
                      <a:pt x="337598" y="931408"/>
                      <a:pt x="337598" y="947599"/>
                      <a:pt x="340916" y="963251"/>
                    </a:cubicBezTo>
                    <a:cubicBezTo>
                      <a:pt x="342022" y="968109"/>
                      <a:pt x="350319" y="974046"/>
                      <a:pt x="350872" y="977824"/>
                    </a:cubicBezTo>
                    <a:cubicBezTo>
                      <a:pt x="351425" y="979983"/>
                      <a:pt x="347000" y="985920"/>
                      <a:pt x="347553" y="988618"/>
                    </a:cubicBezTo>
                    <a:cubicBezTo>
                      <a:pt x="348659" y="994555"/>
                      <a:pt x="359168" y="999413"/>
                      <a:pt x="364699" y="999953"/>
                    </a:cubicBezTo>
                    <a:cubicBezTo>
                      <a:pt x="367464" y="999953"/>
                      <a:pt x="371889" y="998333"/>
                      <a:pt x="372995" y="999413"/>
                    </a:cubicBezTo>
                    <a:cubicBezTo>
                      <a:pt x="373548" y="1000492"/>
                      <a:pt x="376314" y="1005890"/>
                      <a:pt x="380186" y="1007509"/>
                    </a:cubicBezTo>
                    <a:cubicBezTo>
                      <a:pt x="382398" y="1005890"/>
                      <a:pt x="385163" y="1000492"/>
                      <a:pt x="387376" y="999953"/>
                    </a:cubicBezTo>
                    <a:cubicBezTo>
                      <a:pt x="388482" y="999413"/>
                      <a:pt x="391801" y="999413"/>
                      <a:pt x="392907" y="999953"/>
                    </a:cubicBezTo>
                    <a:cubicBezTo>
                      <a:pt x="394566" y="1001032"/>
                      <a:pt x="396778" y="1006429"/>
                      <a:pt x="398438" y="1008048"/>
                    </a:cubicBezTo>
                    <a:cubicBezTo>
                      <a:pt x="401203" y="1010747"/>
                      <a:pt x="405075" y="1012906"/>
                      <a:pt x="407287" y="1015605"/>
                    </a:cubicBezTo>
                    <a:cubicBezTo>
                      <a:pt x="408946" y="1017763"/>
                      <a:pt x="409499" y="1022081"/>
                      <a:pt x="411159" y="1023161"/>
                    </a:cubicBezTo>
                    <a:cubicBezTo>
                      <a:pt x="415583" y="1026399"/>
                      <a:pt x="428858" y="1025859"/>
                      <a:pt x="429964" y="1032336"/>
                    </a:cubicBezTo>
                    <a:cubicBezTo>
                      <a:pt x="428305" y="1036114"/>
                      <a:pt x="423880" y="1039892"/>
                      <a:pt x="431070" y="1042591"/>
                    </a:cubicBezTo>
                    <a:cubicBezTo>
                      <a:pt x="435495" y="1044750"/>
                      <a:pt x="444344" y="1050687"/>
                      <a:pt x="449322" y="1051226"/>
                    </a:cubicBezTo>
                    <a:lnTo>
                      <a:pt x="450428" y="1050147"/>
                    </a:lnTo>
                    <a:lnTo>
                      <a:pt x="451534" y="1047448"/>
                    </a:lnTo>
                    <a:cubicBezTo>
                      <a:pt x="452088" y="1046909"/>
                      <a:pt x="455406" y="1045829"/>
                      <a:pt x="456512" y="1046909"/>
                    </a:cubicBezTo>
                    <a:cubicBezTo>
                      <a:pt x="457618" y="1047988"/>
                      <a:pt x="458725" y="1056084"/>
                      <a:pt x="460384" y="1058243"/>
                    </a:cubicBezTo>
                    <a:cubicBezTo>
                      <a:pt x="462596" y="1062561"/>
                      <a:pt x="467574" y="1064719"/>
                      <a:pt x="470340" y="1068497"/>
                    </a:cubicBezTo>
                    <a:lnTo>
                      <a:pt x="470340" y="1070117"/>
                    </a:lnTo>
                    <a:cubicBezTo>
                      <a:pt x="464256" y="1073895"/>
                      <a:pt x="460384" y="1072815"/>
                      <a:pt x="458725" y="1081451"/>
                    </a:cubicBezTo>
                    <a:cubicBezTo>
                      <a:pt x="462596" y="1083610"/>
                      <a:pt x="467021" y="1081991"/>
                      <a:pt x="471446" y="1083070"/>
                    </a:cubicBezTo>
                    <a:lnTo>
                      <a:pt x="472552" y="1084689"/>
                    </a:lnTo>
                    <a:lnTo>
                      <a:pt x="471446" y="1086848"/>
                    </a:lnTo>
                    <a:cubicBezTo>
                      <a:pt x="466468" y="1090626"/>
                      <a:pt x="459831" y="1092245"/>
                      <a:pt x="455406" y="1097643"/>
                    </a:cubicBezTo>
                    <a:cubicBezTo>
                      <a:pt x="448769" y="1105199"/>
                      <a:pt x="442685" y="1115453"/>
                      <a:pt x="434942" y="1121930"/>
                    </a:cubicBezTo>
                    <a:cubicBezTo>
                      <a:pt x="432176" y="1124089"/>
                      <a:pt x="428305" y="1124629"/>
                      <a:pt x="425539" y="1126788"/>
                    </a:cubicBezTo>
                    <a:cubicBezTo>
                      <a:pt x="424433" y="1127867"/>
                      <a:pt x="418349" y="1134344"/>
                      <a:pt x="417796" y="1134344"/>
                    </a:cubicBezTo>
                    <a:cubicBezTo>
                      <a:pt x="415583" y="1134883"/>
                      <a:pt x="413924" y="1134883"/>
                      <a:pt x="412265" y="1136503"/>
                    </a:cubicBezTo>
                    <a:cubicBezTo>
                      <a:pt x="410053" y="1136503"/>
                      <a:pt x="406181" y="1135423"/>
                      <a:pt x="403969" y="1134883"/>
                    </a:cubicBezTo>
                    <a:lnTo>
                      <a:pt x="401756" y="1132185"/>
                    </a:lnTo>
                    <a:cubicBezTo>
                      <a:pt x="401203" y="1124629"/>
                      <a:pt x="405075" y="1107358"/>
                      <a:pt x="394013" y="1107358"/>
                    </a:cubicBezTo>
                    <a:lnTo>
                      <a:pt x="392354" y="1107897"/>
                    </a:lnTo>
                    <a:cubicBezTo>
                      <a:pt x="391801" y="1113834"/>
                      <a:pt x="392907" y="1119771"/>
                      <a:pt x="392354" y="1125708"/>
                    </a:cubicBezTo>
                    <a:lnTo>
                      <a:pt x="390141" y="1127327"/>
                    </a:lnTo>
                    <a:cubicBezTo>
                      <a:pt x="389035" y="1127327"/>
                      <a:pt x="386270" y="1125708"/>
                      <a:pt x="385163" y="1124629"/>
                    </a:cubicBezTo>
                    <a:cubicBezTo>
                      <a:pt x="379079" y="1117612"/>
                      <a:pt x="377973" y="1127867"/>
                      <a:pt x="374102" y="1128407"/>
                    </a:cubicBezTo>
                    <a:cubicBezTo>
                      <a:pt x="370783" y="1128946"/>
                      <a:pt x="364699" y="1124629"/>
                      <a:pt x="361380" y="1124629"/>
                    </a:cubicBezTo>
                    <a:cubicBezTo>
                      <a:pt x="360274" y="1124089"/>
                      <a:pt x="358062" y="1124629"/>
                      <a:pt x="356956" y="1125168"/>
                    </a:cubicBezTo>
                    <a:cubicBezTo>
                      <a:pt x="353084" y="1125708"/>
                      <a:pt x="349212" y="1126788"/>
                      <a:pt x="345341" y="1127327"/>
                    </a:cubicBezTo>
                    <a:cubicBezTo>
                      <a:pt x="339810" y="1127327"/>
                      <a:pt x="333726" y="1126248"/>
                      <a:pt x="328195" y="1126788"/>
                    </a:cubicBezTo>
                    <a:cubicBezTo>
                      <a:pt x="319899" y="1127867"/>
                      <a:pt x="315474" y="1133804"/>
                      <a:pt x="308284" y="1136503"/>
                    </a:cubicBezTo>
                    <a:cubicBezTo>
                      <a:pt x="304965" y="1137582"/>
                      <a:pt x="298881" y="1137042"/>
                      <a:pt x="295009" y="1138122"/>
                    </a:cubicBezTo>
                    <a:lnTo>
                      <a:pt x="294456" y="1139201"/>
                    </a:lnTo>
                    <a:lnTo>
                      <a:pt x="295563" y="1140820"/>
                    </a:lnTo>
                    <a:cubicBezTo>
                      <a:pt x="298881" y="1142440"/>
                      <a:pt x="301093" y="1141900"/>
                      <a:pt x="304412" y="1142440"/>
                    </a:cubicBezTo>
                    <a:cubicBezTo>
                      <a:pt x="307731" y="1142979"/>
                      <a:pt x="308837" y="1145678"/>
                      <a:pt x="314368" y="1145138"/>
                    </a:cubicBezTo>
                    <a:cubicBezTo>
                      <a:pt x="319345" y="1144598"/>
                      <a:pt x="324323" y="1142440"/>
                      <a:pt x="329854" y="1141900"/>
                    </a:cubicBezTo>
                    <a:cubicBezTo>
                      <a:pt x="332067" y="1141900"/>
                      <a:pt x="338151" y="1143519"/>
                      <a:pt x="339810" y="1142440"/>
                    </a:cubicBezTo>
                    <a:cubicBezTo>
                      <a:pt x="340916" y="1141900"/>
                      <a:pt x="339810" y="1138122"/>
                      <a:pt x="340916" y="1137582"/>
                    </a:cubicBezTo>
                    <a:cubicBezTo>
                      <a:pt x="342575" y="1136503"/>
                      <a:pt x="348659" y="1137582"/>
                      <a:pt x="350319" y="1138122"/>
                    </a:cubicBezTo>
                    <a:cubicBezTo>
                      <a:pt x="353084" y="1138662"/>
                      <a:pt x="359721" y="1145678"/>
                      <a:pt x="360827" y="1145678"/>
                    </a:cubicBezTo>
                    <a:cubicBezTo>
                      <a:pt x="364699" y="1146757"/>
                      <a:pt x="368571" y="1146757"/>
                      <a:pt x="372442" y="1147837"/>
                    </a:cubicBezTo>
                    <a:cubicBezTo>
                      <a:pt x="373548" y="1148916"/>
                      <a:pt x="373548" y="1154853"/>
                      <a:pt x="374655" y="1155933"/>
                    </a:cubicBezTo>
                    <a:cubicBezTo>
                      <a:pt x="375208" y="1157552"/>
                      <a:pt x="378526" y="1157012"/>
                      <a:pt x="378526" y="1157012"/>
                    </a:cubicBezTo>
                    <a:cubicBezTo>
                      <a:pt x="381845" y="1157012"/>
                      <a:pt x="384610" y="1155393"/>
                      <a:pt x="387376" y="1154853"/>
                    </a:cubicBezTo>
                    <a:cubicBezTo>
                      <a:pt x="394013" y="1154313"/>
                      <a:pt x="401203" y="1157012"/>
                      <a:pt x="407287" y="1155933"/>
                    </a:cubicBezTo>
                    <a:cubicBezTo>
                      <a:pt x="410053" y="1155933"/>
                      <a:pt x="412265" y="1152694"/>
                      <a:pt x="413371" y="1150535"/>
                    </a:cubicBezTo>
                    <a:cubicBezTo>
                      <a:pt x="416690" y="1145678"/>
                      <a:pt x="434389" y="1140820"/>
                      <a:pt x="439920" y="1137042"/>
                    </a:cubicBezTo>
                    <a:cubicBezTo>
                      <a:pt x="442685" y="1135423"/>
                      <a:pt x="443791" y="1131645"/>
                      <a:pt x="446557" y="1130026"/>
                    </a:cubicBezTo>
                    <a:lnTo>
                      <a:pt x="449875" y="1130026"/>
                    </a:lnTo>
                    <a:cubicBezTo>
                      <a:pt x="453747" y="1132725"/>
                      <a:pt x="454300" y="1137582"/>
                      <a:pt x="452641" y="1141900"/>
                    </a:cubicBezTo>
                    <a:cubicBezTo>
                      <a:pt x="448769" y="1144059"/>
                      <a:pt x="443238" y="1141360"/>
                      <a:pt x="439366" y="1144059"/>
                    </a:cubicBezTo>
                    <a:cubicBezTo>
                      <a:pt x="434942" y="1153234"/>
                      <a:pt x="450428" y="1151075"/>
                      <a:pt x="445450" y="1158631"/>
                    </a:cubicBezTo>
                    <a:cubicBezTo>
                      <a:pt x="442685" y="1162409"/>
                      <a:pt x="434942" y="1164568"/>
                      <a:pt x="432176" y="1168886"/>
                    </a:cubicBezTo>
                    <a:cubicBezTo>
                      <a:pt x="426645" y="1175902"/>
                      <a:pt x="425539" y="1185617"/>
                      <a:pt x="422221" y="1193174"/>
                    </a:cubicBezTo>
                    <a:lnTo>
                      <a:pt x="420561" y="1193713"/>
                    </a:lnTo>
                    <a:cubicBezTo>
                      <a:pt x="413924" y="1193174"/>
                      <a:pt x="412818" y="1185078"/>
                      <a:pt x="408393" y="1180760"/>
                    </a:cubicBezTo>
                    <a:lnTo>
                      <a:pt x="405075" y="1181300"/>
                    </a:lnTo>
                    <a:cubicBezTo>
                      <a:pt x="403969" y="1182919"/>
                      <a:pt x="403415" y="1187776"/>
                      <a:pt x="403415" y="1189935"/>
                    </a:cubicBezTo>
                    <a:cubicBezTo>
                      <a:pt x="406734" y="1200730"/>
                      <a:pt x="396225" y="1203428"/>
                      <a:pt x="390141" y="1208826"/>
                    </a:cubicBezTo>
                    <a:cubicBezTo>
                      <a:pt x="389035" y="1209905"/>
                      <a:pt x="388482" y="1212064"/>
                      <a:pt x="386823" y="1212604"/>
                    </a:cubicBezTo>
                    <a:cubicBezTo>
                      <a:pt x="384610" y="1213683"/>
                      <a:pt x="376867" y="1213143"/>
                      <a:pt x="375208" y="1214223"/>
                    </a:cubicBezTo>
                    <a:cubicBezTo>
                      <a:pt x="373548" y="1215842"/>
                      <a:pt x="375761" y="1222858"/>
                      <a:pt x="374102" y="1226097"/>
                    </a:cubicBezTo>
                    <a:cubicBezTo>
                      <a:pt x="368571" y="1228795"/>
                      <a:pt x="358062" y="1230414"/>
                      <a:pt x="353637" y="1233653"/>
                    </a:cubicBezTo>
                    <a:cubicBezTo>
                      <a:pt x="354743" y="1239590"/>
                      <a:pt x="365252" y="1248225"/>
                      <a:pt x="360274" y="1253623"/>
                    </a:cubicBezTo>
                    <a:cubicBezTo>
                      <a:pt x="359168" y="1255242"/>
                      <a:pt x="356956" y="1255781"/>
                      <a:pt x="355296" y="1257401"/>
                    </a:cubicBezTo>
                    <a:cubicBezTo>
                      <a:pt x="354743" y="1261179"/>
                      <a:pt x="356956" y="1271433"/>
                      <a:pt x="358615" y="1274672"/>
                    </a:cubicBezTo>
                    <a:cubicBezTo>
                      <a:pt x="359721" y="1277370"/>
                      <a:pt x="363040" y="1280069"/>
                      <a:pt x="363593" y="1282228"/>
                    </a:cubicBezTo>
                    <a:cubicBezTo>
                      <a:pt x="365805" y="1291403"/>
                      <a:pt x="359721" y="1293022"/>
                      <a:pt x="358615" y="1297880"/>
                    </a:cubicBezTo>
                    <a:cubicBezTo>
                      <a:pt x="361380" y="1304357"/>
                      <a:pt x="362487" y="1303817"/>
                      <a:pt x="363593" y="1311373"/>
                    </a:cubicBezTo>
                    <a:cubicBezTo>
                      <a:pt x="366911" y="1320548"/>
                      <a:pt x="360274" y="1322167"/>
                      <a:pt x="359721" y="1329184"/>
                    </a:cubicBezTo>
                    <a:cubicBezTo>
                      <a:pt x="359721" y="1333502"/>
                      <a:pt x="364146" y="1338899"/>
                      <a:pt x="364146" y="1343217"/>
                    </a:cubicBezTo>
                    <a:cubicBezTo>
                      <a:pt x="364146" y="1347534"/>
                      <a:pt x="360274" y="1351312"/>
                      <a:pt x="360274" y="1356710"/>
                    </a:cubicBezTo>
                    <a:cubicBezTo>
                      <a:pt x="366911" y="1368044"/>
                      <a:pt x="372442" y="1366425"/>
                      <a:pt x="365805" y="1384236"/>
                    </a:cubicBezTo>
                    <a:cubicBezTo>
                      <a:pt x="364699" y="1386395"/>
                      <a:pt x="361934" y="1388553"/>
                      <a:pt x="361380" y="1391252"/>
                    </a:cubicBezTo>
                    <a:cubicBezTo>
                      <a:pt x="359721" y="1395570"/>
                      <a:pt x="363040" y="1402046"/>
                      <a:pt x="363040" y="1406904"/>
                    </a:cubicBezTo>
                    <a:cubicBezTo>
                      <a:pt x="363040" y="1409603"/>
                      <a:pt x="361934" y="1412841"/>
                      <a:pt x="361380" y="1415540"/>
                    </a:cubicBezTo>
                    <a:cubicBezTo>
                      <a:pt x="363593" y="1417159"/>
                      <a:pt x="365252" y="1417159"/>
                      <a:pt x="365252" y="1420397"/>
                    </a:cubicBezTo>
                    <a:lnTo>
                      <a:pt x="364146" y="1423096"/>
                    </a:lnTo>
                    <a:cubicBezTo>
                      <a:pt x="362487" y="1424175"/>
                      <a:pt x="360274" y="1424175"/>
                      <a:pt x="358615" y="1425255"/>
                    </a:cubicBezTo>
                    <a:cubicBezTo>
                      <a:pt x="355296" y="1431192"/>
                      <a:pt x="359721" y="1443065"/>
                      <a:pt x="359721" y="1450082"/>
                    </a:cubicBezTo>
                    <a:cubicBezTo>
                      <a:pt x="360274" y="1460876"/>
                      <a:pt x="348659" y="1483545"/>
                      <a:pt x="344788" y="1495419"/>
                    </a:cubicBezTo>
                    <a:cubicBezTo>
                      <a:pt x="343128" y="1499736"/>
                      <a:pt x="342575" y="1505673"/>
                      <a:pt x="342022" y="1510531"/>
                    </a:cubicBezTo>
                    <a:cubicBezTo>
                      <a:pt x="340363" y="1519706"/>
                      <a:pt x="338704" y="1528881"/>
                      <a:pt x="337044" y="1537517"/>
                    </a:cubicBezTo>
                    <a:lnTo>
                      <a:pt x="334832" y="1539676"/>
                    </a:lnTo>
                    <a:cubicBezTo>
                      <a:pt x="329301" y="1540216"/>
                      <a:pt x="328748" y="1533739"/>
                      <a:pt x="325983" y="1530501"/>
                    </a:cubicBezTo>
                    <a:cubicBezTo>
                      <a:pt x="317686" y="1528342"/>
                      <a:pt x="302200" y="1536438"/>
                      <a:pt x="293903" y="1538057"/>
                    </a:cubicBezTo>
                    <a:cubicBezTo>
                      <a:pt x="288372" y="1539136"/>
                      <a:pt x="261271" y="1540755"/>
                      <a:pt x="259612" y="1541835"/>
                    </a:cubicBezTo>
                    <a:cubicBezTo>
                      <a:pt x="258505" y="1544533"/>
                      <a:pt x="256846" y="1554248"/>
                      <a:pt x="255187" y="1555328"/>
                    </a:cubicBezTo>
                    <a:cubicBezTo>
                      <a:pt x="253528" y="1556407"/>
                      <a:pt x="249103" y="1554788"/>
                      <a:pt x="246890" y="1555328"/>
                    </a:cubicBezTo>
                    <a:cubicBezTo>
                      <a:pt x="240806" y="1557487"/>
                      <a:pt x="231404" y="1576917"/>
                      <a:pt x="229191" y="1582854"/>
                    </a:cubicBezTo>
                    <a:cubicBezTo>
                      <a:pt x="224214" y="1597426"/>
                      <a:pt x="241359" y="1610919"/>
                      <a:pt x="234722" y="1625492"/>
                    </a:cubicBezTo>
                    <a:cubicBezTo>
                      <a:pt x="233616" y="1628191"/>
                      <a:pt x="230298" y="1631969"/>
                      <a:pt x="227532" y="1632508"/>
                    </a:cubicBezTo>
                    <a:cubicBezTo>
                      <a:pt x="226979" y="1632508"/>
                      <a:pt x="215917" y="1629810"/>
                      <a:pt x="212599" y="1630349"/>
                    </a:cubicBezTo>
                    <a:cubicBezTo>
                      <a:pt x="197665" y="1631969"/>
                      <a:pt x="182732" y="1643843"/>
                      <a:pt x="178860" y="1644382"/>
                    </a:cubicBezTo>
                    <a:cubicBezTo>
                      <a:pt x="173329" y="1645462"/>
                      <a:pt x="148440" y="1642763"/>
                      <a:pt x="142909" y="1640064"/>
                    </a:cubicBezTo>
                    <a:cubicBezTo>
                      <a:pt x="142909" y="1637366"/>
                      <a:pt x="146781" y="1633588"/>
                      <a:pt x="147887" y="1626032"/>
                    </a:cubicBezTo>
                    <a:cubicBezTo>
                      <a:pt x="147887" y="1621174"/>
                      <a:pt x="148993" y="1610380"/>
                      <a:pt x="147887" y="1606062"/>
                    </a:cubicBezTo>
                    <a:cubicBezTo>
                      <a:pt x="147334" y="1605522"/>
                      <a:pt x="140144" y="1597966"/>
                      <a:pt x="139037" y="1595807"/>
                    </a:cubicBezTo>
                    <a:cubicBezTo>
                      <a:pt x="136825" y="1592569"/>
                      <a:pt x="136272" y="1588251"/>
                      <a:pt x="134613" y="1585013"/>
                    </a:cubicBezTo>
                    <a:cubicBezTo>
                      <a:pt x="132953" y="1582314"/>
                      <a:pt x="129635" y="1576917"/>
                      <a:pt x="127423" y="1574758"/>
                    </a:cubicBezTo>
                    <a:cubicBezTo>
                      <a:pt x="116361" y="1563963"/>
                      <a:pt x="111383" y="1568821"/>
                      <a:pt x="104193" y="1552090"/>
                    </a:cubicBezTo>
                    <a:cubicBezTo>
                      <a:pt x="102533" y="1548311"/>
                      <a:pt x="101980" y="1545613"/>
                      <a:pt x="103640" y="1541835"/>
                    </a:cubicBezTo>
                    <a:lnTo>
                      <a:pt x="105852" y="1540755"/>
                    </a:lnTo>
                    <a:cubicBezTo>
                      <a:pt x="111936" y="1542375"/>
                      <a:pt x="117467" y="1544533"/>
                      <a:pt x="123551" y="1546153"/>
                    </a:cubicBezTo>
                    <a:lnTo>
                      <a:pt x="125210" y="1545073"/>
                    </a:lnTo>
                    <a:cubicBezTo>
                      <a:pt x="130741" y="1532120"/>
                      <a:pt x="117467" y="1530501"/>
                      <a:pt x="118573" y="1521325"/>
                    </a:cubicBezTo>
                    <a:cubicBezTo>
                      <a:pt x="120785" y="1518087"/>
                      <a:pt x="128529" y="1521865"/>
                      <a:pt x="130188" y="1515928"/>
                    </a:cubicBezTo>
                    <a:cubicBezTo>
                      <a:pt x="130741" y="1513769"/>
                      <a:pt x="131847" y="1511071"/>
                      <a:pt x="132400" y="1508912"/>
                    </a:cubicBezTo>
                    <a:cubicBezTo>
                      <a:pt x="132953" y="1507293"/>
                      <a:pt x="134613" y="1499197"/>
                      <a:pt x="133507" y="1498117"/>
                    </a:cubicBezTo>
                    <a:cubicBezTo>
                      <a:pt x="132400" y="1497038"/>
                      <a:pt x="121339" y="1494339"/>
                      <a:pt x="119126" y="1493260"/>
                    </a:cubicBezTo>
                    <a:cubicBezTo>
                      <a:pt x="116361" y="1492180"/>
                      <a:pt x="111383" y="1474369"/>
                      <a:pt x="108617" y="1470591"/>
                    </a:cubicBezTo>
                    <a:cubicBezTo>
                      <a:pt x="105299" y="1466813"/>
                      <a:pt x="97002" y="1464115"/>
                      <a:pt x="93131" y="1460337"/>
                    </a:cubicBezTo>
                    <a:cubicBezTo>
                      <a:pt x="86494" y="1454400"/>
                      <a:pt x="87600" y="1447383"/>
                      <a:pt x="84834" y="1440367"/>
                    </a:cubicBezTo>
                    <a:cubicBezTo>
                      <a:pt x="83175" y="1436049"/>
                      <a:pt x="80410" y="1432811"/>
                      <a:pt x="78750" y="1429033"/>
                    </a:cubicBezTo>
                    <a:cubicBezTo>
                      <a:pt x="77644" y="1425794"/>
                      <a:pt x="75432" y="1414460"/>
                      <a:pt x="73773" y="1412841"/>
                    </a:cubicBezTo>
                    <a:cubicBezTo>
                      <a:pt x="73220" y="1411761"/>
                      <a:pt x="69348" y="1412841"/>
                      <a:pt x="68242" y="1413381"/>
                    </a:cubicBezTo>
                    <a:cubicBezTo>
                      <a:pt x="66582" y="1414460"/>
                      <a:pt x="63817" y="1420397"/>
                      <a:pt x="59945" y="1416079"/>
                    </a:cubicBezTo>
                    <a:cubicBezTo>
                      <a:pt x="51649" y="1405825"/>
                      <a:pt x="63264" y="1393951"/>
                      <a:pt x="54414" y="1380458"/>
                    </a:cubicBezTo>
                    <a:cubicBezTo>
                      <a:pt x="53308" y="1379378"/>
                      <a:pt x="50543" y="1376679"/>
                      <a:pt x="49437" y="1376140"/>
                    </a:cubicBezTo>
                    <a:cubicBezTo>
                      <a:pt x="47777" y="1375600"/>
                      <a:pt x="45565" y="1376140"/>
                      <a:pt x="43906" y="1376140"/>
                    </a:cubicBezTo>
                    <a:cubicBezTo>
                      <a:pt x="43353" y="1372362"/>
                      <a:pt x="45565" y="1364806"/>
                      <a:pt x="45565" y="1362647"/>
                    </a:cubicBezTo>
                    <a:cubicBezTo>
                      <a:pt x="45565" y="1361028"/>
                      <a:pt x="42799" y="1358869"/>
                      <a:pt x="42799" y="1356710"/>
                    </a:cubicBezTo>
                    <a:cubicBezTo>
                      <a:pt x="42799" y="1355091"/>
                      <a:pt x="48883" y="1339978"/>
                      <a:pt x="49437" y="1336200"/>
                    </a:cubicBezTo>
                    <a:cubicBezTo>
                      <a:pt x="52202" y="1323247"/>
                      <a:pt x="49437" y="1311913"/>
                      <a:pt x="47777" y="1299499"/>
                    </a:cubicBezTo>
                    <a:cubicBezTo>
                      <a:pt x="38928" y="1295721"/>
                      <a:pt x="32844" y="1310294"/>
                      <a:pt x="28419" y="1305436"/>
                    </a:cubicBezTo>
                    <a:cubicBezTo>
                      <a:pt x="26207" y="1303277"/>
                      <a:pt x="28419" y="1300039"/>
                      <a:pt x="24547" y="1297340"/>
                    </a:cubicBezTo>
                    <a:cubicBezTo>
                      <a:pt x="22888" y="1296261"/>
                      <a:pt x="14039" y="1295721"/>
                      <a:pt x="12379" y="1293022"/>
                    </a:cubicBezTo>
                    <a:cubicBezTo>
                      <a:pt x="10167" y="1289244"/>
                      <a:pt x="8508" y="1271433"/>
                      <a:pt x="8508" y="1266036"/>
                    </a:cubicBezTo>
                    <a:cubicBezTo>
                      <a:pt x="7955" y="1264957"/>
                      <a:pt x="8508" y="1263877"/>
                      <a:pt x="8508" y="1262798"/>
                    </a:cubicBezTo>
                    <a:cubicBezTo>
                      <a:pt x="6848" y="1250924"/>
                      <a:pt x="1871" y="1239590"/>
                      <a:pt x="-342" y="1228256"/>
                    </a:cubicBezTo>
                    <a:cubicBezTo>
                      <a:pt x="-2554" y="1216382"/>
                      <a:pt x="5742" y="1222319"/>
                      <a:pt x="3530" y="1211524"/>
                    </a:cubicBezTo>
                    <a:lnTo>
                      <a:pt x="11273" y="1214223"/>
                    </a:lnTo>
                    <a:lnTo>
                      <a:pt x="12379" y="1236351"/>
                    </a:lnTo>
                    <a:lnTo>
                      <a:pt x="19016" y="1237971"/>
                    </a:lnTo>
                    <a:lnTo>
                      <a:pt x="25100" y="1236351"/>
                    </a:lnTo>
                    <a:lnTo>
                      <a:pt x="37269" y="1191554"/>
                    </a:lnTo>
                    <a:lnTo>
                      <a:pt x="28419" y="1152155"/>
                    </a:lnTo>
                    <a:lnTo>
                      <a:pt x="38928" y="1142440"/>
                    </a:lnTo>
                    <a:lnTo>
                      <a:pt x="36162" y="1121930"/>
                    </a:lnTo>
                    <a:lnTo>
                      <a:pt x="55521" y="1117073"/>
                    </a:lnTo>
                    <a:lnTo>
                      <a:pt x="68242" y="1097643"/>
                    </a:lnTo>
                    <a:lnTo>
                      <a:pt x="69348" y="1072276"/>
                    </a:lnTo>
                    <a:lnTo>
                      <a:pt x="75985" y="1049067"/>
                    </a:lnTo>
                    <a:lnTo>
                      <a:pt x="47777" y="989698"/>
                    </a:lnTo>
                    <a:lnTo>
                      <a:pt x="57180" y="981062"/>
                    </a:lnTo>
                    <a:lnTo>
                      <a:pt x="67689" y="981062"/>
                    </a:lnTo>
                    <a:lnTo>
                      <a:pt x="78750" y="949219"/>
                    </a:lnTo>
                    <a:lnTo>
                      <a:pt x="75985" y="935726"/>
                    </a:lnTo>
                    <a:lnTo>
                      <a:pt x="36715" y="902802"/>
                    </a:lnTo>
                    <a:lnTo>
                      <a:pt x="41693" y="840734"/>
                    </a:lnTo>
                    <a:lnTo>
                      <a:pt x="38928" y="833718"/>
                    </a:lnTo>
                    <a:lnTo>
                      <a:pt x="20676" y="795937"/>
                    </a:lnTo>
                    <a:lnTo>
                      <a:pt x="20123" y="764094"/>
                    </a:lnTo>
                    <a:lnTo>
                      <a:pt x="26760" y="752220"/>
                    </a:lnTo>
                    <a:lnTo>
                      <a:pt x="14592" y="720376"/>
                    </a:lnTo>
                    <a:lnTo>
                      <a:pt x="23994" y="695009"/>
                    </a:lnTo>
                    <a:lnTo>
                      <a:pt x="20123" y="683675"/>
                    </a:lnTo>
                    <a:lnTo>
                      <a:pt x="25100" y="669642"/>
                    </a:lnTo>
                    <a:lnTo>
                      <a:pt x="45565" y="637798"/>
                    </a:lnTo>
                    <a:lnTo>
                      <a:pt x="71007" y="622686"/>
                    </a:lnTo>
                    <a:lnTo>
                      <a:pt x="114148" y="625385"/>
                    </a:lnTo>
                    <a:lnTo>
                      <a:pt x="119126" y="607574"/>
                    </a:lnTo>
                    <a:lnTo>
                      <a:pt x="116361" y="576810"/>
                    </a:lnTo>
                    <a:lnTo>
                      <a:pt x="91472" y="558999"/>
                    </a:lnTo>
                    <a:lnTo>
                      <a:pt x="117467" y="495311"/>
                    </a:lnTo>
                    <a:lnTo>
                      <a:pt x="124657" y="460769"/>
                    </a:lnTo>
                    <a:lnTo>
                      <a:pt x="125763" y="416512"/>
                    </a:lnTo>
                    <a:lnTo>
                      <a:pt x="116914" y="383049"/>
                    </a:lnTo>
                    <a:lnTo>
                      <a:pt x="136825" y="373334"/>
                    </a:lnTo>
                    <a:lnTo>
                      <a:pt x="160055" y="354444"/>
                    </a:lnTo>
                    <a:lnTo>
                      <a:pt x="147887" y="335013"/>
                    </a:lnTo>
                    <a:lnTo>
                      <a:pt x="189369" y="272406"/>
                    </a:lnTo>
                    <a:lnTo>
                      <a:pt x="186050" y="241641"/>
                    </a:lnTo>
                    <a:lnTo>
                      <a:pt x="171117" y="221132"/>
                    </a:lnTo>
                    <a:lnTo>
                      <a:pt x="181626" y="205480"/>
                    </a:lnTo>
                    <a:lnTo>
                      <a:pt x="191581" y="162842"/>
                    </a:lnTo>
                    <a:lnTo>
                      <a:pt x="212599" y="140173"/>
                    </a:lnTo>
                    <a:lnTo>
                      <a:pt x="236382" y="145571"/>
                    </a:lnTo>
                    <a:lnTo>
                      <a:pt x="244678" y="145031"/>
                    </a:lnTo>
                    <a:lnTo>
                      <a:pt x="251868" y="125601"/>
                    </a:lnTo>
                    <a:lnTo>
                      <a:pt x="247997" y="120204"/>
                    </a:lnTo>
                    <a:lnTo>
                      <a:pt x="240253" y="93217"/>
                    </a:lnTo>
                    <a:lnTo>
                      <a:pt x="243572" y="81883"/>
                    </a:lnTo>
                    <a:lnTo>
                      <a:pt x="277310" y="74327"/>
                    </a:lnTo>
                    <a:lnTo>
                      <a:pt x="329854" y="84042"/>
                    </a:lnTo>
                    <a:lnTo>
                      <a:pt x="333173" y="73248"/>
                    </a:lnTo>
                    <a:lnTo>
                      <a:pt x="328195" y="70549"/>
                    </a:lnTo>
                    <a:lnTo>
                      <a:pt x="335938" y="42483"/>
                    </a:lnTo>
                    <a:lnTo>
                      <a:pt x="323217" y="7401"/>
                    </a:lnTo>
                    <a:lnTo>
                      <a:pt x="339257" y="-155"/>
                    </a:lnTo>
                    <a:lnTo>
                      <a:pt x="355850" y="1464"/>
                    </a:lnTo>
                    <a:cubicBezTo>
                      <a:pt x="369124" y="19815"/>
                      <a:pt x="384057" y="37626"/>
                      <a:pt x="406734" y="44103"/>
                    </a:cubicBezTo>
                    <a:cubicBezTo>
                      <a:pt x="420008" y="47881"/>
                      <a:pt x="433836" y="48420"/>
                      <a:pt x="446557" y="52198"/>
                    </a:cubicBezTo>
                    <a:cubicBezTo>
                      <a:pt x="449322" y="52738"/>
                      <a:pt x="451534" y="54357"/>
                      <a:pt x="453747" y="55977"/>
                    </a:cubicBezTo>
                    <a:cubicBezTo>
                      <a:pt x="456512" y="57596"/>
                      <a:pt x="459831" y="59215"/>
                      <a:pt x="462596" y="61913"/>
                    </a:cubicBezTo>
                    <a:cubicBezTo>
                      <a:pt x="468680" y="66771"/>
                      <a:pt x="476424" y="80264"/>
                      <a:pt x="481955" y="82423"/>
                    </a:cubicBezTo>
                    <a:cubicBezTo>
                      <a:pt x="489145" y="85661"/>
                      <a:pt x="495782" y="81883"/>
                      <a:pt x="498547" y="92138"/>
                    </a:cubicBezTo>
                    <a:cubicBezTo>
                      <a:pt x="501313" y="101313"/>
                      <a:pt x="496888" y="107250"/>
                      <a:pt x="497441" y="111568"/>
                    </a:cubicBezTo>
                    <a:cubicBezTo>
                      <a:pt x="497994" y="112647"/>
                      <a:pt x="509056" y="126141"/>
                      <a:pt x="510162" y="130998"/>
                    </a:cubicBezTo>
                    <a:cubicBezTo>
                      <a:pt x="511268" y="136935"/>
                      <a:pt x="508503" y="143412"/>
                      <a:pt x="510162" y="148809"/>
                    </a:cubicBezTo>
                    <a:cubicBezTo>
                      <a:pt x="511821" y="156905"/>
                      <a:pt x="525096" y="151508"/>
                      <a:pt x="525649" y="163381"/>
                    </a:cubicBezTo>
                    <a:cubicBezTo>
                      <a:pt x="526202" y="171477"/>
                      <a:pt x="521777" y="176335"/>
                      <a:pt x="522330" y="185510"/>
                    </a:cubicBezTo>
                    <a:close/>
                    <a:moveTo>
                      <a:pt x="375761" y="1511071"/>
                    </a:moveTo>
                    <a:lnTo>
                      <a:pt x="372995" y="1516468"/>
                    </a:lnTo>
                    <a:cubicBezTo>
                      <a:pt x="372442" y="1517008"/>
                      <a:pt x="368571" y="1515388"/>
                      <a:pt x="368571" y="1514849"/>
                    </a:cubicBezTo>
                    <a:cubicBezTo>
                      <a:pt x="367464" y="1512150"/>
                      <a:pt x="366358" y="1504054"/>
                      <a:pt x="366358" y="1501895"/>
                    </a:cubicBezTo>
                    <a:cubicBezTo>
                      <a:pt x="366911" y="1493260"/>
                      <a:pt x="370230" y="1466274"/>
                      <a:pt x="371889" y="1458178"/>
                    </a:cubicBezTo>
                    <a:cubicBezTo>
                      <a:pt x="373548" y="1451161"/>
                      <a:pt x="382398" y="1429572"/>
                      <a:pt x="384057" y="1422556"/>
                    </a:cubicBezTo>
                    <a:cubicBezTo>
                      <a:pt x="385717" y="1416079"/>
                      <a:pt x="389588" y="1395570"/>
                      <a:pt x="390694" y="1389093"/>
                    </a:cubicBezTo>
                    <a:cubicBezTo>
                      <a:pt x="391247" y="1388553"/>
                      <a:pt x="391801" y="1386934"/>
                      <a:pt x="392354" y="1386934"/>
                    </a:cubicBezTo>
                    <a:cubicBezTo>
                      <a:pt x="392907" y="1386395"/>
                      <a:pt x="394013" y="1385855"/>
                      <a:pt x="394566" y="1385855"/>
                    </a:cubicBezTo>
                    <a:lnTo>
                      <a:pt x="396225" y="1385855"/>
                    </a:lnTo>
                    <a:cubicBezTo>
                      <a:pt x="396225" y="1386395"/>
                      <a:pt x="396778" y="1388014"/>
                      <a:pt x="397885" y="1388014"/>
                    </a:cubicBezTo>
                    <a:cubicBezTo>
                      <a:pt x="398991" y="1387474"/>
                      <a:pt x="397885" y="1394490"/>
                      <a:pt x="397331" y="1396110"/>
                    </a:cubicBezTo>
                    <a:cubicBezTo>
                      <a:pt x="393460" y="1418778"/>
                      <a:pt x="380186" y="1488942"/>
                      <a:pt x="375761" y="1511071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5" name="Freeform 1057">
                <a:extLst>
                  <a:ext uri="{FF2B5EF4-FFF2-40B4-BE49-F238E27FC236}">
                    <a16:creationId xmlns:a16="http://schemas.microsoft.com/office/drawing/2014/main" id="{5A50FE20-C56B-414B-B314-7460CCAD2833}"/>
                  </a:ext>
                </a:extLst>
              </p:cNvPr>
              <p:cNvSpPr/>
              <p:nvPr/>
            </p:nvSpPr>
            <p:spPr>
              <a:xfrm>
                <a:off x="7036369" y="1269492"/>
                <a:ext cx="2832830" cy="2836785"/>
              </a:xfrm>
              <a:custGeom>
                <a:avLst/>
                <a:gdLst>
                  <a:gd name="connsiteX0" fmla="*/ 109571 w 2832830"/>
                  <a:gd name="connsiteY0" fmla="*/ 164971 h 2836785"/>
                  <a:gd name="connsiteX1" fmla="*/ 123952 w 2832830"/>
                  <a:gd name="connsiteY1" fmla="*/ 165510 h 2836785"/>
                  <a:gd name="connsiteX2" fmla="*/ 127824 w 2832830"/>
                  <a:gd name="connsiteY2" fmla="*/ 171447 h 2836785"/>
                  <a:gd name="connsiteX3" fmla="*/ 130589 w 2832830"/>
                  <a:gd name="connsiteY3" fmla="*/ 170908 h 2836785"/>
                  <a:gd name="connsiteX4" fmla="*/ 139438 w 2832830"/>
                  <a:gd name="connsiteY4" fmla="*/ 164431 h 2836785"/>
                  <a:gd name="connsiteX5" fmla="*/ 134461 w 2832830"/>
                  <a:gd name="connsiteY5" fmla="*/ 154716 h 2836785"/>
                  <a:gd name="connsiteX6" fmla="*/ 136673 w 2832830"/>
                  <a:gd name="connsiteY6" fmla="*/ 148779 h 2836785"/>
                  <a:gd name="connsiteX7" fmla="*/ 150500 w 2832830"/>
                  <a:gd name="connsiteY7" fmla="*/ 148239 h 2836785"/>
                  <a:gd name="connsiteX8" fmla="*/ 151053 w 2832830"/>
                  <a:gd name="connsiteY8" fmla="*/ 145541 h 2836785"/>
                  <a:gd name="connsiteX9" fmla="*/ 144416 w 2832830"/>
                  <a:gd name="connsiteY9" fmla="*/ 135826 h 2836785"/>
                  <a:gd name="connsiteX10" fmla="*/ 144969 w 2832830"/>
                  <a:gd name="connsiteY10" fmla="*/ 133667 h 2836785"/>
                  <a:gd name="connsiteX11" fmla="*/ 149947 w 2832830"/>
                  <a:gd name="connsiteY11" fmla="*/ 133667 h 2836785"/>
                  <a:gd name="connsiteX12" fmla="*/ 172624 w 2832830"/>
                  <a:gd name="connsiteY12" fmla="*/ 141763 h 2836785"/>
                  <a:gd name="connsiteX13" fmla="*/ 191982 w 2832830"/>
                  <a:gd name="connsiteY13" fmla="*/ 140683 h 2836785"/>
                  <a:gd name="connsiteX14" fmla="*/ 195301 w 2832830"/>
                  <a:gd name="connsiteY14" fmla="*/ 145541 h 2836785"/>
                  <a:gd name="connsiteX15" fmla="*/ 176496 w 2832830"/>
                  <a:gd name="connsiteY15" fmla="*/ 161193 h 2836785"/>
                  <a:gd name="connsiteX16" fmla="*/ 162668 w 2832830"/>
                  <a:gd name="connsiteY16" fmla="*/ 157415 h 2836785"/>
                  <a:gd name="connsiteX17" fmla="*/ 158797 w 2832830"/>
                  <a:gd name="connsiteY17" fmla="*/ 159034 h 2836785"/>
                  <a:gd name="connsiteX18" fmla="*/ 157137 w 2832830"/>
                  <a:gd name="connsiteY18" fmla="*/ 170908 h 2836785"/>
                  <a:gd name="connsiteX19" fmla="*/ 175389 w 2832830"/>
                  <a:gd name="connsiteY19" fmla="*/ 168749 h 2836785"/>
                  <a:gd name="connsiteX20" fmla="*/ 178155 w 2832830"/>
                  <a:gd name="connsiteY20" fmla="*/ 175765 h 2836785"/>
                  <a:gd name="connsiteX21" fmla="*/ 180367 w 2832830"/>
                  <a:gd name="connsiteY21" fmla="*/ 176845 h 2836785"/>
                  <a:gd name="connsiteX22" fmla="*/ 200832 w 2832830"/>
                  <a:gd name="connsiteY22" fmla="*/ 171447 h 2836785"/>
                  <a:gd name="connsiteX23" fmla="*/ 215212 w 2832830"/>
                  <a:gd name="connsiteY23" fmla="*/ 169288 h 2836785"/>
                  <a:gd name="connsiteX24" fmla="*/ 227380 w 2832830"/>
                  <a:gd name="connsiteY24" fmla="*/ 168209 h 2836785"/>
                  <a:gd name="connsiteX25" fmla="*/ 226827 w 2832830"/>
                  <a:gd name="connsiteY25" fmla="*/ 182781 h 2836785"/>
                  <a:gd name="connsiteX26" fmla="*/ 234570 w 2832830"/>
                  <a:gd name="connsiteY26" fmla="*/ 192497 h 2836785"/>
                  <a:gd name="connsiteX27" fmla="*/ 228486 w 2832830"/>
                  <a:gd name="connsiteY27" fmla="*/ 205990 h 2836785"/>
                  <a:gd name="connsiteX28" fmla="*/ 230146 w 2832830"/>
                  <a:gd name="connsiteY28" fmla="*/ 209228 h 2836785"/>
                  <a:gd name="connsiteX29" fmla="*/ 233464 w 2832830"/>
                  <a:gd name="connsiteY29" fmla="*/ 209768 h 2836785"/>
                  <a:gd name="connsiteX30" fmla="*/ 240101 w 2832830"/>
                  <a:gd name="connsiteY30" fmla="*/ 196275 h 2836785"/>
                  <a:gd name="connsiteX31" fmla="*/ 239548 w 2832830"/>
                  <a:gd name="connsiteY31" fmla="*/ 177384 h 2836785"/>
                  <a:gd name="connsiteX32" fmla="*/ 255588 w 2832830"/>
                  <a:gd name="connsiteY32" fmla="*/ 169288 h 2836785"/>
                  <a:gd name="connsiteX33" fmla="*/ 259459 w 2832830"/>
                  <a:gd name="connsiteY33" fmla="*/ 160653 h 2836785"/>
                  <a:gd name="connsiteX34" fmla="*/ 279924 w 2832830"/>
                  <a:gd name="connsiteY34" fmla="*/ 166590 h 2836785"/>
                  <a:gd name="connsiteX35" fmla="*/ 295964 w 2832830"/>
                  <a:gd name="connsiteY35" fmla="*/ 164431 h 2836785"/>
                  <a:gd name="connsiteX36" fmla="*/ 299282 w 2832830"/>
                  <a:gd name="connsiteY36" fmla="*/ 154716 h 2836785"/>
                  <a:gd name="connsiteX37" fmla="*/ 321406 w 2832830"/>
                  <a:gd name="connsiteY37" fmla="*/ 147160 h 2836785"/>
                  <a:gd name="connsiteX38" fmla="*/ 349613 w 2832830"/>
                  <a:gd name="connsiteY38" fmla="*/ 153636 h 2836785"/>
                  <a:gd name="connsiteX39" fmla="*/ 387224 w 2832830"/>
                  <a:gd name="connsiteY39" fmla="*/ 159034 h 2836785"/>
                  <a:gd name="connsiteX40" fmla="*/ 407135 w 2832830"/>
                  <a:gd name="connsiteY40" fmla="*/ 166050 h 2836785"/>
                  <a:gd name="connsiteX41" fmla="*/ 437555 w 2832830"/>
                  <a:gd name="connsiteY41" fmla="*/ 171987 h 2836785"/>
                  <a:gd name="connsiteX42" fmla="*/ 453042 w 2832830"/>
                  <a:gd name="connsiteY42" fmla="*/ 173606 h 2836785"/>
                  <a:gd name="connsiteX43" fmla="*/ 487333 w 2832830"/>
                  <a:gd name="connsiteY43" fmla="*/ 193036 h 2836785"/>
                  <a:gd name="connsiteX44" fmla="*/ 487333 w 2832830"/>
                  <a:gd name="connsiteY44" fmla="*/ 184940 h 2836785"/>
                  <a:gd name="connsiteX45" fmla="*/ 489546 w 2832830"/>
                  <a:gd name="connsiteY45" fmla="*/ 184401 h 2836785"/>
                  <a:gd name="connsiteX46" fmla="*/ 531028 w 2832830"/>
                  <a:gd name="connsiteY46" fmla="*/ 195735 h 2836785"/>
                  <a:gd name="connsiteX47" fmla="*/ 536005 w 2832830"/>
                  <a:gd name="connsiteY47" fmla="*/ 192497 h 2836785"/>
                  <a:gd name="connsiteX48" fmla="*/ 545961 w 2832830"/>
                  <a:gd name="connsiteY48" fmla="*/ 186020 h 2836785"/>
                  <a:gd name="connsiteX49" fmla="*/ 584124 w 2832830"/>
                  <a:gd name="connsiteY49" fmla="*/ 196814 h 2836785"/>
                  <a:gd name="connsiteX50" fmla="*/ 590208 w 2832830"/>
                  <a:gd name="connsiteY50" fmla="*/ 208148 h 2836785"/>
                  <a:gd name="connsiteX51" fmla="*/ 602930 w 2832830"/>
                  <a:gd name="connsiteY51" fmla="*/ 203831 h 2836785"/>
                  <a:gd name="connsiteX52" fmla="*/ 623947 w 2832830"/>
                  <a:gd name="connsiteY52" fmla="*/ 204910 h 2836785"/>
                  <a:gd name="connsiteX53" fmla="*/ 633350 w 2832830"/>
                  <a:gd name="connsiteY53" fmla="*/ 223800 h 2836785"/>
                  <a:gd name="connsiteX54" fmla="*/ 648283 w 2832830"/>
                  <a:gd name="connsiteY54" fmla="*/ 235674 h 2836785"/>
                  <a:gd name="connsiteX55" fmla="*/ 654920 w 2832830"/>
                  <a:gd name="connsiteY55" fmla="*/ 246469 h 2836785"/>
                  <a:gd name="connsiteX56" fmla="*/ 675385 w 2832830"/>
                  <a:gd name="connsiteY56" fmla="*/ 251326 h 2836785"/>
                  <a:gd name="connsiteX57" fmla="*/ 684234 w 2832830"/>
                  <a:gd name="connsiteY57" fmla="*/ 285869 h 2836785"/>
                  <a:gd name="connsiteX58" fmla="*/ 677044 w 2832830"/>
                  <a:gd name="connsiteY58" fmla="*/ 358731 h 2836785"/>
                  <a:gd name="connsiteX59" fmla="*/ 662110 w 2832830"/>
                  <a:gd name="connsiteY59" fmla="*/ 385178 h 2836785"/>
                  <a:gd name="connsiteX60" fmla="*/ 632243 w 2832830"/>
                  <a:gd name="connsiteY60" fmla="*/ 415402 h 2836785"/>
                  <a:gd name="connsiteX61" fmla="*/ 612332 w 2832830"/>
                  <a:gd name="connsiteY61" fmla="*/ 425657 h 2836785"/>
                  <a:gd name="connsiteX62" fmla="*/ 608461 w 2832830"/>
                  <a:gd name="connsiteY62" fmla="*/ 429435 h 2836785"/>
                  <a:gd name="connsiteX63" fmla="*/ 561448 w 2832830"/>
                  <a:gd name="connsiteY63" fmla="*/ 439150 h 2836785"/>
                  <a:gd name="connsiteX64" fmla="*/ 512222 w 2832830"/>
                  <a:gd name="connsiteY64" fmla="*/ 440230 h 2836785"/>
                  <a:gd name="connsiteX65" fmla="*/ 455807 w 2832830"/>
                  <a:gd name="connsiteY65" fmla="*/ 453183 h 2836785"/>
                  <a:gd name="connsiteX66" fmla="*/ 420409 w 2832830"/>
                  <a:gd name="connsiteY66" fmla="*/ 441309 h 2836785"/>
                  <a:gd name="connsiteX67" fmla="*/ 407688 w 2832830"/>
                  <a:gd name="connsiteY67" fmla="*/ 455342 h 2836785"/>
                  <a:gd name="connsiteX68" fmla="*/ 401604 w 2832830"/>
                  <a:gd name="connsiteY68" fmla="*/ 445627 h 2836785"/>
                  <a:gd name="connsiteX69" fmla="*/ 378927 w 2832830"/>
                  <a:gd name="connsiteY69" fmla="*/ 448325 h 2836785"/>
                  <a:gd name="connsiteX70" fmla="*/ 363441 w 2832830"/>
                  <a:gd name="connsiteY70" fmla="*/ 445087 h 2836785"/>
                  <a:gd name="connsiteX71" fmla="*/ 354038 w 2832830"/>
                  <a:gd name="connsiteY71" fmla="*/ 451024 h 2836785"/>
                  <a:gd name="connsiteX72" fmla="*/ 324724 w 2832830"/>
                  <a:gd name="connsiteY72" fmla="*/ 444008 h 2836785"/>
                  <a:gd name="connsiteX73" fmla="*/ 314216 w 2832830"/>
                  <a:gd name="connsiteY73" fmla="*/ 433213 h 2836785"/>
                  <a:gd name="connsiteX74" fmla="*/ 312556 w 2832830"/>
                  <a:gd name="connsiteY74" fmla="*/ 425117 h 2836785"/>
                  <a:gd name="connsiteX75" fmla="*/ 271074 w 2832830"/>
                  <a:gd name="connsiteY75" fmla="*/ 432673 h 2836785"/>
                  <a:gd name="connsiteX76" fmla="*/ 272734 w 2832830"/>
                  <a:gd name="connsiteY76" fmla="*/ 433753 h 2836785"/>
                  <a:gd name="connsiteX77" fmla="*/ 282136 w 2832830"/>
                  <a:gd name="connsiteY77" fmla="*/ 434293 h 2836785"/>
                  <a:gd name="connsiteX78" fmla="*/ 298729 w 2832830"/>
                  <a:gd name="connsiteY78" fmla="*/ 443468 h 2836785"/>
                  <a:gd name="connsiteX79" fmla="*/ 297623 w 2832830"/>
                  <a:gd name="connsiteY79" fmla="*/ 452103 h 2836785"/>
                  <a:gd name="connsiteX80" fmla="*/ 298729 w 2832830"/>
                  <a:gd name="connsiteY80" fmla="*/ 453183 h 2836785"/>
                  <a:gd name="connsiteX81" fmla="*/ 310897 w 2832830"/>
                  <a:gd name="connsiteY81" fmla="*/ 459660 h 2836785"/>
                  <a:gd name="connsiteX82" fmla="*/ 328596 w 2832830"/>
                  <a:gd name="connsiteY82" fmla="*/ 461818 h 2836785"/>
                  <a:gd name="connsiteX83" fmla="*/ 326937 w 2832830"/>
                  <a:gd name="connsiteY83" fmla="*/ 468295 h 2836785"/>
                  <a:gd name="connsiteX84" fmla="*/ 346848 w 2832830"/>
                  <a:gd name="connsiteY84" fmla="*/ 465597 h 2836785"/>
                  <a:gd name="connsiteX85" fmla="*/ 348507 w 2832830"/>
                  <a:gd name="connsiteY85" fmla="*/ 467216 h 2836785"/>
                  <a:gd name="connsiteX86" fmla="*/ 345189 w 2832830"/>
                  <a:gd name="connsiteY86" fmla="*/ 474232 h 2836785"/>
                  <a:gd name="connsiteX87" fmla="*/ 366759 w 2832830"/>
                  <a:gd name="connsiteY87" fmla="*/ 481788 h 2836785"/>
                  <a:gd name="connsiteX88" fmla="*/ 377268 w 2832830"/>
                  <a:gd name="connsiteY88" fmla="*/ 497440 h 2836785"/>
                  <a:gd name="connsiteX89" fmla="*/ 406582 w 2832830"/>
                  <a:gd name="connsiteY89" fmla="*/ 496900 h 2836785"/>
                  <a:gd name="connsiteX90" fmla="*/ 419303 w 2832830"/>
                  <a:gd name="connsiteY90" fmla="*/ 500679 h 2836785"/>
                  <a:gd name="connsiteX91" fmla="*/ 446958 w 2832830"/>
                  <a:gd name="connsiteY91" fmla="*/ 507155 h 2836785"/>
                  <a:gd name="connsiteX92" fmla="*/ 467422 w 2832830"/>
                  <a:gd name="connsiteY92" fmla="*/ 530903 h 2836785"/>
                  <a:gd name="connsiteX93" fmla="*/ 467975 w 2832830"/>
                  <a:gd name="connsiteY93" fmla="*/ 540078 h 2836785"/>
                  <a:gd name="connsiteX94" fmla="*/ 471847 w 2832830"/>
                  <a:gd name="connsiteY94" fmla="*/ 547095 h 2836785"/>
                  <a:gd name="connsiteX95" fmla="*/ 470741 w 2832830"/>
                  <a:gd name="connsiteY95" fmla="*/ 564906 h 2836785"/>
                  <a:gd name="connsiteX96" fmla="*/ 462444 w 2832830"/>
                  <a:gd name="connsiteY96" fmla="*/ 577859 h 2836785"/>
                  <a:gd name="connsiteX97" fmla="*/ 465210 w 2832830"/>
                  <a:gd name="connsiteY97" fmla="*/ 583796 h 2836785"/>
                  <a:gd name="connsiteX98" fmla="*/ 492864 w 2832830"/>
                  <a:gd name="connsiteY98" fmla="*/ 603226 h 2836785"/>
                  <a:gd name="connsiteX99" fmla="*/ 506692 w 2832830"/>
                  <a:gd name="connsiteY99" fmla="*/ 625355 h 2836785"/>
                  <a:gd name="connsiteX100" fmla="*/ 514435 w 2832830"/>
                  <a:gd name="connsiteY100" fmla="*/ 632371 h 2836785"/>
                  <a:gd name="connsiteX101" fmla="*/ 518860 w 2832830"/>
                  <a:gd name="connsiteY101" fmla="*/ 641007 h 2836785"/>
                  <a:gd name="connsiteX102" fmla="*/ 523837 w 2832830"/>
                  <a:gd name="connsiteY102" fmla="*/ 644785 h 2836785"/>
                  <a:gd name="connsiteX103" fmla="*/ 548727 w 2832830"/>
                  <a:gd name="connsiteY103" fmla="*/ 671771 h 2836785"/>
                  <a:gd name="connsiteX104" fmla="*/ 573616 w 2832830"/>
                  <a:gd name="connsiteY104" fmla="*/ 666913 h 2836785"/>
                  <a:gd name="connsiteX105" fmla="*/ 604036 w 2832830"/>
                  <a:gd name="connsiteY105" fmla="*/ 672850 h 2836785"/>
                  <a:gd name="connsiteX106" fmla="*/ 612885 w 2832830"/>
                  <a:gd name="connsiteY106" fmla="*/ 670152 h 2836785"/>
                  <a:gd name="connsiteX107" fmla="*/ 617310 w 2832830"/>
                  <a:gd name="connsiteY107" fmla="*/ 676628 h 2836785"/>
                  <a:gd name="connsiteX108" fmla="*/ 618969 w 2832830"/>
                  <a:gd name="connsiteY108" fmla="*/ 684184 h 2836785"/>
                  <a:gd name="connsiteX109" fmla="*/ 658792 w 2832830"/>
                  <a:gd name="connsiteY109" fmla="*/ 684724 h 2836785"/>
                  <a:gd name="connsiteX110" fmla="*/ 683128 w 2832830"/>
                  <a:gd name="connsiteY110" fmla="*/ 690661 h 2836785"/>
                  <a:gd name="connsiteX111" fmla="*/ 690871 w 2832830"/>
                  <a:gd name="connsiteY111" fmla="*/ 686343 h 2836785"/>
                  <a:gd name="connsiteX112" fmla="*/ 693084 w 2832830"/>
                  <a:gd name="connsiteY112" fmla="*/ 671771 h 2836785"/>
                  <a:gd name="connsiteX113" fmla="*/ 708570 w 2832830"/>
                  <a:gd name="connsiteY113" fmla="*/ 652881 h 2836785"/>
                  <a:gd name="connsiteX114" fmla="*/ 692531 w 2832830"/>
                  <a:gd name="connsiteY114" fmla="*/ 635609 h 2836785"/>
                  <a:gd name="connsiteX115" fmla="*/ 690871 w 2832830"/>
                  <a:gd name="connsiteY115" fmla="*/ 624275 h 2836785"/>
                  <a:gd name="connsiteX116" fmla="*/ 673725 w 2832830"/>
                  <a:gd name="connsiteY116" fmla="*/ 616179 h 2836785"/>
                  <a:gd name="connsiteX117" fmla="*/ 652155 w 2832830"/>
                  <a:gd name="connsiteY117" fmla="*/ 630212 h 2836785"/>
                  <a:gd name="connsiteX118" fmla="*/ 613991 w 2832830"/>
                  <a:gd name="connsiteY118" fmla="*/ 609163 h 2836785"/>
                  <a:gd name="connsiteX119" fmla="*/ 600164 w 2832830"/>
                  <a:gd name="connsiteY119" fmla="*/ 605385 h 2836785"/>
                  <a:gd name="connsiteX120" fmla="*/ 580806 w 2832830"/>
                  <a:gd name="connsiteY120" fmla="*/ 590812 h 2836785"/>
                  <a:gd name="connsiteX121" fmla="*/ 580806 w 2832830"/>
                  <a:gd name="connsiteY121" fmla="*/ 588114 h 2836785"/>
                  <a:gd name="connsiteX122" fmla="*/ 594633 w 2832830"/>
                  <a:gd name="connsiteY122" fmla="*/ 575160 h 2836785"/>
                  <a:gd name="connsiteX123" fmla="*/ 591315 w 2832830"/>
                  <a:gd name="connsiteY123" fmla="*/ 551413 h 2836785"/>
                  <a:gd name="connsiteX124" fmla="*/ 677044 w 2832830"/>
                  <a:gd name="connsiteY124" fmla="*/ 556810 h 2836785"/>
                  <a:gd name="connsiteX125" fmla="*/ 683128 w 2832830"/>
                  <a:gd name="connsiteY125" fmla="*/ 560048 h 2836785"/>
                  <a:gd name="connsiteX126" fmla="*/ 705805 w 2832830"/>
                  <a:gd name="connsiteY126" fmla="*/ 554111 h 2836785"/>
                  <a:gd name="connsiteX127" fmla="*/ 743968 w 2832830"/>
                  <a:gd name="connsiteY127" fmla="*/ 558969 h 2836785"/>
                  <a:gd name="connsiteX128" fmla="*/ 758902 w 2832830"/>
                  <a:gd name="connsiteY128" fmla="*/ 547634 h 2836785"/>
                  <a:gd name="connsiteX129" fmla="*/ 795406 w 2832830"/>
                  <a:gd name="connsiteY129" fmla="*/ 540618 h 2836785"/>
                  <a:gd name="connsiteX130" fmla="*/ 790981 w 2832830"/>
                  <a:gd name="connsiteY130" fmla="*/ 529824 h 2836785"/>
                  <a:gd name="connsiteX131" fmla="*/ 779366 w 2832830"/>
                  <a:gd name="connsiteY131" fmla="*/ 521728 h 2836785"/>
                  <a:gd name="connsiteX132" fmla="*/ 772729 w 2832830"/>
                  <a:gd name="connsiteY132" fmla="*/ 510933 h 2836785"/>
                  <a:gd name="connsiteX133" fmla="*/ 757795 w 2832830"/>
                  <a:gd name="connsiteY133" fmla="*/ 500139 h 2836785"/>
                  <a:gd name="connsiteX134" fmla="*/ 700827 w 2832830"/>
                  <a:gd name="connsiteY134" fmla="*/ 461279 h 2836785"/>
                  <a:gd name="connsiteX135" fmla="*/ 704145 w 2832830"/>
                  <a:gd name="connsiteY135" fmla="*/ 432134 h 2836785"/>
                  <a:gd name="connsiteX136" fmla="*/ 712442 w 2832830"/>
                  <a:gd name="connsiteY136" fmla="*/ 411624 h 2836785"/>
                  <a:gd name="connsiteX137" fmla="*/ 719079 w 2832830"/>
                  <a:gd name="connsiteY137" fmla="*/ 387876 h 2836785"/>
                  <a:gd name="connsiteX138" fmla="*/ 728481 w 2832830"/>
                  <a:gd name="connsiteY138" fmla="*/ 376002 h 2836785"/>
                  <a:gd name="connsiteX139" fmla="*/ 742309 w 2832830"/>
                  <a:gd name="connsiteY139" fmla="*/ 346318 h 2836785"/>
                  <a:gd name="connsiteX140" fmla="*/ 745627 w 2832830"/>
                  <a:gd name="connsiteY140" fmla="*/ 320951 h 2836785"/>
                  <a:gd name="connsiteX141" fmla="*/ 745627 w 2832830"/>
                  <a:gd name="connsiteY141" fmla="*/ 293425 h 2836785"/>
                  <a:gd name="connsiteX142" fmla="*/ 752264 w 2832830"/>
                  <a:gd name="connsiteY142" fmla="*/ 289107 h 2836785"/>
                  <a:gd name="connsiteX143" fmla="*/ 772176 w 2832830"/>
                  <a:gd name="connsiteY143" fmla="*/ 300981 h 2836785"/>
                  <a:gd name="connsiteX144" fmla="*/ 774388 w 2832830"/>
                  <a:gd name="connsiteY144" fmla="*/ 299901 h 2836785"/>
                  <a:gd name="connsiteX145" fmla="*/ 782131 w 2832830"/>
                  <a:gd name="connsiteY145" fmla="*/ 289647 h 2836785"/>
                  <a:gd name="connsiteX146" fmla="*/ 821954 w 2832830"/>
                  <a:gd name="connsiteY146" fmla="*/ 288567 h 2836785"/>
                  <a:gd name="connsiteX147" fmla="*/ 815870 w 2832830"/>
                  <a:gd name="connsiteY147" fmla="*/ 311236 h 2836785"/>
                  <a:gd name="connsiteX148" fmla="*/ 819742 w 2832830"/>
                  <a:gd name="connsiteY148" fmla="*/ 314474 h 2836785"/>
                  <a:gd name="connsiteX149" fmla="*/ 821954 w 2832830"/>
                  <a:gd name="connsiteY149" fmla="*/ 312855 h 2836785"/>
                  <a:gd name="connsiteX150" fmla="*/ 828591 w 2832830"/>
                  <a:gd name="connsiteY150" fmla="*/ 299362 h 2836785"/>
                  <a:gd name="connsiteX151" fmla="*/ 837994 w 2832830"/>
                  <a:gd name="connsiteY151" fmla="*/ 293425 h 2836785"/>
                  <a:gd name="connsiteX152" fmla="*/ 854033 w 2832830"/>
                  <a:gd name="connsiteY152" fmla="*/ 305838 h 2836785"/>
                  <a:gd name="connsiteX153" fmla="*/ 866201 w 2832830"/>
                  <a:gd name="connsiteY153" fmla="*/ 310156 h 2836785"/>
                  <a:gd name="connsiteX154" fmla="*/ 867861 w 2832830"/>
                  <a:gd name="connsiteY154" fmla="*/ 309616 h 2836785"/>
                  <a:gd name="connsiteX155" fmla="*/ 868414 w 2832830"/>
                  <a:gd name="connsiteY155" fmla="*/ 305838 h 2836785"/>
                  <a:gd name="connsiteX156" fmla="*/ 844631 w 2832830"/>
                  <a:gd name="connsiteY156" fmla="*/ 276693 h 2836785"/>
                  <a:gd name="connsiteX157" fmla="*/ 830804 w 2832830"/>
                  <a:gd name="connsiteY157" fmla="*/ 233515 h 2836785"/>
                  <a:gd name="connsiteX158" fmla="*/ 815870 w 2832830"/>
                  <a:gd name="connsiteY158" fmla="*/ 212466 h 2836785"/>
                  <a:gd name="connsiteX159" fmla="*/ 808680 w 2832830"/>
                  <a:gd name="connsiteY159" fmla="*/ 199513 h 2836785"/>
                  <a:gd name="connsiteX160" fmla="*/ 805914 w 2832830"/>
                  <a:gd name="connsiteY160" fmla="*/ 196814 h 2836785"/>
                  <a:gd name="connsiteX161" fmla="*/ 772729 w 2832830"/>
                  <a:gd name="connsiteY161" fmla="*/ 192497 h 2836785"/>
                  <a:gd name="connsiteX162" fmla="*/ 756689 w 2832830"/>
                  <a:gd name="connsiteY162" fmla="*/ 181162 h 2836785"/>
                  <a:gd name="connsiteX163" fmla="*/ 752818 w 2832830"/>
                  <a:gd name="connsiteY163" fmla="*/ 162272 h 2836785"/>
                  <a:gd name="connsiteX164" fmla="*/ 750052 w 2832830"/>
                  <a:gd name="connsiteY164" fmla="*/ 153636 h 2836785"/>
                  <a:gd name="connsiteX165" fmla="*/ 745074 w 2832830"/>
                  <a:gd name="connsiteY165" fmla="*/ 133127 h 2836785"/>
                  <a:gd name="connsiteX166" fmla="*/ 728481 w 2832830"/>
                  <a:gd name="connsiteY166" fmla="*/ 101823 h 2836785"/>
                  <a:gd name="connsiteX167" fmla="*/ 721844 w 2832830"/>
                  <a:gd name="connsiteY167" fmla="*/ 99124 h 2836785"/>
                  <a:gd name="connsiteX168" fmla="*/ 718526 w 2832830"/>
                  <a:gd name="connsiteY168" fmla="*/ 86171 h 2836785"/>
                  <a:gd name="connsiteX169" fmla="*/ 711336 w 2832830"/>
                  <a:gd name="connsiteY169" fmla="*/ 76996 h 2836785"/>
                  <a:gd name="connsiteX170" fmla="*/ 707464 w 2832830"/>
                  <a:gd name="connsiteY170" fmla="*/ 73757 h 2836785"/>
                  <a:gd name="connsiteX171" fmla="*/ 671513 w 2832830"/>
                  <a:gd name="connsiteY171" fmla="*/ 68900 h 2836785"/>
                  <a:gd name="connsiteX172" fmla="*/ 659898 w 2832830"/>
                  <a:gd name="connsiteY172" fmla="*/ 64042 h 2836785"/>
                  <a:gd name="connsiteX173" fmla="*/ 650496 w 2832830"/>
                  <a:gd name="connsiteY173" fmla="*/ 58645 h 2836785"/>
                  <a:gd name="connsiteX174" fmla="*/ 650496 w 2832830"/>
                  <a:gd name="connsiteY174" fmla="*/ 55947 h 2836785"/>
                  <a:gd name="connsiteX175" fmla="*/ 653814 w 2832830"/>
                  <a:gd name="connsiteY175" fmla="*/ 53248 h 2836785"/>
                  <a:gd name="connsiteX176" fmla="*/ 677597 w 2832830"/>
                  <a:gd name="connsiteY176" fmla="*/ 56486 h 2836785"/>
                  <a:gd name="connsiteX177" fmla="*/ 712995 w 2832830"/>
                  <a:gd name="connsiteY177" fmla="*/ 45692 h 2836785"/>
                  <a:gd name="connsiteX178" fmla="*/ 755030 w 2832830"/>
                  <a:gd name="connsiteY178" fmla="*/ 19785 h 2836785"/>
                  <a:gd name="connsiteX179" fmla="*/ 771070 w 2832830"/>
                  <a:gd name="connsiteY179" fmla="*/ 21404 h 2836785"/>
                  <a:gd name="connsiteX180" fmla="*/ 781025 w 2832830"/>
                  <a:gd name="connsiteY180" fmla="*/ 29500 h 2836785"/>
                  <a:gd name="connsiteX181" fmla="*/ 809786 w 2832830"/>
                  <a:gd name="connsiteY181" fmla="*/ 32199 h 2836785"/>
                  <a:gd name="connsiteX182" fmla="*/ 834675 w 2832830"/>
                  <a:gd name="connsiteY182" fmla="*/ 58645 h 2836785"/>
                  <a:gd name="connsiteX183" fmla="*/ 794853 w 2832830"/>
                  <a:gd name="connsiteY183" fmla="*/ 98585 h 2836785"/>
                  <a:gd name="connsiteX184" fmla="*/ 798724 w 2832830"/>
                  <a:gd name="connsiteY184" fmla="*/ 116396 h 2836785"/>
                  <a:gd name="connsiteX185" fmla="*/ 792640 w 2832830"/>
                  <a:gd name="connsiteY185" fmla="*/ 127730 h 2836785"/>
                  <a:gd name="connsiteX186" fmla="*/ 799830 w 2832830"/>
                  <a:gd name="connsiteY186" fmla="*/ 147699 h 2836785"/>
                  <a:gd name="connsiteX187" fmla="*/ 823613 w 2832830"/>
                  <a:gd name="connsiteY187" fmla="*/ 149858 h 2836785"/>
                  <a:gd name="connsiteX188" fmla="*/ 845184 w 2832830"/>
                  <a:gd name="connsiteY188" fmla="*/ 156335 h 2836785"/>
                  <a:gd name="connsiteX189" fmla="*/ 876710 w 2832830"/>
                  <a:gd name="connsiteY189" fmla="*/ 170908 h 2836785"/>
                  <a:gd name="connsiteX190" fmla="*/ 889984 w 2832830"/>
                  <a:gd name="connsiteY190" fmla="*/ 165510 h 2836785"/>
                  <a:gd name="connsiteX191" fmla="*/ 896068 w 2832830"/>
                  <a:gd name="connsiteY191" fmla="*/ 160113 h 2836785"/>
                  <a:gd name="connsiteX192" fmla="*/ 915427 w 2832830"/>
                  <a:gd name="connsiteY192" fmla="*/ 148239 h 2836785"/>
                  <a:gd name="connsiteX193" fmla="*/ 923170 w 2832830"/>
                  <a:gd name="connsiteY193" fmla="*/ 142302 h 2836785"/>
                  <a:gd name="connsiteX194" fmla="*/ 934232 w 2832830"/>
                  <a:gd name="connsiteY194" fmla="*/ 128809 h 2836785"/>
                  <a:gd name="connsiteX195" fmla="*/ 917086 w 2832830"/>
                  <a:gd name="connsiteY195" fmla="*/ 81314 h 2836785"/>
                  <a:gd name="connsiteX196" fmla="*/ 913767 w 2832830"/>
                  <a:gd name="connsiteY196" fmla="*/ 69440 h 2836785"/>
                  <a:gd name="connsiteX197" fmla="*/ 900493 w 2832830"/>
                  <a:gd name="connsiteY197" fmla="*/ 51089 h 2836785"/>
                  <a:gd name="connsiteX198" fmla="*/ 900493 w 2832830"/>
                  <a:gd name="connsiteY198" fmla="*/ 46231 h 2836785"/>
                  <a:gd name="connsiteX199" fmla="*/ 906577 w 2832830"/>
                  <a:gd name="connsiteY199" fmla="*/ 44073 h 2836785"/>
                  <a:gd name="connsiteX200" fmla="*/ 915427 w 2832830"/>
                  <a:gd name="connsiteY200" fmla="*/ 25182 h 2836785"/>
                  <a:gd name="connsiteX201" fmla="*/ 926488 w 2832830"/>
                  <a:gd name="connsiteY201" fmla="*/ 18166 h 2836785"/>
                  <a:gd name="connsiteX202" fmla="*/ 926488 w 2832830"/>
                  <a:gd name="connsiteY202" fmla="*/ 16547 h 2836785"/>
                  <a:gd name="connsiteX203" fmla="*/ 917639 w 2832830"/>
                  <a:gd name="connsiteY203" fmla="*/ 7371 h 2836785"/>
                  <a:gd name="connsiteX204" fmla="*/ 906577 w 2832830"/>
                  <a:gd name="connsiteY204" fmla="*/ -185 h 2836785"/>
                  <a:gd name="connsiteX205" fmla="*/ 2831891 w 2832830"/>
                  <a:gd name="connsiteY205" fmla="*/ -185 h 2836785"/>
                  <a:gd name="connsiteX206" fmla="*/ 2831891 w 2832830"/>
                  <a:gd name="connsiteY206" fmla="*/ 244850 h 2836785"/>
                  <a:gd name="connsiteX207" fmla="*/ 2809214 w 2832830"/>
                  <a:gd name="connsiteY207" fmla="*/ 250787 h 2836785"/>
                  <a:gd name="connsiteX208" fmla="*/ 2790409 w 2832830"/>
                  <a:gd name="connsiteY208" fmla="*/ 260502 h 2836785"/>
                  <a:gd name="connsiteX209" fmla="*/ 2779347 w 2832830"/>
                  <a:gd name="connsiteY209" fmla="*/ 261581 h 2836785"/>
                  <a:gd name="connsiteX210" fmla="*/ 2777688 w 2832830"/>
                  <a:gd name="connsiteY210" fmla="*/ 279932 h 2836785"/>
                  <a:gd name="connsiteX211" fmla="*/ 2779900 w 2832830"/>
                  <a:gd name="connsiteY211" fmla="*/ 290186 h 2836785"/>
                  <a:gd name="connsiteX212" fmla="*/ 2768285 w 2832830"/>
                  <a:gd name="connsiteY212" fmla="*/ 324729 h 2836785"/>
                  <a:gd name="connsiteX213" fmla="*/ 2772157 w 2832830"/>
                  <a:gd name="connsiteY213" fmla="*/ 350635 h 2836785"/>
                  <a:gd name="connsiteX214" fmla="*/ 2787090 w 2832830"/>
                  <a:gd name="connsiteY214" fmla="*/ 370605 h 2836785"/>
                  <a:gd name="connsiteX215" fmla="*/ 2779900 w 2832830"/>
                  <a:gd name="connsiteY215" fmla="*/ 386257 h 2836785"/>
                  <a:gd name="connsiteX216" fmla="*/ 2771050 w 2832830"/>
                  <a:gd name="connsiteY216" fmla="*/ 393274 h 2836785"/>
                  <a:gd name="connsiteX217" fmla="*/ 2731781 w 2832830"/>
                  <a:gd name="connsiteY217" fmla="*/ 488805 h 2836785"/>
                  <a:gd name="connsiteX218" fmla="*/ 2722931 w 2832830"/>
                  <a:gd name="connsiteY218" fmla="*/ 498520 h 2836785"/>
                  <a:gd name="connsiteX219" fmla="*/ 2709657 w 2832830"/>
                  <a:gd name="connsiteY219" fmla="*/ 537919 h 2836785"/>
                  <a:gd name="connsiteX220" fmla="*/ 2700808 w 2832830"/>
                  <a:gd name="connsiteY220" fmla="*/ 554651 h 2836785"/>
                  <a:gd name="connsiteX221" fmla="*/ 2697489 w 2832830"/>
                  <a:gd name="connsiteY221" fmla="*/ 574081 h 2836785"/>
                  <a:gd name="connsiteX222" fmla="*/ 2682556 w 2832830"/>
                  <a:gd name="connsiteY222" fmla="*/ 585415 h 2836785"/>
                  <a:gd name="connsiteX223" fmla="*/ 2662091 w 2832830"/>
                  <a:gd name="connsiteY223" fmla="*/ 638848 h 2836785"/>
                  <a:gd name="connsiteX224" fmla="*/ 2654348 w 2832830"/>
                  <a:gd name="connsiteY224" fmla="*/ 652341 h 2836785"/>
                  <a:gd name="connsiteX225" fmla="*/ 2649370 w 2832830"/>
                  <a:gd name="connsiteY225" fmla="*/ 667993 h 2836785"/>
                  <a:gd name="connsiteX226" fmla="*/ 2626140 w 2832830"/>
                  <a:gd name="connsiteY226" fmla="*/ 697678 h 2836785"/>
                  <a:gd name="connsiteX227" fmla="*/ 2618397 w 2832830"/>
                  <a:gd name="connsiteY227" fmla="*/ 715488 h 2836785"/>
                  <a:gd name="connsiteX228" fmla="*/ 2613972 w 2832830"/>
                  <a:gd name="connsiteY228" fmla="*/ 721425 h 2836785"/>
                  <a:gd name="connsiteX229" fmla="*/ 2601251 w 2832830"/>
                  <a:gd name="connsiteY229" fmla="*/ 739776 h 2836785"/>
                  <a:gd name="connsiteX230" fmla="*/ 2588530 w 2832830"/>
                  <a:gd name="connsiteY230" fmla="*/ 752729 h 2836785"/>
                  <a:gd name="connsiteX231" fmla="*/ 2574703 w 2832830"/>
                  <a:gd name="connsiteY231" fmla="*/ 763524 h 2836785"/>
                  <a:gd name="connsiteX232" fmla="*/ 2565853 w 2832830"/>
                  <a:gd name="connsiteY232" fmla="*/ 774858 h 2836785"/>
                  <a:gd name="connsiteX233" fmla="*/ 2549261 w 2832830"/>
                  <a:gd name="connsiteY233" fmla="*/ 792129 h 2836785"/>
                  <a:gd name="connsiteX234" fmla="*/ 2544836 w 2832830"/>
                  <a:gd name="connsiteY234" fmla="*/ 815877 h 2836785"/>
                  <a:gd name="connsiteX235" fmla="*/ 2543177 w 2832830"/>
                  <a:gd name="connsiteY235" fmla="*/ 833688 h 2836785"/>
                  <a:gd name="connsiteX236" fmla="*/ 2558663 w 2832830"/>
                  <a:gd name="connsiteY236" fmla="*/ 850419 h 2836785"/>
                  <a:gd name="connsiteX237" fmla="*/ 2573043 w 2832830"/>
                  <a:gd name="connsiteY237" fmla="*/ 856356 h 2836785"/>
                  <a:gd name="connsiteX238" fmla="*/ 2651583 w 2832830"/>
                  <a:gd name="connsiteY238" fmla="*/ 843943 h 2836785"/>
                  <a:gd name="connsiteX239" fmla="*/ 2654901 w 2832830"/>
                  <a:gd name="connsiteY239" fmla="*/ 855277 h 2836785"/>
                  <a:gd name="connsiteX240" fmla="*/ 2649923 w 2832830"/>
                  <a:gd name="connsiteY240" fmla="*/ 868770 h 2836785"/>
                  <a:gd name="connsiteX241" fmla="*/ 2643286 w 2832830"/>
                  <a:gd name="connsiteY241" fmla="*/ 876326 h 2836785"/>
                  <a:gd name="connsiteX242" fmla="*/ 2622269 w 2832830"/>
                  <a:gd name="connsiteY242" fmla="*/ 888200 h 2836785"/>
                  <a:gd name="connsiteX243" fmla="*/ 2607335 w 2832830"/>
                  <a:gd name="connsiteY243" fmla="*/ 939474 h 2836785"/>
                  <a:gd name="connsiteX244" fmla="*/ 2656007 w 2832830"/>
                  <a:gd name="connsiteY244" fmla="*/ 962682 h 2836785"/>
                  <a:gd name="connsiteX245" fmla="*/ 2647711 w 2832830"/>
                  <a:gd name="connsiteY245" fmla="*/ 1007479 h 2836785"/>
                  <a:gd name="connsiteX246" fmla="*/ 2648817 w 2832830"/>
                  <a:gd name="connsiteY246" fmla="*/ 1037163 h 2836785"/>
                  <a:gd name="connsiteX247" fmla="*/ 2657667 w 2832830"/>
                  <a:gd name="connsiteY247" fmla="*/ 1035005 h 2836785"/>
                  <a:gd name="connsiteX248" fmla="*/ 2679790 w 2832830"/>
                  <a:gd name="connsiteY248" fmla="*/ 1040942 h 2836785"/>
                  <a:gd name="connsiteX249" fmla="*/ 2691405 w 2832830"/>
                  <a:gd name="connsiteY249" fmla="*/ 1035544 h 2836785"/>
                  <a:gd name="connsiteX250" fmla="*/ 2728462 w 2832830"/>
                  <a:gd name="connsiteY250" fmla="*/ 1036084 h 2836785"/>
                  <a:gd name="connsiteX251" fmla="*/ 2743396 w 2832830"/>
                  <a:gd name="connsiteY251" fmla="*/ 1028528 h 2836785"/>
                  <a:gd name="connsiteX252" fmla="*/ 2784878 w 2832830"/>
                  <a:gd name="connsiteY252" fmla="*/ 1027988 h 2836785"/>
                  <a:gd name="connsiteX253" fmla="*/ 2797046 w 2832830"/>
                  <a:gd name="connsiteY253" fmla="*/ 1045799 h 2836785"/>
                  <a:gd name="connsiteX254" fmla="*/ 2803683 w 2832830"/>
                  <a:gd name="connsiteY254" fmla="*/ 1104089 h 2836785"/>
                  <a:gd name="connsiteX255" fmla="*/ 2794833 w 2832830"/>
                  <a:gd name="connsiteY255" fmla="*/ 1122440 h 2836785"/>
                  <a:gd name="connsiteX256" fmla="*/ 2754458 w 2832830"/>
                  <a:gd name="connsiteY256" fmla="*/ 1159141 h 2836785"/>
                  <a:gd name="connsiteX257" fmla="*/ 2745608 w 2832830"/>
                  <a:gd name="connsiteY257" fmla="*/ 1163459 h 2836785"/>
                  <a:gd name="connsiteX258" fmla="*/ 2736759 w 2832830"/>
                  <a:gd name="connsiteY258" fmla="*/ 1203938 h 2836785"/>
                  <a:gd name="connsiteX259" fmla="*/ 2705232 w 2832830"/>
                  <a:gd name="connsiteY259" fmla="*/ 1212034 h 2836785"/>
                  <a:gd name="connsiteX260" fmla="*/ 2646605 w 2832830"/>
                  <a:gd name="connsiteY260" fmla="*/ 1226067 h 2836785"/>
                  <a:gd name="connsiteX261" fmla="*/ 2628906 w 2832830"/>
                  <a:gd name="connsiteY261" fmla="*/ 1214732 h 2836785"/>
                  <a:gd name="connsiteX262" fmla="*/ 2582999 w 2832830"/>
                  <a:gd name="connsiteY262" fmla="*/ 1232004 h 2836785"/>
                  <a:gd name="connsiteX263" fmla="*/ 2582999 w 2832830"/>
                  <a:gd name="connsiteY263" fmla="*/ 1241179 h 2836785"/>
                  <a:gd name="connsiteX264" fmla="*/ 2592955 w 2832830"/>
                  <a:gd name="connsiteY264" fmla="*/ 1260069 h 2836785"/>
                  <a:gd name="connsiteX265" fmla="*/ 2592402 w 2832830"/>
                  <a:gd name="connsiteY265" fmla="*/ 1273023 h 2836785"/>
                  <a:gd name="connsiteX266" fmla="*/ 2577468 w 2832830"/>
                  <a:gd name="connsiteY266" fmla="*/ 1281118 h 2836785"/>
                  <a:gd name="connsiteX267" fmla="*/ 2557004 w 2832830"/>
                  <a:gd name="connsiteY267" fmla="*/ 1277340 h 2836785"/>
                  <a:gd name="connsiteX268" fmla="*/ 2533221 w 2832830"/>
                  <a:gd name="connsiteY268" fmla="*/ 1313502 h 2836785"/>
                  <a:gd name="connsiteX269" fmla="*/ 2523818 w 2832830"/>
                  <a:gd name="connsiteY269" fmla="*/ 1318899 h 2836785"/>
                  <a:gd name="connsiteX270" fmla="*/ 2507779 w 2832830"/>
                  <a:gd name="connsiteY270" fmla="*/ 1389603 h 2836785"/>
                  <a:gd name="connsiteX271" fmla="*/ 2498376 w 2832830"/>
                  <a:gd name="connsiteY271" fmla="*/ 1397699 h 2836785"/>
                  <a:gd name="connsiteX272" fmla="*/ 2478465 w 2832830"/>
                  <a:gd name="connsiteY272" fmla="*/ 1395540 h 2836785"/>
                  <a:gd name="connsiteX273" fmla="*/ 2433111 w 2832830"/>
                  <a:gd name="connsiteY273" fmla="*/ 1408493 h 2836785"/>
                  <a:gd name="connsiteX274" fmla="*/ 2456341 w 2832830"/>
                  <a:gd name="connsiteY274" fmla="*/ 1460846 h 2836785"/>
                  <a:gd name="connsiteX275" fmla="*/ 2451363 w 2832830"/>
                  <a:gd name="connsiteY275" fmla="*/ 1463005 h 2836785"/>
                  <a:gd name="connsiteX276" fmla="*/ 2433664 w 2832830"/>
                  <a:gd name="connsiteY276" fmla="*/ 1458148 h 2836785"/>
                  <a:gd name="connsiteX277" fmla="*/ 2424262 w 2832830"/>
                  <a:gd name="connsiteY277" fmla="*/ 1449512 h 2836785"/>
                  <a:gd name="connsiteX278" fmla="*/ 2416518 w 2832830"/>
                  <a:gd name="connsiteY278" fmla="*/ 1431701 h 2836785"/>
                  <a:gd name="connsiteX279" fmla="*/ 2369506 w 2832830"/>
                  <a:gd name="connsiteY279" fmla="*/ 1419827 h 2836785"/>
                  <a:gd name="connsiteX280" fmla="*/ 2315856 w 2832830"/>
                  <a:gd name="connsiteY280" fmla="*/ 1420367 h 2836785"/>
                  <a:gd name="connsiteX281" fmla="*/ 2311431 w 2832830"/>
                  <a:gd name="connsiteY281" fmla="*/ 1417668 h 2836785"/>
                  <a:gd name="connsiteX282" fmla="*/ 2309219 w 2832830"/>
                  <a:gd name="connsiteY282" fmla="*/ 1410112 h 2836785"/>
                  <a:gd name="connsiteX283" fmla="*/ 2251697 w 2832830"/>
                  <a:gd name="connsiteY283" fmla="*/ 1439797 h 2836785"/>
                  <a:gd name="connsiteX284" fmla="*/ 2240635 w 2832830"/>
                  <a:gd name="connsiteY284" fmla="*/ 1436019 h 2836785"/>
                  <a:gd name="connsiteX285" fmla="*/ 2232892 w 2832830"/>
                  <a:gd name="connsiteY285" fmla="*/ 1426844 h 2836785"/>
                  <a:gd name="connsiteX286" fmla="*/ 2204131 w 2832830"/>
                  <a:gd name="connsiteY286" fmla="*/ 1457608 h 2836785"/>
                  <a:gd name="connsiteX287" fmla="*/ 2198600 w 2832830"/>
                  <a:gd name="connsiteY287" fmla="*/ 1474879 h 2836785"/>
                  <a:gd name="connsiteX288" fmla="*/ 2186985 w 2832830"/>
                  <a:gd name="connsiteY288" fmla="*/ 1487832 h 2836785"/>
                  <a:gd name="connsiteX289" fmla="*/ 2174264 w 2832830"/>
                  <a:gd name="connsiteY289" fmla="*/ 1491611 h 2836785"/>
                  <a:gd name="connsiteX290" fmla="*/ 2167627 w 2832830"/>
                  <a:gd name="connsiteY290" fmla="*/ 1486213 h 2836785"/>
                  <a:gd name="connsiteX291" fmla="*/ 2149375 w 2832830"/>
                  <a:gd name="connsiteY291" fmla="*/ 1498087 h 2836785"/>
                  <a:gd name="connsiteX292" fmla="*/ 2127804 w 2832830"/>
                  <a:gd name="connsiteY292" fmla="*/ 1499706 h 2836785"/>
                  <a:gd name="connsiteX293" fmla="*/ 2128911 w 2832830"/>
                  <a:gd name="connsiteY293" fmla="*/ 1525613 h 2836785"/>
                  <a:gd name="connsiteX294" fmla="*/ 2123380 w 2832830"/>
                  <a:gd name="connsiteY294" fmla="*/ 1541265 h 2836785"/>
                  <a:gd name="connsiteX295" fmla="*/ 2130570 w 2832830"/>
                  <a:gd name="connsiteY295" fmla="*/ 1583364 h 2836785"/>
                  <a:gd name="connsiteX296" fmla="*/ 2113977 w 2832830"/>
                  <a:gd name="connsiteY296" fmla="*/ 1625462 h 2836785"/>
                  <a:gd name="connsiteX297" fmla="*/ 2103468 w 2832830"/>
                  <a:gd name="connsiteY297" fmla="*/ 1697785 h 2836785"/>
                  <a:gd name="connsiteX298" fmla="*/ 2095725 w 2832830"/>
                  <a:gd name="connsiteY298" fmla="*/ 1709119 h 2836785"/>
                  <a:gd name="connsiteX299" fmla="*/ 2094066 w 2832830"/>
                  <a:gd name="connsiteY299" fmla="*/ 1715596 h 2836785"/>
                  <a:gd name="connsiteX300" fmla="*/ 2136101 w 2832830"/>
                  <a:gd name="connsiteY300" fmla="*/ 1778204 h 2836785"/>
                  <a:gd name="connsiteX301" fmla="*/ 2136101 w 2832830"/>
                  <a:gd name="connsiteY301" fmla="*/ 1784680 h 2836785"/>
                  <a:gd name="connsiteX302" fmla="*/ 2130017 w 2832830"/>
                  <a:gd name="connsiteY302" fmla="*/ 1794395 h 2836785"/>
                  <a:gd name="connsiteX303" fmla="*/ 2115083 w 2832830"/>
                  <a:gd name="connsiteY303" fmla="*/ 1803571 h 2836785"/>
                  <a:gd name="connsiteX304" fmla="*/ 2026588 w 2832830"/>
                  <a:gd name="connsiteY304" fmla="*/ 1774965 h 2836785"/>
                  <a:gd name="connsiteX305" fmla="*/ 2025482 w 2832830"/>
                  <a:gd name="connsiteY305" fmla="*/ 1804110 h 2836785"/>
                  <a:gd name="connsiteX306" fmla="*/ 2030460 w 2832830"/>
                  <a:gd name="connsiteY306" fmla="*/ 1827318 h 2836785"/>
                  <a:gd name="connsiteX307" fmla="*/ 2027695 w 2832830"/>
                  <a:gd name="connsiteY307" fmla="*/ 1861321 h 2836785"/>
                  <a:gd name="connsiteX308" fmla="*/ 2035991 w 2832830"/>
                  <a:gd name="connsiteY308" fmla="*/ 1888847 h 2836785"/>
                  <a:gd name="connsiteX309" fmla="*/ 2054243 w 2832830"/>
                  <a:gd name="connsiteY309" fmla="*/ 1934184 h 2836785"/>
                  <a:gd name="connsiteX310" fmla="*/ 2060880 w 2832830"/>
                  <a:gd name="connsiteY310" fmla="*/ 1937962 h 2836785"/>
                  <a:gd name="connsiteX311" fmla="*/ 2066964 w 2832830"/>
                  <a:gd name="connsiteY311" fmla="*/ 1941740 h 2836785"/>
                  <a:gd name="connsiteX312" fmla="*/ 2059221 w 2832830"/>
                  <a:gd name="connsiteY312" fmla="*/ 1967107 h 2836785"/>
                  <a:gd name="connsiteX313" fmla="*/ 2082451 w 2832830"/>
                  <a:gd name="connsiteY313" fmla="*/ 2025397 h 2836785"/>
                  <a:gd name="connsiteX314" fmla="*/ 2121167 w 2832830"/>
                  <a:gd name="connsiteY314" fmla="*/ 2020000 h 2836785"/>
                  <a:gd name="connsiteX315" fmla="*/ 2128911 w 2832830"/>
                  <a:gd name="connsiteY315" fmla="*/ 2022159 h 2836785"/>
                  <a:gd name="connsiteX316" fmla="*/ 2151587 w 2832830"/>
                  <a:gd name="connsiteY316" fmla="*/ 2055621 h 2836785"/>
                  <a:gd name="connsiteX317" fmla="*/ 2168180 w 2832830"/>
                  <a:gd name="connsiteY317" fmla="*/ 2051304 h 2836785"/>
                  <a:gd name="connsiteX318" fmla="*/ 2170946 w 2832830"/>
                  <a:gd name="connsiteY318" fmla="*/ 2041049 h 2836785"/>
                  <a:gd name="connsiteX319" fmla="*/ 2181454 w 2832830"/>
                  <a:gd name="connsiteY319" fmla="*/ 2027016 h 2836785"/>
                  <a:gd name="connsiteX320" fmla="*/ 2210215 w 2832830"/>
                  <a:gd name="connsiteY320" fmla="*/ 2009745 h 2836785"/>
                  <a:gd name="connsiteX321" fmla="*/ 2218511 w 2832830"/>
                  <a:gd name="connsiteY321" fmla="*/ 2008126 h 2836785"/>
                  <a:gd name="connsiteX322" fmla="*/ 2278245 w 2832830"/>
                  <a:gd name="connsiteY322" fmla="*/ 2050764 h 2836785"/>
                  <a:gd name="connsiteX323" fmla="*/ 2325258 w 2832830"/>
                  <a:gd name="connsiteY323" fmla="*/ 2103657 h 2836785"/>
                  <a:gd name="connsiteX324" fmla="*/ 2300369 w 2832830"/>
                  <a:gd name="connsiteY324" fmla="*/ 2112832 h 2836785"/>
                  <a:gd name="connsiteX325" fmla="*/ 2307559 w 2832830"/>
                  <a:gd name="connsiteY325" fmla="*/ 2123627 h 2836785"/>
                  <a:gd name="connsiteX326" fmla="*/ 2323046 w 2832830"/>
                  <a:gd name="connsiteY326" fmla="*/ 2114991 h 2836785"/>
                  <a:gd name="connsiteX327" fmla="*/ 2332448 w 2832830"/>
                  <a:gd name="connsiteY327" fmla="*/ 2111753 h 2836785"/>
                  <a:gd name="connsiteX328" fmla="*/ 2347382 w 2832830"/>
                  <a:gd name="connsiteY328" fmla="*/ 2105276 h 2836785"/>
                  <a:gd name="connsiteX329" fmla="*/ 2381674 w 2832830"/>
                  <a:gd name="connsiteY329" fmla="*/ 2103117 h 2836785"/>
                  <a:gd name="connsiteX330" fmla="*/ 2382780 w 2832830"/>
                  <a:gd name="connsiteY330" fmla="*/ 2107435 h 2836785"/>
                  <a:gd name="connsiteX331" fmla="*/ 2380014 w 2832830"/>
                  <a:gd name="connsiteY331" fmla="*/ 2121468 h 2836785"/>
                  <a:gd name="connsiteX332" fmla="*/ 2388864 w 2832830"/>
                  <a:gd name="connsiteY332" fmla="*/ 2127405 h 2836785"/>
                  <a:gd name="connsiteX333" fmla="*/ 2388864 w 2832830"/>
                  <a:gd name="connsiteY333" fmla="*/ 2129024 h 2836785"/>
                  <a:gd name="connsiteX334" fmla="*/ 2384439 w 2832830"/>
                  <a:gd name="connsiteY334" fmla="*/ 2144136 h 2836785"/>
                  <a:gd name="connsiteX335" fmla="*/ 2383886 w 2832830"/>
                  <a:gd name="connsiteY335" fmla="*/ 2147914 h 2836785"/>
                  <a:gd name="connsiteX336" fmla="*/ 2376143 w 2832830"/>
                  <a:gd name="connsiteY336" fmla="*/ 2154391 h 2836785"/>
                  <a:gd name="connsiteX337" fmla="*/ 2367846 w 2832830"/>
                  <a:gd name="connsiteY337" fmla="*/ 2167884 h 2836785"/>
                  <a:gd name="connsiteX338" fmla="*/ 2358444 w 2832830"/>
                  <a:gd name="connsiteY338" fmla="*/ 2171122 h 2836785"/>
                  <a:gd name="connsiteX339" fmla="*/ 2357338 w 2832830"/>
                  <a:gd name="connsiteY339" fmla="*/ 2175440 h 2836785"/>
                  <a:gd name="connsiteX340" fmla="*/ 2358997 w 2832830"/>
                  <a:gd name="connsiteY340" fmla="*/ 2178139 h 2836785"/>
                  <a:gd name="connsiteX341" fmla="*/ 2381674 w 2832830"/>
                  <a:gd name="connsiteY341" fmla="*/ 2193251 h 2836785"/>
                  <a:gd name="connsiteX342" fmla="*/ 2379461 w 2832830"/>
                  <a:gd name="connsiteY342" fmla="*/ 2194870 h 2836785"/>
                  <a:gd name="connsiteX343" fmla="*/ 2360656 w 2832830"/>
                  <a:gd name="connsiteY343" fmla="*/ 2194330 h 2836785"/>
                  <a:gd name="connsiteX344" fmla="*/ 2350700 w 2832830"/>
                  <a:gd name="connsiteY344" fmla="*/ 2232651 h 2836785"/>
                  <a:gd name="connsiteX345" fmla="*/ 2331895 w 2832830"/>
                  <a:gd name="connsiteY345" fmla="*/ 2252081 h 2836785"/>
                  <a:gd name="connsiteX346" fmla="*/ 2332448 w 2832830"/>
                  <a:gd name="connsiteY346" fmla="*/ 2259097 h 2836785"/>
                  <a:gd name="connsiteX347" fmla="*/ 2330789 w 2832830"/>
                  <a:gd name="connsiteY347" fmla="*/ 2261256 h 2836785"/>
                  <a:gd name="connsiteX348" fmla="*/ 2315303 w 2832830"/>
                  <a:gd name="connsiteY348" fmla="*/ 2259097 h 2836785"/>
                  <a:gd name="connsiteX349" fmla="*/ 2313090 w 2832830"/>
                  <a:gd name="connsiteY349" fmla="*/ 2260716 h 2836785"/>
                  <a:gd name="connsiteX350" fmla="*/ 2312537 w 2832830"/>
                  <a:gd name="connsiteY350" fmla="*/ 2263415 h 2836785"/>
                  <a:gd name="connsiteX351" fmla="*/ 2318621 w 2832830"/>
                  <a:gd name="connsiteY351" fmla="*/ 2272590 h 2836785"/>
                  <a:gd name="connsiteX352" fmla="*/ 2320280 w 2832830"/>
                  <a:gd name="connsiteY352" fmla="*/ 2302275 h 2836785"/>
                  <a:gd name="connsiteX353" fmla="*/ 2322493 w 2832830"/>
                  <a:gd name="connsiteY353" fmla="*/ 2376757 h 2836785"/>
                  <a:gd name="connsiteX354" fmla="*/ 2318068 w 2832830"/>
                  <a:gd name="connsiteY354" fmla="*/ 2382694 h 2836785"/>
                  <a:gd name="connsiteX355" fmla="*/ 2310325 w 2832830"/>
                  <a:gd name="connsiteY355" fmla="*/ 2412379 h 2836785"/>
                  <a:gd name="connsiteX356" fmla="*/ 2318621 w 2832830"/>
                  <a:gd name="connsiteY356" fmla="*/ 2438285 h 2836785"/>
                  <a:gd name="connsiteX357" fmla="*/ 2326918 w 2832830"/>
                  <a:gd name="connsiteY357" fmla="*/ 2440444 h 2836785"/>
                  <a:gd name="connsiteX358" fmla="*/ 2338532 w 2832830"/>
                  <a:gd name="connsiteY358" fmla="*/ 2436666 h 2836785"/>
                  <a:gd name="connsiteX359" fmla="*/ 2365081 w 2832830"/>
                  <a:gd name="connsiteY359" fmla="*/ 2445841 h 2836785"/>
                  <a:gd name="connsiteX360" fmla="*/ 2372271 w 2832830"/>
                  <a:gd name="connsiteY360" fmla="*/ 2439365 h 2836785"/>
                  <a:gd name="connsiteX361" fmla="*/ 2375590 w 2832830"/>
                  <a:gd name="connsiteY361" fmla="*/ 2439904 h 2836785"/>
                  <a:gd name="connsiteX362" fmla="*/ 2388311 w 2832830"/>
                  <a:gd name="connsiteY362" fmla="*/ 2456096 h 2836785"/>
                  <a:gd name="connsiteX363" fmla="*/ 2408775 w 2832830"/>
                  <a:gd name="connsiteY363" fmla="*/ 2477685 h 2836785"/>
                  <a:gd name="connsiteX364" fmla="*/ 2408775 w 2832830"/>
                  <a:gd name="connsiteY364" fmla="*/ 2495496 h 2836785"/>
                  <a:gd name="connsiteX365" fmla="*/ 2412647 w 2832830"/>
                  <a:gd name="connsiteY365" fmla="*/ 2503592 h 2836785"/>
                  <a:gd name="connsiteX366" fmla="*/ 2420390 w 2832830"/>
                  <a:gd name="connsiteY366" fmla="*/ 2507910 h 2836785"/>
                  <a:gd name="connsiteX367" fmla="*/ 2420390 w 2832830"/>
                  <a:gd name="connsiteY367" fmla="*/ 2499814 h 2836785"/>
                  <a:gd name="connsiteX368" fmla="*/ 2414859 w 2832830"/>
                  <a:gd name="connsiteY368" fmla="*/ 2456096 h 2836785"/>
                  <a:gd name="connsiteX369" fmla="*/ 2418178 w 2832830"/>
                  <a:gd name="connsiteY369" fmla="*/ 2456096 h 2836785"/>
                  <a:gd name="connsiteX370" fmla="*/ 2423709 w 2832830"/>
                  <a:gd name="connsiteY370" fmla="*/ 2463113 h 2836785"/>
                  <a:gd name="connsiteX371" fmla="*/ 2427027 w 2832830"/>
                  <a:gd name="connsiteY371" fmla="*/ 2496575 h 2836785"/>
                  <a:gd name="connsiteX372" fmla="*/ 2434770 w 2832830"/>
                  <a:gd name="connsiteY372" fmla="*/ 2519244 h 2836785"/>
                  <a:gd name="connsiteX373" fmla="*/ 2443067 w 2832830"/>
                  <a:gd name="connsiteY373" fmla="*/ 2527879 h 2836785"/>
                  <a:gd name="connsiteX374" fmla="*/ 2450257 w 2832830"/>
                  <a:gd name="connsiteY374" fmla="*/ 2552707 h 2836785"/>
                  <a:gd name="connsiteX375" fmla="*/ 2475699 w 2832830"/>
                  <a:gd name="connsiteY375" fmla="*/ 2566200 h 2836785"/>
                  <a:gd name="connsiteX376" fmla="*/ 2485655 w 2832830"/>
                  <a:gd name="connsiteY376" fmla="*/ 2580232 h 2836785"/>
                  <a:gd name="connsiteX377" fmla="*/ 2508332 w 2832830"/>
                  <a:gd name="connsiteY377" fmla="*/ 2586709 h 2836785"/>
                  <a:gd name="connsiteX378" fmla="*/ 2521606 w 2832830"/>
                  <a:gd name="connsiteY378" fmla="*/ 2598043 h 2836785"/>
                  <a:gd name="connsiteX379" fmla="*/ 2546495 w 2832830"/>
                  <a:gd name="connsiteY379" fmla="*/ 2604520 h 2836785"/>
                  <a:gd name="connsiteX380" fmla="*/ 2572490 w 2832830"/>
                  <a:gd name="connsiteY380" fmla="*/ 2628268 h 2836785"/>
                  <a:gd name="connsiteX381" fmla="*/ 2587424 w 2832830"/>
                  <a:gd name="connsiteY381" fmla="*/ 2631506 h 2836785"/>
                  <a:gd name="connsiteX382" fmla="*/ 2599592 w 2832830"/>
                  <a:gd name="connsiteY382" fmla="*/ 2629887 h 2836785"/>
                  <a:gd name="connsiteX383" fmla="*/ 2599592 w 2832830"/>
                  <a:gd name="connsiteY383" fmla="*/ 2671446 h 2836785"/>
                  <a:gd name="connsiteX384" fmla="*/ 2581340 w 2832830"/>
                  <a:gd name="connsiteY384" fmla="*/ 2702750 h 2836785"/>
                  <a:gd name="connsiteX385" fmla="*/ 2573597 w 2832830"/>
                  <a:gd name="connsiteY385" fmla="*/ 2738371 h 2836785"/>
                  <a:gd name="connsiteX386" fmla="*/ 2552579 w 2832830"/>
                  <a:gd name="connsiteY386" fmla="*/ 2747007 h 2836785"/>
                  <a:gd name="connsiteX387" fmla="*/ 2528796 w 2832830"/>
                  <a:gd name="connsiteY387" fmla="*/ 2748086 h 2836785"/>
                  <a:gd name="connsiteX388" fmla="*/ 2518840 w 2832830"/>
                  <a:gd name="connsiteY388" fmla="*/ 2737832 h 2836785"/>
                  <a:gd name="connsiteX389" fmla="*/ 2507779 w 2832830"/>
                  <a:gd name="connsiteY389" fmla="*/ 2733514 h 2836785"/>
                  <a:gd name="connsiteX390" fmla="*/ 2495611 w 2832830"/>
                  <a:gd name="connsiteY390" fmla="*/ 2737832 h 2836785"/>
                  <a:gd name="connsiteX391" fmla="*/ 2455235 w 2832830"/>
                  <a:gd name="connsiteY391" fmla="*/ 2731355 h 2836785"/>
                  <a:gd name="connsiteX392" fmla="*/ 2423709 w 2832830"/>
                  <a:gd name="connsiteY392" fmla="*/ 2742149 h 2836785"/>
                  <a:gd name="connsiteX393" fmla="*/ 2349041 w 2832830"/>
                  <a:gd name="connsiteY393" fmla="*/ 2720021 h 2836785"/>
                  <a:gd name="connsiteX394" fmla="*/ 2354019 w 2832830"/>
                  <a:gd name="connsiteY394" fmla="*/ 2713004 h 2836785"/>
                  <a:gd name="connsiteX395" fmla="*/ 2347382 w 2832830"/>
                  <a:gd name="connsiteY395" fmla="*/ 2705988 h 2836785"/>
                  <a:gd name="connsiteX396" fmla="*/ 2334108 w 2832830"/>
                  <a:gd name="connsiteY396" fmla="*/ 2700051 h 2836785"/>
                  <a:gd name="connsiteX397" fmla="*/ 2325811 w 2832830"/>
                  <a:gd name="connsiteY397" fmla="*/ 2713544 h 2836785"/>
                  <a:gd name="connsiteX398" fmla="*/ 2307006 w 2832830"/>
                  <a:gd name="connsiteY398" fmla="*/ 2716243 h 2836785"/>
                  <a:gd name="connsiteX399" fmla="*/ 2300922 w 2832830"/>
                  <a:gd name="connsiteY399" fmla="*/ 2708147 h 2836785"/>
                  <a:gd name="connsiteX400" fmla="*/ 2293179 w 2832830"/>
                  <a:gd name="connsiteY400" fmla="*/ 2705988 h 2836785"/>
                  <a:gd name="connsiteX401" fmla="*/ 2277692 w 2832830"/>
                  <a:gd name="connsiteY401" fmla="*/ 2718941 h 2836785"/>
                  <a:gd name="connsiteX402" fmla="*/ 2257781 w 2832830"/>
                  <a:gd name="connsiteY402" fmla="*/ 2722719 h 2836785"/>
                  <a:gd name="connsiteX403" fmla="*/ 2238423 w 2832830"/>
                  <a:gd name="connsiteY403" fmla="*/ 2737832 h 2836785"/>
                  <a:gd name="connsiteX404" fmla="*/ 2224042 w 2832830"/>
                  <a:gd name="connsiteY404" fmla="*/ 2763199 h 2836785"/>
                  <a:gd name="connsiteX405" fmla="*/ 2193069 w 2832830"/>
                  <a:gd name="connsiteY405" fmla="*/ 2770755 h 2836785"/>
                  <a:gd name="connsiteX406" fmla="*/ 2188091 w 2832830"/>
                  <a:gd name="connsiteY406" fmla="*/ 2753484 h 2836785"/>
                  <a:gd name="connsiteX407" fmla="*/ 2122827 w 2832830"/>
                  <a:gd name="connsiteY407" fmla="*/ 2755103 h 2836785"/>
                  <a:gd name="connsiteX408" fmla="*/ 2118402 w 2832830"/>
                  <a:gd name="connsiteY408" fmla="*/ 2749706 h 2836785"/>
                  <a:gd name="connsiteX409" fmla="*/ 2096831 w 2832830"/>
                  <a:gd name="connsiteY409" fmla="*/ 2750245 h 2836785"/>
                  <a:gd name="connsiteX410" fmla="*/ 2079132 w 2832830"/>
                  <a:gd name="connsiteY410" fmla="*/ 2759421 h 2836785"/>
                  <a:gd name="connsiteX411" fmla="*/ 1944178 w 2832830"/>
                  <a:gd name="connsiteY411" fmla="*/ 2795042 h 2836785"/>
                  <a:gd name="connsiteX412" fmla="*/ 1883891 w 2832830"/>
                  <a:gd name="connsiteY412" fmla="*/ 2804757 h 2836785"/>
                  <a:gd name="connsiteX413" fmla="*/ 1871723 w 2832830"/>
                  <a:gd name="connsiteY413" fmla="*/ 2818790 h 2836785"/>
                  <a:gd name="connsiteX414" fmla="*/ 1880572 w 2832830"/>
                  <a:gd name="connsiteY414" fmla="*/ 2836601 h 2836785"/>
                  <a:gd name="connsiteX415" fmla="*/ 1860108 w 2832830"/>
                  <a:gd name="connsiteY415" fmla="*/ 2834982 h 2836785"/>
                  <a:gd name="connsiteX416" fmla="*/ 1854024 w 2832830"/>
                  <a:gd name="connsiteY416" fmla="*/ 2826346 h 2836785"/>
                  <a:gd name="connsiteX417" fmla="*/ 1828582 w 2832830"/>
                  <a:gd name="connsiteY417" fmla="*/ 2822568 h 2836785"/>
                  <a:gd name="connsiteX418" fmla="*/ 1803692 w 2832830"/>
                  <a:gd name="connsiteY418" fmla="*/ 2806916 h 2836785"/>
                  <a:gd name="connsiteX419" fmla="*/ 1734556 w 2832830"/>
                  <a:gd name="connsiteY419" fmla="*/ 2780470 h 2836785"/>
                  <a:gd name="connsiteX420" fmla="*/ 1716304 w 2832830"/>
                  <a:gd name="connsiteY420" fmla="*/ 2781010 h 2836785"/>
                  <a:gd name="connsiteX421" fmla="*/ 1692521 w 2832830"/>
                  <a:gd name="connsiteY421" fmla="*/ 2789645 h 2836785"/>
                  <a:gd name="connsiteX422" fmla="*/ 1676481 w 2832830"/>
                  <a:gd name="connsiteY422" fmla="*/ 2785867 h 2836785"/>
                  <a:gd name="connsiteX423" fmla="*/ 1652145 w 2832830"/>
                  <a:gd name="connsiteY423" fmla="*/ 2768056 h 2836785"/>
                  <a:gd name="connsiteX424" fmla="*/ 1637765 w 2832830"/>
                  <a:gd name="connsiteY424" fmla="*/ 2777231 h 2836785"/>
                  <a:gd name="connsiteX425" fmla="*/ 1628915 w 2832830"/>
                  <a:gd name="connsiteY425" fmla="*/ 2781010 h 2836785"/>
                  <a:gd name="connsiteX426" fmla="*/ 1613429 w 2832830"/>
                  <a:gd name="connsiteY426" fmla="*/ 2777231 h 2836785"/>
                  <a:gd name="connsiteX427" fmla="*/ 1584115 w 2832830"/>
                  <a:gd name="connsiteY427" fmla="*/ 2752944 h 2836785"/>
                  <a:gd name="connsiteX428" fmla="*/ 1537102 w 2832830"/>
                  <a:gd name="connsiteY428" fmla="*/ 2755643 h 2836785"/>
                  <a:gd name="connsiteX429" fmla="*/ 1553142 w 2832830"/>
                  <a:gd name="connsiteY429" fmla="*/ 2729196 h 2836785"/>
                  <a:gd name="connsiteX430" fmla="*/ 1552036 w 2832830"/>
                  <a:gd name="connsiteY430" fmla="*/ 2727037 h 2836785"/>
                  <a:gd name="connsiteX431" fmla="*/ 1531018 w 2832830"/>
                  <a:gd name="connsiteY431" fmla="*/ 2731355 h 2836785"/>
                  <a:gd name="connsiteX432" fmla="*/ 1548164 w 2832830"/>
                  <a:gd name="connsiteY432" fmla="*/ 2716782 h 2836785"/>
                  <a:gd name="connsiteX433" fmla="*/ 1568075 w 2832830"/>
                  <a:gd name="connsiteY433" fmla="*/ 2720021 h 2836785"/>
                  <a:gd name="connsiteX434" fmla="*/ 1586327 w 2832830"/>
                  <a:gd name="connsiteY434" fmla="*/ 2711385 h 2836785"/>
                  <a:gd name="connsiteX435" fmla="*/ 1594071 w 2832830"/>
                  <a:gd name="connsiteY435" fmla="*/ 2702750 h 2836785"/>
                  <a:gd name="connsiteX436" fmla="*/ 1594624 w 2832830"/>
                  <a:gd name="connsiteY436" fmla="*/ 2688177 h 2836785"/>
                  <a:gd name="connsiteX437" fmla="*/ 1591305 w 2832830"/>
                  <a:gd name="connsiteY437" fmla="*/ 2682780 h 2836785"/>
                  <a:gd name="connsiteX438" fmla="*/ 1590199 w 2832830"/>
                  <a:gd name="connsiteY438" fmla="*/ 2671446 h 2836785"/>
                  <a:gd name="connsiteX439" fmla="*/ 1599048 w 2832830"/>
                  <a:gd name="connsiteY439" fmla="*/ 2646079 h 2836785"/>
                  <a:gd name="connsiteX440" fmla="*/ 1597942 w 2832830"/>
                  <a:gd name="connsiteY440" fmla="*/ 2621251 h 2836785"/>
                  <a:gd name="connsiteX441" fmla="*/ 1603473 w 2832830"/>
                  <a:gd name="connsiteY441" fmla="*/ 2609917 h 2836785"/>
                  <a:gd name="connsiteX442" fmla="*/ 1607898 w 2832830"/>
                  <a:gd name="connsiteY442" fmla="*/ 2617473 h 2836785"/>
                  <a:gd name="connsiteX443" fmla="*/ 1609557 w 2832830"/>
                  <a:gd name="connsiteY443" fmla="*/ 2618013 h 2836785"/>
                  <a:gd name="connsiteX444" fmla="*/ 1608451 w 2832830"/>
                  <a:gd name="connsiteY444" fmla="*/ 2607219 h 2836785"/>
                  <a:gd name="connsiteX445" fmla="*/ 1615641 w 2832830"/>
                  <a:gd name="connsiteY445" fmla="*/ 2593726 h 2836785"/>
                  <a:gd name="connsiteX446" fmla="*/ 1637212 w 2832830"/>
                  <a:gd name="connsiteY446" fmla="*/ 2595345 h 2836785"/>
                  <a:gd name="connsiteX447" fmla="*/ 1642190 w 2832830"/>
                  <a:gd name="connsiteY447" fmla="*/ 2585090 h 2836785"/>
                  <a:gd name="connsiteX448" fmla="*/ 1617300 w 2832830"/>
                  <a:gd name="connsiteY448" fmla="*/ 2579153 h 2836785"/>
                  <a:gd name="connsiteX449" fmla="*/ 1606792 w 2832830"/>
                  <a:gd name="connsiteY449" fmla="*/ 2573216 h 2836785"/>
                  <a:gd name="connsiteX450" fmla="*/ 1590752 w 2832830"/>
                  <a:gd name="connsiteY450" fmla="*/ 2570517 h 2836785"/>
                  <a:gd name="connsiteX451" fmla="*/ 1584115 w 2832830"/>
                  <a:gd name="connsiteY451" fmla="*/ 2575375 h 2836785"/>
                  <a:gd name="connsiteX452" fmla="*/ 1574159 w 2832830"/>
                  <a:gd name="connsiteY452" fmla="*/ 2571057 h 2836785"/>
                  <a:gd name="connsiteX453" fmla="*/ 1566969 w 2832830"/>
                  <a:gd name="connsiteY453" fmla="*/ 2560802 h 2836785"/>
                  <a:gd name="connsiteX454" fmla="*/ 1559779 w 2832830"/>
                  <a:gd name="connsiteY454" fmla="*/ 2553246 h 2836785"/>
                  <a:gd name="connsiteX455" fmla="*/ 1564204 w 2832830"/>
                  <a:gd name="connsiteY455" fmla="*/ 2551087 h 2836785"/>
                  <a:gd name="connsiteX456" fmla="*/ 1576372 w 2832830"/>
                  <a:gd name="connsiteY456" fmla="*/ 2545150 h 2836785"/>
                  <a:gd name="connsiteX457" fmla="*/ 1591305 w 2832830"/>
                  <a:gd name="connsiteY457" fmla="*/ 2525181 h 2836785"/>
                  <a:gd name="connsiteX458" fmla="*/ 1595730 w 2832830"/>
                  <a:gd name="connsiteY458" fmla="*/ 2525181 h 2836785"/>
                  <a:gd name="connsiteX459" fmla="*/ 1597942 w 2832830"/>
                  <a:gd name="connsiteY459" fmla="*/ 2528419 h 2836785"/>
                  <a:gd name="connsiteX460" fmla="*/ 1613429 w 2832830"/>
                  <a:gd name="connsiteY460" fmla="*/ 2524101 h 2836785"/>
                  <a:gd name="connsiteX461" fmla="*/ 1615088 w 2832830"/>
                  <a:gd name="connsiteY461" fmla="*/ 2519244 h 2836785"/>
                  <a:gd name="connsiteX462" fmla="*/ 1597942 w 2832830"/>
                  <a:gd name="connsiteY462" fmla="*/ 2511688 h 2836785"/>
                  <a:gd name="connsiteX463" fmla="*/ 1617300 w 2832830"/>
                  <a:gd name="connsiteY463" fmla="*/ 2494416 h 2836785"/>
                  <a:gd name="connsiteX464" fmla="*/ 1636659 w 2832830"/>
                  <a:gd name="connsiteY464" fmla="*/ 2464732 h 2836785"/>
                  <a:gd name="connsiteX465" fmla="*/ 1651592 w 2832830"/>
                  <a:gd name="connsiteY465" fmla="*/ 2456636 h 2836785"/>
                  <a:gd name="connsiteX466" fmla="*/ 1646061 w 2832830"/>
                  <a:gd name="connsiteY466" fmla="*/ 2443143 h 2836785"/>
                  <a:gd name="connsiteX467" fmla="*/ 1641083 w 2832830"/>
                  <a:gd name="connsiteY467" fmla="*/ 2432348 h 2836785"/>
                  <a:gd name="connsiteX468" fmla="*/ 1618960 w 2832830"/>
                  <a:gd name="connsiteY468" fmla="*/ 2440984 h 2836785"/>
                  <a:gd name="connsiteX469" fmla="*/ 1613982 w 2832830"/>
                  <a:gd name="connsiteY469" fmla="*/ 2451778 h 2836785"/>
                  <a:gd name="connsiteX470" fmla="*/ 1599601 w 2832830"/>
                  <a:gd name="connsiteY470" fmla="*/ 2465271 h 2836785"/>
                  <a:gd name="connsiteX471" fmla="*/ 1569734 w 2832830"/>
                  <a:gd name="connsiteY471" fmla="*/ 2483082 h 2836785"/>
                  <a:gd name="connsiteX472" fmla="*/ 1556460 w 2832830"/>
                  <a:gd name="connsiteY472" fmla="*/ 2477145 h 2836785"/>
                  <a:gd name="connsiteX473" fmla="*/ 1547058 w 2832830"/>
                  <a:gd name="connsiteY473" fmla="*/ 2455556 h 2836785"/>
                  <a:gd name="connsiteX474" fmla="*/ 1548717 w 2832830"/>
                  <a:gd name="connsiteY474" fmla="*/ 2437746 h 2836785"/>
                  <a:gd name="connsiteX475" fmla="*/ 1557566 w 2832830"/>
                  <a:gd name="connsiteY475" fmla="*/ 2415617 h 2836785"/>
                  <a:gd name="connsiteX476" fmla="*/ 1578031 w 2832830"/>
                  <a:gd name="connsiteY476" fmla="*/ 2393488 h 2836785"/>
                  <a:gd name="connsiteX477" fmla="*/ 1598495 w 2832830"/>
                  <a:gd name="connsiteY477" fmla="*/ 2360025 h 2836785"/>
                  <a:gd name="connsiteX478" fmla="*/ 1620619 w 2832830"/>
                  <a:gd name="connsiteY478" fmla="*/ 2343834 h 2836785"/>
                  <a:gd name="connsiteX479" fmla="*/ 1631128 w 2832830"/>
                  <a:gd name="connsiteY479" fmla="*/ 2318467 h 2836785"/>
                  <a:gd name="connsiteX480" fmla="*/ 1629468 w 2832830"/>
                  <a:gd name="connsiteY480" fmla="*/ 2307672 h 2836785"/>
                  <a:gd name="connsiteX481" fmla="*/ 1620066 w 2832830"/>
                  <a:gd name="connsiteY481" fmla="*/ 2293639 h 2836785"/>
                  <a:gd name="connsiteX482" fmla="*/ 1602920 w 2832830"/>
                  <a:gd name="connsiteY482" fmla="*/ 2283924 h 2836785"/>
                  <a:gd name="connsiteX483" fmla="*/ 1597389 w 2832830"/>
                  <a:gd name="connsiteY483" fmla="*/ 2275289 h 2836785"/>
                  <a:gd name="connsiteX484" fmla="*/ 1597389 w 2832830"/>
                  <a:gd name="connsiteY484" fmla="*/ 2266114 h 2836785"/>
                  <a:gd name="connsiteX485" fmla="*/ 1603473 w 2832830"/>
                  <a:gd name="connsiteY485" fmla="*/ 2244525 h 2836785"/>
                  <a:gd name="connsiteX486" fmla="*/ 1587987 w 2832830"/>
                  <a:gd name="connsiteY486" fmla="*/ 2242905 h 2836785"/>
                  <a:gd name="connsiteX487" fmla="*/ 1587433 w 2832830"/>
                  <a:gd name="connsiteY487" fmla="*/ 2236429 h 2836785"/>
                  <a:gd name="connsiteX488" fmla="*/ 1600155 w 2832830"/>
                  <a:gd name="connsiteY488" fmla="*/ 2212141 h 2836785"/>
                  <a:gd name="connsiteX489" fmla="*/ 1596283 w 2832830"/>
                  <a:gd name="connsiteY489" fmla="*/ 2187854 h 2836785"/>
                  <a:gd name="connsiteX490" fmla="*/ 1577478 w 2832830"/>
                  <a:gd name="connsiteY490" fmla="*/ 2164646 h 2836785"/>
                  <a:gd name="connsiteX491" fmla="*/ 1540974 w 2832830"/>
                  <a:gd name="connsiteY491" fmla="*/ 2167344 h 2836785"/>
                  <a:gd name="connsiteX492" fmla="*/ 1504470 w 2832830"/>
                  <a:gd name="connsiteY492" fmla="*/ 2160867 h 2836785"/>
                  <a:gd name="connsiteX493" fmla="*/ 1489536 w 2832830"/>
                  <a:gd name="connsiteY493" fmla="*/ 2171662 h 2836785"/>
                  <a:gd name="connsiteX494" fmla="*/ 1480687 w 2832830"/>
                  <a:gd name="connsiteY494" fmla="*/ 2174900 h 2836785"/>
                  <a:gd name="connsiteX495" fmla="*/ 1447501 w 2832830"/>
                  <a:gd name="connsiteY495" fmla="*/ 2173821 h 2836785"/>
                  <a:gd name="connsiteX496" fmla="*/ 1423718 w 2832830"/>
                  <a:gd name="connsiteY496" fmla="*/ 2184076 h 2836785"/>
                  <a:gd name="connsiteX497" fmla="*/ 1407679 w 2832830"/>
                  <a:gd name="connsiteY497" fmla="*/ 2181917 h 2836785"/>
                  <a:gd name="connsiteX498" fmla="*/ 1399935 w 2832830"/>
                  <a:gd name="connsiteY498" fmla="*/ 2194330 h 2836785"/>
                  <a:gd name="connsiteX499" fmla="*/ 1374493 w 2832830"/>
                  <a:gd name="connsiteY499" fmla="*/ 2193791 h 2836785"/>
                  <a:gd name="connsiteX500" fmla="*/ 1352369 w 2832830"/>
                  <a:gd name="connsiteY500" fmla="*/ 2166804 h 2836785"/>
                  <a:gd name="connsiteX501" fmla="*/ 1335777 w 2832830"/>
                  <a:gd name="connsiteY501" fmla="*/ 2174361 h 2836785"/>
                  <a:gd name="connsiteX502" fmla="*/ 1321396 w 2832830"/>
                  <a:gd name="connsiteY502" fmla="*/ 2193251 h 2836785"/>
                  <a:gd name="connsiteX503" fmla="*/ 1293188 w 2832830"/>
                  <a:gd name="connsiteY503" fmla="*/ 2200807 h 2836785"/>
                  <a:gd name="connsiteX504" fmla="*/ 1245069 w 2832830"/>
                  <a:gd name="connsiteY504" fmla="*/ 2197569 h 2836785"/>
                  <a:gd name="connsiteX505" fmla="*/ 1231242 w 2832830"/>
                  <a:gd name="connsiteY505" fmla="*/ 2206744 h 2836785"/>
                  <a:gd name="connsiteX506" fmla="*/ 1211884 w 2832830"/>
                  <a:gd name="connsiteY506" fmla="*/ 2197029 h 2836785"/>
                  <a:gd name="connsiteX507" fmla="*/ 1186995 w 2832830"/>
                  <a:gd name="connsiteY507" fmla="*/ 2150073 h 2836785"/>
                  <a:gd name="connsiteX508" fmla="*/ 1151597 w 2832830"/>
                  <a:gd name="connsiteY508" fmla="*/ 2138739 h 2836785"/>
                  <a:gd name="connsiteX509" fmla="*/ 1123942 w 2832830"/>
                  <a:gd name="connsiteY509" fmla="*/ 2147374 h 2836785"/>
                  <a:gd name="connsiteX510" fmla="*/ 1092416 w 2832830"/>
                  <a:gd name="connsiteY510" fmla="*/ 2145216 h 2836785"/>
                  <a:gd name="connsiteX511" fmla="*/ 1082460 w 2832830"/>
                  <a:gd name="connsiteY511" fmla="*/ 2132802 h 2836785"/>
                  <a:gd name="connsiteX512" fmla="*/ 1076929 w 2832830"/>
                  <a:gd name="connsiteY512" fmla="*/ 2110134 h 2836785"/>
                  <a:gd name="connsiteX513" fmla="*/ 1075823 w 2832830"/>
                  <a:gd name="connsiteY513" fmla="*/ 2080449 h 2836785"/>
                  <a:gd name="connsiteX514" fmla="*/ 1068633 w 2832830"/>
                  <a:gd name="connsiteY514" fmla="*/ 2069654 h 2836785"/>
                  <a:gd name="connsiteX515" fmla="*/ 1058677 w 2832830"/>
                  <a:gd name="connsiteY515" fmla="*/ 2064257 h 2836785"/>
                  <a:gd name="connsiteX516" fmla="*/ 1047616 w 2832830"/>
                  <a:gd name="connsiteY516" fmla="*/ 2037811 h 2836785"/>
                  <a:gd name="connsiteX517" fmla="*/ 1031023 w 2832830"/>
                  <a:gd name="connsiteY517" fmla="*/ 2034032 h 2836785"/>
                  <a:gd name="connsiteX518" fmla="*/ 1023833 w 2832830"/>
                  <a:gd name="connsiteY518" fmla="*/ 2028095 h 2836785"/>
                  <a:gd name="connsiteX519" fmla="*/ 1007793 w 2832830"/>
                  <a:gd name="connsiteY519" fmla="*/ 2041589 h 2836785"/>
                  <a:gd name="connsiteX520" fmla="*/ 981245 w 2832830"/>
                  <a:gd name="connsiteY520" fmla="*/ 2043747 h 2836785"/>
                  <a:gd name="connsiteX521" fmla="*/ 972395 w 2832830"/>
                  <a:gd name="connsiteY521" fmla="*/ 2058320 h 2836785"/>
                  <a:gd name="connsiteX522" fmla="*/ 962439 w 2832830"/>
                  <a:gd name="connsiteY522" fmla="*/ 2065876 h 2836785"/>
                  <a:gd name="connsiteX523" fmla="*/ 930913 w 2832830"/>
                  <a:gd name="connsiteY523" fmla="*/ 2073432 h 2836785"/>
                  <a:gd name="connsiteX524" fmla="*/ 921511 w 2832830"/>
                  <a:gd name="connsiteY524" fmla="*/ 2110673 h 2836785"/>
                  <a:gd name="connsiteX525" fmla="*/ 910449 w 2832830"/>
                  <a:gd name="connsiteY525" fmla="*/ 2105816 h 2836785"/>
                  <a:gd name="connsiteX526" fmla="*/ 885560 w 2832830"/>
                  <a:gd name="connsiteY526" fmla="*/ 2109054 h 2836785"/>
                  <a:gd name="connsiteX527" fmla="*/ 881135 w 2832830"/>
                  <a:gd name="connsiteY527" fmla="*/ 2088545 h 2836785"/>
                  <a:gd name="connsiteX528" fmla="*/ 868414 w 2832830"/>
                  <a:gd name="connsiteY528" fmla="*/ 2077750 h 2836785"/>
                  <a:gd name="connsiteX529" fmla="*/ 857905 w 2832830"/>
                  <a:gd name="connsiteY529" fmla="*/ 2055082 h 2836785"/>
                  <a:gd name="connsiteX530" fmla="*/ 854586 w 2832830"/>
                  <a:gd name="connsiteY530" fmla="*/ 2023778 h 2836785"/>
                  <a:gd name="connsiteX531" fmla="*/ 842418 w 2832830"/>
                  <a:gd name="connsiteY531" fmla="*/ 2004348 h 2836785"/>
                  <a:gd name="connsiteX532" fmla="*/ 840206 w 2832830"/>
                  <a:gd name="connsiteY532" fmla="*/ 1989775 h 2836785"/>
                  <a:gd name="connsiteX533" fmla="*/ 858458 w 2832830"/>
                  <a:gd name="connsiteY533" fmla="*/ 1980060 h 2836785"/>
                  <a:gd name="connsiteX534" fmla="*/ 879476 w 2832830"/>
                  <a:gd name="connsiteY534" fmla="*/ 1977362 h 2836785"/>
                  <a:gd name="connsiteX535" fmla="*/ 893856 w 2832830"/>
                  <a:gd name="connsiteY535" fmla="*/ 1968726 h 2836785"/>
                  <a:gd name="connsiteX536" fmla="*/ 899940 w 2832830"/>
                  <a:gd name="connsiteY536" fmla="*/ 1940660 h 2836785"/>
                  <a:gd name="connsiteX537" fmla="*/ 875051 w 2832830"/>
                  <a:gd name="connsiteY537" fmla="*/ 1911515 h 2836785"/>
                  <a:gd name="connsiteX538" fmla="*/ 860117 w 2832830"/>
                  <a:gd name="connsiteY538" fmla="*/ 1914214 h 2836785"/>
                  <a:gd name="connsiteX539" fmla="*/ 855140 w 2832830"/>
                  <a:gd name="connsiteY539" fmla="*/ 1923929 h 2836785"/>
                  <a:gd name="connsiteX540" fmla="*/ 833569 w 2832830"/>
                  <a:gd name="connsiteY540" fmla="*/ 1937962 h 2836785"/>
                  <a:gd name="connsiteX541" fmla="*/ 820848 w 2832830"/>
                  <a:gd name="connsiteY541" fmla="*/ 1925548 h 2836785"/>
                  <a:gd name="connsiteX542" fmla="*/ 820848 w 2832830"/>
                  <a:gd name="connsiteY542" fmla="*/ 1895863 h 2836785"/>
                  <a:gd name="connsiteX543" fmla="*/ 824166 w 2832830"/>
                  <a:gd name="connsiteY543" fmla="*/ 1891546 h 2836785"/>
                  <a:gd name="connsiteX544" fmla="*/ 786556 w 2832830"/>
                  <a:gd name="connsiteY544" fmla="*/ 1879672 h 2836785"/>
                  <a:gd name="connsiteX545" fmla="*/ 769963 w 2832830"/>
                  <a:gd name="connsiteY545" fmla="*/ 1863480 h 2836785"/>
                  <a:gd name="connsiteX546" fmla="*/ 755030 w 2832830"/>
                  <a:gd name="connsiteY546" fmla="*/ 1832716 h 2836785"/>
                  <a:gd name="connsiteX547" fmla="*/ 734565 w 2832830"/>
                  <a:gd name="connsiteY547" fmla="*/ 1826779 h 2836785"/>
                  <a:gd name="connsiteX548" fmla="*/ 725163 w 2832830"/>
                  <a:gd name="connsiteY548" fmla="*/ 1820302 h 2836785"/>
                  <a:gd name="connsiteX549" fmla="*/ 722397 w 2832830"/>
                  <a:gd name="connsiteY549" fmla="*/ 1811666 h 2836785"/>
                  <a:gd name="connsiteX550" fmla="*/ 722951 w 2832830"/>
                  <a:gd name="connsiteY550" fmla="*/ 1788998 h 2836785"/>
                  <a:gd name="connsiteX551" fmla="*/ 704145 w 2832830"/>
                  <a:gd name="connsiteY551" fmla="*/ 1771727 h 2836785"/>
                  <a:gd name="connsiteX552" fmla="*/ 697508 w 2832830"/>
                  <a:gd name="connsiteY552" fmla="*/ 1735026 h 2836785"/>
                  <a:gd name="connsiteX553" fmla="*/ 646071 w 2832830"/>
                  <a:gd name="connsiteY553" fmla="*/ 1725850 h 2836785"/>
                  <a:gd name="connsiteX554" fmla="*/ 627819 w 2832830"/>
                  <a:gd name="connsiteY554" fmla="*/ 1732867 h 2836785"/>
                  <a:gd name="connsiteX555" fmla="*/ 606801 w 2832830"/>
                  <a:gd name="connsiteY555" fmla="*/ 1757694 h 2836785"/>
                  <a:gd name="connsiteX556" fmla="*/ 597952 w 2832830"/>
                  <a:gd name="connsiteY556" fmla="*/ 1754996 h 2836785"/>
                  <a:gd name="connsiteX557" fmla="*/ 597399 w 2832830"/>
                  <a:gd name="connsiteY557" fmla="*/ 1728549 h 2836785"/>
                  <a:gd name="connsiteX558" fmla="*/ 568638 w 2832830"/>
                  <a:gd name="connsiteY558" fmla="*/ 1728009 h 2836785"/>
                  <a:gd name="connsiteX559" fmla="*/ 555364 w 2832830"/>
                  <a:gd name="connsiteY559" fmla="*/ 1739883 h 2836785"/>
                  <a:gd name="connsiteX560" fmla="*/ 545961 w 2832830"/>
                  <a:gd name="connsiteY560" fmla="*/ 1724231 h 2836785"/>
                  <a:gd name="connsiteX561" fmla="*/ 531028 w 2832830"/>
                  <a:gd name="connsiteY561" fmla="*/ 1729629 h 2836785"/>
                  <a:gd name="connsiteX562" fmla="*/ 525497 w 2832830"/>
                  <a:gd name="connsiteY562" fmla="*/ 1740963 h 2836785"/>
                  <a:gd name="connsiteX563" fmla="*/ 507798 w 2832830"/>
                  <a:gd name="connsiteY563" fmla="*/ 1735026 h 2836785"/>
                  <a:gd name="connsiteX564" fmla="*/ 507798 w 2832830"/>
                  <a:gd name="connsiteY564" fmla="*/ 1714516 h 2836785"/>
                  <a:gd name="connsiteX565" fmla="*/ 494524 w 2832830"/>
                  <a:gd name="connsiteY565" fmla="*/ 1698864 h 2836785"/>
                  <a:gd name="connsiteX566" fmla="*/ 479590 w 2832830"/>
                  <a:gd name="connsiteY566" fmla="*/ 1692388 h 2836785"/>
                  <a:gd name="connsiteX567" fmla="*/ 470187 w 2832830"/>
                  <a:gd name="connsiteY567" fmla="*/ 1667021 h 2836785"/>
                  <a:gd name="connsiteX568" fmla="*/ 463550 w 2832830"/>
                  <a:gd name="connsiteY568" fmla="*/ 1658385 h 2836785"/>
                  <a:gd name="connsiteX569" fmla="*/ 448064 w 2832830"/>
                  <a:gd name="connsiteY569" fmla="*/ 1664862 h 2836785"/>
                  <a:gd name="connsiteX570" fmla="*/ 438108 w 2832830"/>
                  <a:gd name="connsiteY570" fmla="*/ 1652448 h 2836785"/>
                  <a:gd name="connsiteX571" fmla="*/ 449723 w 2832830"/>
                  <a:gd name="connsiteY571" fmla="*/ 1629780 h 2836785"/>
                  <a:gd name="connsiteX572" fmla="*/ 452489 w 2832830"/>
                  <a:gd name="connsiteY572" fmla="*/ 1613588 h 2836785"/>
                  <a:gd name="connsiteX573" fmla="*/ 428153 w 2832830"/>
                  <a:gd name="connsiteY573" fmla="*/ 1610889 h 2836785"/>
                  <a:gd name="connsiteX574" fmla="*/ 423728 w 2832830"/>
                  <a:gd name="connsiteY574" fmla="*/ 1593079 h 2836785"/>
                  <a:gd name="connsiteX575" fmla="*/ 403816 w 2832830"/>
                  <a:gd name="connsiteY575" fmla="*/ 1589300 h 2836785"/>
                  <a:gd name="connsiteX576" fmla="*/ 414878 w 2832830"/>
                  <a:gd name="connsiteY576" fmla="*/ 1552060 h 2836785"/>
                  <a:gd name="connsiteX577" fmla="*/ 427599 w 2832830"/>
                  <a:gd name="connsiteY577" fmla="*/ 1539106 h 2836785"/>
                  <a:gd name="connsiteX578" fmla="*/ 419856 w 2832830"/>
                  <a:gd name="connsiteY578" fmla="*/ 1531010 h 2836785"/>
                  <a:gd name="connsiteX579" fmla="*/ 404923 w 2832830"/>
                  <a:gd name="connsiteY579" fmla="*/ 1527232 h 2836785"/>
                  <a:gd name="connsiteX580" fmla="*/ 391648 w 2832830"/>
                  <a:gd name="connsiteY580" fmla="*/ 1509421 h 2836785"/>
                  <a:gd name="connsiteX581" fmla="*/ 368419 w 2832830"/>
                  <a:gd name="connsiteY581" fmla="*/ 1444115 h 2836785"/>
                  <a:gd name="connsiteX582" fmla="*/ 372290 w 2832830"/>
                  <a:gd name="connsiteY582" fmla="*/ 1412811 h 2836785"/>
                  <a:gd name="connsiteX583" fmla="*/ 371184 w 2832830"/>
                  <a:gd name="connsiteY583" fmla="*/ 1388523 h 2836785"/>
                  <a:gd name="connsiteX584" fmla="*/ 386671 w 2832830"/>
                  <a:gd name="connsiteY584" fmla="*/ 1375570 h 2836785"/>
                  <a:gd name="connsiteX585" fmla="*/ 394967 w 2832830"/>
                  <a:gd name="connsiteY585" fmla="*/ 1364776 h 2836785"/>
                  <a:gd name="connsiteX586" fmla="*/ 380033 w 2832830"/>
                  <a:gd name="connsiteY586" fmla="*/ 1350203 h 2836785"/>
                  <a:gd name="connsiteX587" fmla="*/ 371737 w 2832830"/>
                  <a:gd name="connsiteY587" fmla="*/ 1350203 h 2836785"/>
                  <a:gd name="connsiteX588" fmla="*/ 377268 w 2832830"/>
                  <a:gd name="connsiteY588" fmla="*/ 1321598 h 2836785"/>
                  <a:gd name="connsiteX589" fmla="*/ 392202 w 2832830"/>
                  <a:gd name="connsiteY589" fmla="*/ 1322677 h 2836785"/>
                  <a:gd name="connsiteX590" fmla="*/ 394414 w 2832830"/>
                  <a:gd name="connsiteY590" fmla="*/ 1307025 h 2836785"/>
                  <a:gd name="connsiteX591" fmla="*/ 412666 w 2832830"/>
                  <a:gd name="connsiteY591" fmla="*/ 1304327 h 2836785"/>
                  <a:gd name="connsiteX592" fmla="*/ 430365 w 2832830"/>
                  <a:gd name="connsiteY592" fmla="*/ 1276801 h 2836785"/>
                  <a:gd name="connsiteX593" fmla="*/ 486227 w 2832830"/>
                  <a:gd name="connsiteY593" fmla="*/ 1265466 h 2836785"/>
                  <a:gd name="connsiteX594" fmla="*/ 488993 w 2832830"/>
                  <a:gd name="connsiteY594" fmla="*/ 1258990 h 2836785"/>
                  <a:gd name="connsiteX595" fmla="*/ 487886 w 2832830"/>
                  <a:gd name="connsiteY595" fmla="*/ 1257371 h 2836785"/>
                  <a:gd name="connsiteX596" fmla="*/ 471294 w 2832830"/>
                  <a:gd name="connsiteY596" fmla="*/ 1254672 h 2836785"/>
                  <a:gd name="connsiteX597" fmla="*/ 459126 w 2832830"/>
                  <a:gd name="connsiteY597" fmla="*/ 1244957 h 2836785"/>
                  <a:gd name="connsiteX598" fmla="*/ 414325 w 2832830"/>
                  <a:gd name="connsiteY598" fmla="*/ 1254132 h 2836785"/>
                  <a:gd name="connsiteX599" fmla="*/ 399392 w 2832830"/>
                  <a:gd name="connsiteY599" fmla="*/ 1239560 h 2836785"/>
                  <a:gd name="connsiteX600" fmla="*/ 378374 w 2832830"/>
                  <a:gd name="connsiteY600" fmla="*/ 1233083 h 2836785"/>
                  <a:gd name="connsiteX601" fmla="*/ 383352 w 2832830"/>
                  <a:gd name="connsiteY601" fmla="*/ 1229305 h 2836785"/>
                  <a:gd name="connsiteX602" fmla="*/ 371737 w 2832830"/>
                  <a:gd name="connsiteY602" fmla="*/ 1202319 h 2836785"/>
                  <a:gd name="connsiteX603" fmla="*/ 359569 w 2832830"/>
                  <a:gd name="connsiteY603" fmla="*/ 1213653 h 2836785"/>
                  <a:gd name="connsiteX604" fmla="*/ 350720 w 2832830"/>
                  <a:gd name="connsiteY604" fmla="*/ 1227146 h 2836785"/>
                  <a:gd name="connsiteX605" fmla="*/ 336892 w 2832830"/>
                  <a:gd name="connsiteY605" fmla="*/ 1237401 h 2836785"/>
                  <a:gd name="connsiteX606" fmla="*/ 333574 w 2832830"/>
                  <a:gd name="connsiteY606" fmla="*/ 1237401 h 2836785"/>
                  <a:gd name="connsiteX607" fmla="*/ 340211 w 2832830"/>
                  <a:gd name="connsiteY607" fmla="*/ 1210415 h 2836785"/>
                  <a:gd name="connsiteX608" fmla="*/ 347401 w 2832830"/>
                  <a:gd name="connsiteY608" fmla="*/ 1198001 h 2836785"/>
                  <a:gd name="connsiteX609" fmla="*/ 364547 w 2832830"/>
                  <a:gd name="connsiteY609" fmla="*/ 1154283 h 2836785"/>
                  <a:gd name="connsiteX610" fmla="*/ 392202 w 2832830"/>
                  <a:gd name="connsiteY610" fmla="*/ 1104089 h 2836785"/>
                  <a:gd name="connsiteX611" fmla="*/ 413219 w 2832830"/>
                  <a:gd name="connsiteY611" fmla="*/ 1039322 h 2836785"/>
                  <a:gd name="connsiteX612" fmla="*/ 423175 w 2832830"/>
                  <a:gd name="connsiteY612" fmla="*/ 992906 h 2836785"/>
                  <a:gd name="connsiteX613" fmla="*/ 440321 w 2832830"/>
                  <a:gd name="connsiteY613" fmla="*/ 954586 h 2836785"/>
                  <a:gd name="connsiteX614" fmla="*/ 435343 w 2832830"/>
                  <a:gd name="connsiteY614" fmla="*/ 902772 h 2836785"/>
                  <a:gd name="connsiteX615" fmla="*/ 407688 w 2832830"/>
                  <a:gd name="connsiteY615" fmla="*/ 881723 h 2836785"/>
                  <a:gd name="connsiteX616" fmla="*/ 404923 w 2832830"/>
                  <a:gd name="connsiteY616" fmla="*/ 875247 h 2836785"/>
                  <a:gd name="connsiteX617" fmla="*/ 361781 w 2832830"/>
                  <a:gd name="connsiteY617" fmla="*/ 870389 h 2836785"/>
                  <a:gd name="connsiteX618" fmla="*/ 324724 w 2832830"/>
                  <a:gd name="connsiteY618" fmla="*/ 836386 h 2836785"/>
                  <a:gd name="connsiteX619" fmla="*/ 331914 w 2832830"/>
                  <a:gd name="connsiteY619" fmla="*/ 825592 h 2836785"/>
                  <a:gd name="connsiteX620" fmla="*/ 336892 w 2832830"/>
                  <a:gd name="connsiteY620" fmla="*/ 798606 h 2836785"/>
                  <a:gd name="connsiteX621" fmla="*/ 334127 w 2832830"/>
                  <a:gd name="connsiteY621" fmla="*/ 787811 h 2836785"/>
                  <a:gd name="connsiteX622" fmla="*/ 329702 w 2832830"/>
                  <a:gd name="connsiteY622" fmla="*/ 780795 h 2836785"/>
                  <a:gd name="connsiteX623" fmla="*/ 298729 w 2832830"/>
                  <a:gd name="connsiteY623" fmla="*/ 766762 h 2836785"/>
                  <a:gd name="connsiteX624" fmla="*/ 290433 w 2832830"/>
                  <a:gd name="connsiteY624" fmla="*/ 746253 h 2836785"/>
                  <a:gd name="connsiteX625" fmla="*/ 293198 w 2832830"/>
                  <a:gd name="connsiteY625" fmla="*/ 735458 h 2836785"/>
                  <a:gd name="connsiteX626" fmla="*/ 286561 w 2832830"/>
                  <a:gd name="connsiteY626" fmla="*/ 727902 h 2836785"/>
                  <a:gd name="connsiteX627" fmla="*/ 269415 w 2832830"/>
                  <a:gd name="connsiteY627" fmla="*/ 728442 h 2836785"/>
                  <a:gd name="connsiteX628" fmla="*/ 260566 w 2832830"/>
                  <a:gd name="connsiteY628" fmla="*/ 719266 h 2836785"/>
                  <a:gd name="connsiteX629" fmla="*/ 254482 w 2832830"/>
                  <a:gd name="connsiteY629" fmla="*/ 700916 h 2836785"/>
                  <a:gd name="connsiteX630" fmla="*/ 260566 w 2832830"/>
                  <a:gd name="connsiteY630" fmla="*/ 684724 h 2836785"/>
                  <a:gd name="connsiteX631" fmla="*/ 242314 w 2832830"/>
                  <a:gd name="connsiteY631" fmla="*/ 682026 h 2836785"/>
                  <a:gd name="connsiteX632" fmla="*/ 238995 w 2832830"/>
                  <a:gd name="connsiteY632" fmla="*/ 648563 h 2836785"/>
                  <a:gd name="connsiteX633" fmla="*/ 232911 w 2832830"/>
                  <a:gd name="connsiteY633" fmla="*/ 636149 h 2836785"/>
                  <a:gd name="connsiteX634" fmla="*/ 248951 w 2832830"/>
                  <a:gd name="connsiteY634" fmla="*/ 623196 h 2836785"/>
                  <a:gd name="connsiteX635" fmla="*/ 224615 w 2832830"/>
                  <a:gd name="connsiteY635" fmla="*/ 584336 h 2836785"/>
                  <a:gd name="connsiteX636" fmla="*/ 189770 w 2832830"/>
                  <a:gd name="connsiteY636" fmla="*/ 555191 h 2836785"/>
                  <a:gd name="connsiteX637" fmla="*/ 155478 w 2832830"/>
                  <a:gd name="connsiteY637" fmla="*/ 518489 h 2836785"/>
                  <a:gd name="connsiteX638" fmla="*/ 146629 w 2832830"/>
                  <a:gd name="connsiteY638" fmla="*/ 503377 h 2836785"/>
                  <a:gd name="connsiteX639" fmla="*/ 158797 w 2832830"/>
                  <a:gd name="connsiteY639" fmla="*/ 447786 h 2836785"/>
                  <a:gd name="connsiteX640" fmla="*/ 160456 w 2832830"/>
                  <a:gd name="connsiteY640" fmla="*/ 415942 h 2836785"/>
                  <a:gd name="connsiteX641" fmla="*/ 157137 w 2832830"/>
                  <a:gd name="connsiteY641" fmla="*/ 405148 h 2836785"/>
                  <a:gd name="connsiteX642" fmla="*/ 127270 w 2832830"/>
                  <a:gd name="connsiteY642" fmla="*/ 391115 h 2836785"/>
                  <a:gd name="connsiteX643" fmla="*/ 110678 w 2832830"/>
                  <a:gd name="connsiteY643" fmla="*/ 374383 h 2836785"/>
                  <a:gd name="connsiteX644" fmla="*/ 76386 w 2832830"/>
                  <a:gd name="connsiteY644" fmla="*/ 367907 h 2836785"/>
                  <a:gd name="connsiteX645" fmla="*/ 55368 w 2832830"/>
                  <a:gd name="connsiteY645" fmla="*/ 332285 h 2836785"/>
                  <a:gd name="connsiteX646" fmla="*/ 53709 w 2832830"/>
                  <a:gd name="connsiteY646" fmla="*/ 294504 h 2836785"/>
                  <a:gd name="connsiteX647" fmla="*/ 41541 w 2832830"/>
                  <a:gd name="connsiteY647" fmla="*/ 295584 h 2836785"/>
                  <a:gd name="connsiteX648" fmla="*/ 58134 w 2832830"/>
                  <a:gd name="connsiteY648" fmla="*/ 281011 h 2836785"/>
                  <a:gd name="connsiteX649" fmla="*/ 65324 w 2832830"/>
                  <a:gd name="connsiteY649" fmla="*/ 249167 h 2836785"/>
                  <a:gd name="connsiteX650" fmla="*/ 62559 w 2832830"/>
                  <a:gd name="connsiteY650" fmla="*/ 243231 h 2836785"/>
                  <a:gd name="connsiteX651" fmla="*/ 64218 w 2832830"/>
                  <a:gd name="connsiteY651" fmla="*/ 232976 h 2836785"/>
                  <a:gd name="connsiteX652" fmla="*/ 80258 w 2832830"/>
                  <a:gd name="connsiteY652" fmla="*/ 221642 h 2836785"/>
                  <a:gd name="connsiteX653" fmla="*/ 92979 w 2832830"/>
                  <a:gd name="connsiteY653" fmla="*/ 196814 h 2836785"/>
                  <a:gd name="connsiteX654" fmla="*/ 102381 w 2832830"/>
                  <a:gd name="connsiteY654" fmla="*/ 198973 h 2836785"/>
                  <a:gd name="connsiteX655" fmla="*/ 108465 w 2832830"/>
                  <a:gd name="connsiteY655" fmla="*/ 195735 h 2836785"/>
                  <a:gd name="connsiteX656" fmla="*/ 110678 w 2832830"/>
                  <a:gd name="connsiteY656" fmla="*/ 184940 h 2836785"/>
                  <a:gd name="connsiteX657" fmla="*/ 109571 w 2832830"/>
                  <a:gd name="connsiteY657" fmla="*/ 164971 h 2836785"/>
                  <a:gd name="connsiteX658" fmla="*/ 154925 w 2832830"/>
                  <a:gd name="connsiteY658" fmla="*/ 1951995 h 2836785"/>
                  <a:gd name="connsiteX659" fmla="*/ 175389 w 2832830"/>
                  <a:gd name="connsiteY659" fmla="*/ 1954153 h 2836785"/>
                  <a:gd name="connsiteX660" fmla="*/ 199725 w 2832830"/>
                  <a:gd name="connsiteY660" fmla="*/ 1969805 h 2836785"/>
                  <a:gd name="connsiteX661" fmla="*/ 200279 w 2832830"/>
                  <a:gd name="connsiteY661" fmla="*/ 1977901 h 2836785"/>
                  <a:gd name="connsiteX662" fmla="*/ 189770 w 2832830"/>
                  <a:gd name="connsiteY662" fmla="*/ 1995172 h 2836785"/>
                  <a:gd name="connsiteX663" fmla="*/ 205256 w 2832830"/>
                  <a:gd name="connsiteY663" fmla="*/ 2022159 h 2836785"/>
                  <a:gd name="connsiteX664" fmla="*/ 193641 w 2832830"/>
                  <a:gd name="connsiteY664" fmla="*/ 2032413 h 2836785"/>
                  <a:gd name="connsiteX665" fmla="*/ 179814 w 2832830"/>
                  <a:gd name="connsiteY665" fmla="*/ 2039430 h 2836785"/>
                  <a:gd name="connsiteX666" fmla="*/ 106806 w 2832830"/>
                  <a:gd name="connsiteY666" fmla="*/ 2056161 h 2836785"/>
                  <a:gd name="connsiteX667" fmla="*/ 34351 w 2832830"/>
                  <a:gd name="connsiteY667" fmla="*/ 2063178 h 2836785"/>
                  <a:gd name="connsiteX668" fmla="*/ 1165 w 2832830"/>
                  <a:gd name="connsiteY668" fmla="*/ 2062098 h 2836785"/>
                  <a:gd name="connsiteX669" fmla="*/ 16652 w 2832830"/>
                  <a:gd name="connsiteY669" fmla="*/ 2036731 h 2836785"/>
                  <a:gd name="connsiteX670" fmla="*/ 28267 w 2832830"/>
                  <a:gd name="connsiteY670" fmla="*/ 2021619 h 2836785"/>
                  <a:gd name="connsiteX671" fmla="*/ 22183 w 2832830"/>
                  <a:gd name="connsiteY671" fmla="*/ 2021079 h 2836785"/>
                  <a:gd name="connsiteX672" fmla="*/ 2825 w 2832830"/>
                  <a:gd name="connsiteY672" fmla="*/ 2026476 h 2836785"/>
                  <a:gd name="connsiteX673" fmla="*/ 1719 w 2832830"/>
                  <a:gd name="connsiteY673" fmla="*/ 2025397 h 2836785"/>
                  <a:gd name="connsiteX674" fmla="*/ 2272 w 2832830"/>
                  <a:gd name="connsiteY674" fmla="*/ 2014063 h 2836785"/>
                  <a:gd name="connsiteX675" fmla="*/ 2272 w 2832830"/>
                  <a:gd name="connsiteY675" fmla="*/ 1995172 h 2836785"/>
                  <a:gd name="connsiteX676" fmla="*/ 18311 w 2832830"/>
                  <a:gd name="connsiteY676" fmla="*/ 1994093 h 2836785"/>
                  <a:gd name="connsiteX677" fmla="*/ 27714 w 2832830"/>
                  <a:gd name="connsiteY677" fmla="*/ 1987077 h 2836785"/>
                  <a:gd name="connsiteX678" fmla="*/ 38776 w 2832830"/>
                  <a:gd name="connsiteY678" fmla="*/ 1978981 h 2836785"/>
                  <a:gd name="connsiteX679" fmla="*/ 49838 w 2832830"/>
                  <a:gd name="connsiteY679" fmla="*/ 1939041 h 2836785"/>
                  <a:gd name="connsiteX680" fmla="*/ 54815 w 2832830"/>
                  <a:gd name="connsiteY680" fmla="*/ 1928247 h 2836785"/>
                  <a:gd name="connsiteX681" fmla="*/ 56475 w 2832830"/>
                  <a:gd name="connsiteY681" fmla="*/ 1922849 h 2836785"/>
                  <a:gd name="connsiteX682" fmla="*/ 60346 w 2832830"/>
                  <a:gd name="connsiteY682" fmla="*/ 1926628 h 2836785"/>
                  <a:gd name="connsiteX683" fmla="*/ 55368 w 2832830"/>
                  <a:gd name="connsiteY683" fmla="*/ 1950915 h 2836785"/>
                  <a:gd name="connsiteX684" fmla="*/ 50944 w 2832830"/>
                  <a:gd name="connsiteY684" fmla="*/ 1959011 h 2836785"/>
                  <a:gd name="connsiteX685" fmla="*/ 50391 w 2832830"/>
                  <a:gd name="connsiteY685" fmla="*/ 1983838 h 2836785"/>
                  <a:gd name="connsiteX686" fmla="*/ 55368 w 2832830"/>
                  <a:gd name="connsiteY686" fmla="*/ 1987077 h 2836785"/>
                  <a:gd name="connsiteX687" fmla="*/ 73621 w 2832830"/>
                  <a:gd name="connsiteY687" fmla="*/ 1984918 h 2836785"/>
                  <a:gd name="connsiteX688" fmla="*/ 75833 w 2832830"/>
                  <a:gd name="connsiteY688" fmla="*/ 1959011 h 2836785"/>
                  <a:gd name="connsiteX689" fmla="*/ 78598 w 2832830"/>
                  <a:gd name="connsiteY689" fmla="*/ 1938501 h 2836785"/>
                  <a:gd name="connsiteX690" fmla="*/ 100722 w 2832830"/>
                  <a:gd name="connsiteY690" fmla="*/ 1942279 h 2836785"/>
                  <a:gd name="connsiteX691" fmla="*/ 113996 w 2832830"/>
                  <a:gd name="connsiteY691" fmla="*/ 1950915 h 2836785"/>
                  <a:gd name="connsiteX692" fmla="*/ 154925 w 2832830"/>
                  <a:gd name="connsiteY692" fmla="*/ 1951995 h 2836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</a:cxnLst>
                <a:rect l="l" t="t" r="r" b="b"/>
                <a:pathLst>
                  <a:path w="2832830" h="2836785">
                    <a:moveTo>
                      <a:pt x="109571" y="164971"/>
                    </a:moveTo>
                    <a:cubicBezTo>
                      <a:pt x="112890" y="163891"/>
                      <a:pt x="120633" y="163351"/>
                      <a:pt x="123952" y="165510"/>
                    </a:cubicBezTo>
                    <a:cubicBezTo>
                      <a:pt x="125611" y="166590"/>
                      <a:pt x="126164" y="169828"/>
                      <a:pt x="127824" y="171447"/>
                    </a:cubicBezTo>
                    <a:cubicBezTo>
                      <a:pt x="128377" y="171447"/>
                      <a:pt x="129483" y="171447"/>
                      <a:pt x="130589" y="170908"/>
                    </a:cubicBezTo>
                    <a:cubicBezTo>
                      <a:pt x="131142" y="170908"/>
                      <a:pt x="138885" y="164971"/>
                      <a:pt x="139438" y="164431"/>
                    </a:cubicBezTo>
                    <a:cubicBezTo>
                      <a:pt x="142757" y="159034"/>
                      <a:pt x="135014" y="157954"/>
                      <a:pt x="134461" y="154716"/>
                    </a:cubicBezTo>
                    <a:cubicBezTo>
                      <a:pt x="133908" y="153097"/>
                      <a:pt x="135567" y="149319"/>
                      <a:pt x="136673" y="148779"/>
                    </a:cubicBezTo>
                    <a:cubicBezTo>
                      <a:pt x="140545" y="147160"/>
                      <a:pt x="145522" y="150938"/>
                      <a:pt x="150500" y="148239"/>
                    </a:cubicBezTo>
                    <a:lnTo>
                      <a:pt x="151053" y="145541"/>
                    </a:lnTo>
                    <a:cubicBezTo>
                      <a:pt x="149394" y="141763"/>
                      <a:pt x="146076" y="139064"/>
                      <a:pt x="144416" y="135826"/>
                    </a:cubicBezTo>
                    <a:lnTo>
                      <a:pt x="144969" y="133667"/>
                    </a:lnTo>
                    <a:cubicBezTo>
                      <a:pt x="146629" y="133127"/>
                      <a:pt x="148288" y="133667"/>
                      <a:pt x="149947" y="133667"/>
                    </a:cubicBezTo>
                    <a:cubicBezTo>
                      <a:pt x="154925" y="136365"/>
                      <a:pt x="168752" y="141223"/>
                      <a:pt x="172624" y="141763"/>
                    </a:cubicBezTo>
                    <a:cubicBezTo>
                      <a:pt x="177602" y="141763"/>
                      <a:pt x="184792" y="134206"/>
                      <a:pt x="191982" y="140683"/>
                    </a:cubicBezTo>
                    <a:cubicBezTo>
                      <a:pt x="193088" y="141763"/>
                      <a:pt x="195301" y="143921"/>
                      <a:pt x="195301" y="145541"/>
                    </a:cubicBezTo>
                    <a:cubicBezTo>
                      <a:pt x="196960" y="155256"/>
                      <a:pt x="185345" y="162272"/>
                      <a:pt x="176496" y="161193"/>
                    </a:cubicBezTo>
                    <a:cubicBezTo>
                      <a:pt x="172071" y="161193"/>
                      <a:pt x="167093" y="157415"/>
                      <a:pt x="162668" y="157415"/>
                    </a:cubicBezTo>
                    <a:cubicBezTo>
                      <a:pt x="161562" y="157415"/>
                      <a:pt x="159350" y="158494"/>
                      <a:pt x="158797" y="159034"/>
                    </a:cubicBezTo>
                    <a:cubicBezTo>
                      <a:pt x="157690" y="160653"/>
                      <a:pt x="156031" y="169288"/>
                      <a:pt x="157137" y="170908"/>
                    </a:cubicBezTo>
                    <a:cubicBezTo>
                      <a:pt x="162668" y="174146"/>
                      <a:pt x="168752" y="168749"/>
                      <a:pt x="175389" y="168749"/>
                    </a:cubicBezTo>
                    <a:cubicBezTo>
                      <a:pt x="179261" y="172527"/>
                      <a:pt x="176496" y="171987"/>
                      <a:pt x="178155" y="175765"/>
                    </a:cubicBezTo>
                    <a:lnTo>
                      <a:pt x="180367" y="176845"/>
                    </a:lnTo>
                    <a:cubicBezTo>
                      <a:pt x="188111" y="173066"/>
                      <a:pt x="188664" y="167669"/>
                      <a:pt x="200832" y="171447"/>
                    </a:cubicBezTo>
                    <a:cubicBezTo>
                      <a:pt x="205256" y="180083"/>
                      <a:pt x="209681" y="170908"/>
                      <a:pt x="215212" y="169288"/>
                    </a:cubicBezTo>
                    <a:cubicBezTo>
                      <a:pt x="217424" y="168209"/>
                      <a:pt x="224615" y="168209"/>
                      <a:pt x="227380" y="168209"/>
                    </a:cubicBezTo>
                    <a:cubicBezTo>
                      <a:pt x="230146" y="173066"/>
                      <a:pt x="225168" y="179003"/>
                      <a:pt x="226827" y="182781"/>
                    </a:cubicBezTo>
                    <a:cubicBezTo>
                      <a:pt x="227933" y="186020"/>
                      <a:pt x="234017" y="183321"/>
                      <a:pt x="234570" y="192497"/>
                    </a:cubicBezTo>
                    <a:cubicBezTo>
                      <a:pt x="235123" y="197354"/>
                      <a:pt x="228486" y="200592"/>
                      <a:pt x="228486" y="205990"/>
                    </a:cubicBezTo>
                    <a:lnTo>
                      <a:pt x="230146" y="209228"/>
                    </a:lnTo>
                    <a:lnTo>
                      <a:pt x="233464" y="209768"/>
                    </a:lnTo>
                    <a:cubicBezTo>
                      <a:pt x="237336" y="210307"/>
                      <a:pt x="240101" y="198433"/>
                      <a:pt x="240101" y="196275"/>
                    </a:cubicBezTo>
                    <a:cubicBezTo>
                      <a:pt x="240101" y="193036"/>
                      <a:pt x="237889" y="179003"/>
                      <a:pt x="239548" y="177384"/>
                    </a:cubicBezTo>
                    <a:cubicBezTo>
                      <a:pt x="241207" y="175225"/>
                      <a:pt x="253375" y="171447"/>
                      <a:pt x="255588" y="169288"/>
                    </a:cubicBezTo>
                    <a:cubicBezTo>
                      <a:pt x="257247" y="167669"/>
                      <a:pt x="255588" y="164431"/>
                      <a:pt x="259459" y="160653"/>
                    </a:cubicBezTo>
                    <a:cubicBezTo>
                      <a:pt x="268309" y="159573"/>
                      <a:pt x="273840" y="168749"/>
                      <a:pt x="279924" y="166590"/>
                    </a:cubicBezTo>
                    <a:cubicBezTo>
                      <a:pt x="284902" y="165510"/>
                      <a:pt x="291539" y="166050"/>
                      <a:pt x="295964" y="164431"/>
                    </a:cubicBezTo>
                    <a:cubicBezTo>
                      <a:pt x="301494" y="162272"/>
                      <a:pt x="297623" y="156335"/>
                      <a:pt x="299282" y="154716"/>
                    </a:cubicBezTo>
                    <a:cubicBezTo>
                      <a:pt x="300941" y="153636"/>
                      <a:pt x="319746" y="147160"/>
                      <a:pt x="321406" y="147160"/>
                    </a:cubicBezTo>
                    <a:cubicBezTo>
                      <a:pt x="330808" y="148239"/>
                      <a:pt x="340211" y="152017"/>
                      <a:pt x="349613" y="153636"/>
                    </a:cubicBezTo>
                    <a:cubicBezTo>
                      <a:pt x="362335" y="155795"/>
                      <a:pt x="375056" y="156875"/>
                      <a:pt x="387224" y="159034"/>
                    </a:cubicBezTo>
                    <a:cubicBezTo>
                      <a:pt x="394414" y="160653"/>
                      <a:pt x="400498" y="164431"/>
                      <a:pt x="407135" y="166050"/>
                    </a:cubicBezTo>
                    <a:cubicBezTo>
                      <a:pt x="417091" y="168749"/>
                      <a:pt x="427599" y="170368"/>
                      <a:pt x="437555" y="171987"/>
                    </a:cubicBezTo>
                    <a:cubicBezTo>
                      <a:pt x="442533" y="172527"/>
                      <a:pt x="448064" y="172527"/>
                      <a:pt x="453042" y="173606"/>
                    </a:cubicBezTo>
                    <a:cubicBezTo>
                      <a:pt x="468528" y="177924"/>
                      <a:pt x="477378" y="196814"/>
                      <a:pt x="487333" y="193036"/>
                    </a:cubicBezTo>
                    <a:cubicBezTo>
                      <a:pt x="490652" y="186560"/>
                      <a:pt x="485674" y="188718"/>
                      <a:pt x="487333" y="184940"/>
                    </a:cubicBezTo>
                    <a:lnTo>
                      <a:pt x="489546" y="184401"/>
                    </a:lnTo>
                    <a:cubicBezTo>
                      <a:pt x="498948" y="187099"/>
                      <a:pt x="522178" y="196275"/>
                      <a:pt x="531028" y="195735"/>
                    </a:cubicBezTo>
                    <a:cubicBezTo>
                      <a:pt x="532687" y="195735"/>
                      <a:pt x="534346" y="193576"/>
                      <a:pt x="536005" y="192497"/>
                    </a:cubicBezTo>
                    <a:cubicBezTo>
                      <a:pt x="538218" y="191417"/>
                      <a:pt x="544855" y="188179"/>
                      <a:pt x="545961" y="186020"/>
                    </a:cubicBezTo>
                    <a:cubicBezTo>
                      <a:pt x="553704" y="186560"/>
                      <a:pt x="578594" y="192497"/>
                      <a:pt x="584124" y="196814"/>
                    </a:cubicBezTo>
                    <a:cubicBezTo>
                      <a:pt x="586890" y="198973"/>
                      <a:pt x="585231" y="203831"/>
                      <a:pt x="590208" y="208148"/>
                    </a:cubicBezTo>
                    <a:cubicBezTo>
                      <a:pt x="595739" y="212466"/>
                      <a:pt x="599058" y="204910"/>
                      <a:pt x="602930" y="203831"/>
                    </a:cubicBezTo>
                    <a:cubicBezTo>
                      <a:pt x="605142" y="202751"/>
                      <a:pt x="621182" y="203831"/>
                      <a:pt x="623947" y="204910"/>
                    </a:cubicBezTo>
                    <a:cubicBezTo>
                      <a:pt x="632797" y="208688"/>
                      <a:pt x="629478" y="217864"/>
                      <a:pt x="633350" y="223800"/>
                    </a:cubicBezTo>
                    <a:cubicBezTo>
                      <a:pt x="637221" y="228658"/>
                      <a:pt x="643858" y="231357"/>
                      <a:pt x="648283" y="235674"/>
                    </a:cubicBezTo>
                    <a:cubicBezTo>
                      <a:pt x="651049" y="238913"/>
                      <a:pt x="651049" y="243231"/>
                      <a:pt x="654920" y="246469"/>
                    </a:cubicBezTo>
                    <a:cubicBezTo>
                      <a:pt x="660451" y="251866"/>
                      <a:pt x="669854" y="240532"/>
                      <a:pt x="675385" y="251326"/>
                    </a:cubicBezTo>
                    <a:cubicBezTo>
                      <a:pt x="678150" y="256184"/>
                      <a:pt x="684234" y="279932"/>
                      <a:pt x="684234" y="285869"/>
                    </a:cubicBezTo>
                    <a:cubicBezTo>
                      <a:pt x="683681" y="305299"/>
                      <a:pt x="684787" y="340920"/>
                      <a:pt x="677044" y="358731"/>
                    </a:cubicBezTo>
                    <a:cubicBezTo>
                      <a:pt x="673172" y="367367"/>
                      <a:pt x="667641" y="376542"/>
                      <a:pt x="662110" y="385178"/>
                    </a:cubicBezTo>
                    <a:cubicBezTo>
                      <a:pt x="654367" y="397052"/>
                      <a:pt x="644965" y="407846"/>
                      <a:pt x="632243" y="415402"/>
                    </a:cubicBezTo>
                    <a:cubicBezTo>
                      <a:pt x="626159" y="419180"/>
                      <a:pt x="618416" y="421339"/>
                      <a:pt x="612332" y="425657"/>
                    </a:cubicBezTo>
                    <a:cubicBezTo>
                      <a:pt x="610673" y="426736"/>
                      <a:pt x="610120" y="428356"/>
                      <a:pt x="608461" y="429435"/>
                    </a:cubicBezTo>
                    <a:cubicBezTo>
                      <a:pt x="597952" y="435912"/>
                      <a:pt x="573616" y="439150"/>
                      <a:pt x="561448" y="439150"/>
                    </a:cubicBezTo>
                    <a:cubicBezTo>
                      <a:pt x="547620" y="439690"/>
                      <a:pt x="524944" y="437531"/>
                      <a:pt x="512222" y="440230"/>
                    </a:cubicBezTo>
                    <a:cubicBezTo>
                      <a:pt x="493970" y="444547"/>
                      <a:pt x="475165" y="452643"/>
                      <a:pt x="455807" y="453183"/>
                    </a:cubicBezTo>
                    <a:cubicBezTo>
                      <a:pt x="437002" y="453723"/>
                      <a:pt x="432024" y="439150"/>
                      <a:pt x="420409" y="441309"/>
                    </a:cubicBezTo>
                    <a:cubicBezTo>
                      <a:pt x="413219" y="442928"/>
                      <a:pt x="412113" y="451024"/>
                      <a:pt x="407688" y="455342"/>
                    </a:cubicBezTo>
                    <a:cubicBezTo>
                      <a:pt x="399945" y="453723"/>
                      <a:pt x="404923" y="448325"/>
                      <a:pt x="401604" y="445627"/>
                    </a:cubicBezTo>
                    <a:cubicBezTo>
                      <a:pt x="397179" y="444008"/>
                      <a:pt x="384458" y="447786"/>
                      <a:pt x="378927" y="448325"/>
                    </a:cubicBezTo>
                    <a:cubicBezTo>
                      <a:pt x="373396" y="449405"/>
                      <a:pt x="366759" y="444008"/>
                      <a:pt x="363441" y="445087"/>
                    </a:cubicBezTo>
                    <a:cubicBezTo>
                      <a:pt x="360675" y="446166"/>
                      <a:pt x="355697" y="451024"/>
                      <a:pt x="354038" y="451024"/>
                    </a:cubicBezTo>
                    <a:cubicBezTo>
                      <a:pt x="349613" y="451024"/>
                      <a:pt x="329149" y="446166"/>
                      <a:pt x="324724" y="444008"/>
                    </a:cubicBezTo>
                    <a:cubicBezTo>
                      <a:pt x="322512" y="442928"/>
                      <a:pt x="315322" y="435372"/>
                      <a:pt x="314216" y="433213"/>
                    </a:cubicBezTo>
                    <a:cubicBezTo>
                      <a:pt x="313109" y="429975"/>
                      <a:pt x="315875" y="428895"/>
                      <a:pt x="312556" y="425117"/>
                    </a:cubicBezTo>
                    <a:cubicBezTo>
                      <a:pt x="304260" y="425117"/>
                      <a:pt x="277158" y="427276"/>
                      <a:pt x="271074" y="432673"/>
                    </a:cubicBezTo>
                    <a:lnTo>
                      <a:pt x="272734" y="433753"/>
                    </a:lnTo>
                    <a:cubicBezTo>
                      <a:pt x="275499" y="434293"/>
                      <a:pt x="278818" y="433753"/>
                      <a:pt x="282136" y="434293"/>
                    </a:cubicBezTo>
                    <a:cubicBezTo>
                      <a:pt x="286561" y="434832"/>
                      <a:pt x="298176" y="438610"/>
                      <a:pt x="298729" y="443468"/>
                    </a:cubicBezTo>
                    <a:cubicBezTo>
                      <a:pt x="299282" y="445627"/>
                      <a:pt x="297623" y="449405"/>
                      <a:pt x="297623" y="452103"/>
                    </a:cubicBezTo>
                    <a:lnTo>
                      <a:pt x="298729" y="453183"/>
                    </a:lnTo>
                    <a:cubicBezTo>
                      <a:pt x="299282" y="454262"/>
                      <a:pt x="309238" y="459120"/>
                      <a:pt x="310897" y="459660"/>
                    </a:cubicBezTo>
                    <a:cubicBezTo>
                      <a:pt x="314216" y="460739"/>
                      <a:pt x="326384" y="460199"/>
                      <a:pt x="328596" y="461818"/>
                    </a:cubicBezTo>
                    <a:cubicBezTo>
                      <a:pt x="329702" y="462358"/>
                      <a:pt x="326937" y="467216"/>
                      <a:pt x="326937" y="468295"/>
                    </a:cubicBezTo>
                    <a:cubicBezTo>
                      <a:pt x="336892" y="473153"/>
                      <a:pt x="338552" y="462898"/>
                      <a:pt x="346848" y="465597"/>
                    </a:cubicBezTo>
                    <a:lnTo>
                      <a:pt x="348507" y="467216"/>
                    </a:lnTo>
                    <a:cubicBezTo>
                      <a:pt x="347954" y="469914"/>
                      <a:pt x="345742" y="472073"/>
                      <a:pt x="345189" y="474232"/>
                    </a:cubicBezTo>
                    <a:cubicBezTo>
                      <a:pt x="351826" y="476931"/>
                      <a:pt x="360122" y="478550"/>
                      <a:pt x="366759" y="481788"/>
                    </a:cubicBezTo>
                    <a:cubicBezTo>
                      <a:pt x="373949" y="485566"/>
                      <a:pt x="373396" y="495281"/>
                      <a:pt x="377268" y="497440"/>
                    </a:cubicBezTo>
                    <a:cubicBezTo>
                      <a:pt x="381140" y="500139"/>
                      <a:pt x="401051" y="496900"/>
                      <a:pt x="406582" y="496900"/>
                    </a:cubicBezTo>
                    <a:cubicBezTo>
                      <a:pt x="411560" y="496900"/>
                      <a:pt x="415431" y="497980"/>
                      <a:pt x="419303" y="500679"/>
                    </a:cubicBezTo>
                    <a:cubicBezTo>
                      <a:pt x="420409" y="501758"/>
                      <a:pt x="439767" y="500679"/>
                      <a:pt x="446958" y="507155"/>
                    </a:cubicBezTo>
                    <a:cubicBezTo>
                      <a:pt x="450829" y="510933"/>
                      <a:pt x="465763" y="527125"/>
                      <a:pt x="467422" y="530903"/>
                    </a:cubicBezTo>
                    <a:cubicBezTo>
                      <a:pt x="468528" y="533062"/>
                      <a:pt x="466869" y="537380"/>
                      <a:pt x="467975" y="540078"/>
                    </a:cubicBezTo>
                    <a:cubicBezTo>
                      <a:pt x="468528" y="542777"/>
                      <a:pt x="471294" y="544396"/>
                      <a:pt x="471847" y="547095"/>
                    </a:cubicBezTo>
                    <a:cubicBezTo>
                      <a:pt x="472400" y="550333"/>
                      <a:pt x="471847" y="562207"/>
                      <a:pt x="470741" y="564906"/>
                    </a:cubicBezTo>
                    <a:cubicBezTo>
                      <a:pt x="469634" y="568684"/>
                      <a:pt x="460785" y="568684"/>
                      <a:pt x="462444" y="577859"/>
                    </a:cubicBezTo>
                    <a:cubicBezTo>
                      <a:pt x="462997" y="578938"/>
                      <a:pt x="464657" y="583256"/>
                      <a:pt x="465210" y="583796"/>
                    </a:cubicBezTo>
                    <a:cubicBezTo>
                      <a:pt x="473506" y="591352"/>
                      <a:pt x="479590" y="588114"/>
                      <a:pt x="492864" y="603226"/>
                    </a:cubicBezTo>
                    <a:cubicBezTo>
                      <a:pt x="499501" y="610782"/>
                      <a:pt x="501714" y="618338"/>
                      <a:pt x="506692" y="625355"/>
                    </a:cubicBezTo>
                    <a:cubicBezTo>
                      <a:pt x="508904" y="628053"/>
                      <a:pt x="512222" y="629672"/>
                      <a:pt x="514435" y="632371"/>
                    </a:cubicBezTo>
                    <a:cubicBezTo>
                      <a:pt x="516094" y="635070"/>
                      <a:pt x="516647" y="638308"/>
                      <a:pt x="518860" y="641007"/>
                    </a:cubicBezTo>
                    <a:cubicBezTo>
                      <a:pt x="519966" y="642626"/>
                      <a:pt x="522731" y="643165"/>
                      <a:pt x="523837" y="644785"/>
                    </a:cubicBezTo>
                    <a:cubicBezTo>
                      <a:pt x="532687" y="655039"/>
                      <a:pt x="530475" y="665294"/>
                      <a:pt x="548727" y="671771"/>
                    </a:cubicBezTo>
                    <a:cubicBezTo>
                      <a:pt x="566979" y="678787"/>
                      <a:pt x="564766" y="667453"/>
                      <a:pt x="573616" y="666913"/>
                    </a:cubicBezTo>
                    <a:cubicBezTo>
                      <a:pt x="583018" y="666374"/>
                      <a:pt x="594633" y="671231"/>
                      <a:pt x="604036" y="672850"/>
                    </a:cubicBezTo>
                    <a:cubicBezTo>
                      <a:pt x="606248" y="671231"/>
                      <a:pt x="610673" y="670152"/>
                      <a:pt x="612885" y="670152"/>
                    </a:cubicBezTo>
                    <a:cubicBezTo>
                      <a:pt x="613991" y="673390"/>
                      <a:pt x="615651" y="673930"/>
                      <a:pt x="617310" y="676628"/>
                    </a:cubicBezTo>
                    <a:cubicBezTo>
                      <a:pt x="618416" y="678787"/>
                      <a:pt x="617863" y="682026"/>
                      <a:pt x="618969" y="684184"/>
                    </a:cubicBezTo>
                    <a:cubicBezTo>
                      <a:pt x="624500" y="693360"/>
                      <a:pt x="650496" y="684184"/>
                      <a:pt x="658792" y="684724"/>
                    </a:cubicBezTo>
                    <a:cubicBezTo>
                      <a:pt x="667088" y="685264"/>
                      <a:pt x="675385" y="690661"/>
                      <a:pt x="683128" y="690661"/>
                    </a:cubicBezTo>
                    <a:cubicBezTo>
                      <a:pt x="685340" y="690661"/>
                      <a:pt x="689765" y="687963"/>
                      <a:pt x="690871" y="686343"/>
                    </a:cubicBezTo>
                    <a:cubicBezTo>
                      <a:pt x="692531" y="683105"/>
                      <a:pt x="691424" y="674469"/>
                      <a:pt x="693084" y="671771"/>
                    </a:cubicBezTo>
                    <a:cubicBezTo>
                      <a:pt x="696402" y="666374"/>
                      <a:pt x="710229" y="663135"/>
                      <a:pt x="708570" y="652881"/>
                    </a:cubicBezTo>
                    <a:cubicBezTo>
                      <a:pt x="706358" y="639927"/>
                      <a:pt x="693637" y="637229"/>
                      <a:pt x="692531" y="635609"/>
                    </a:cubicBezTo>
                    <a:cubicBezTo>
                      <a:pt x="691424" y="633990"/>
                      <a:pt x="691424" y="624815"/>
                      <a:pt x="690871" y="624275"/>
                    </a:cubicBezTo>
                    <a:cubicBezTo>
                      <a:pt x="688659" y="620497"/>
                      <a:pt x="678703" y="614560"/>
                      <a:pt x="673725" y="616179"/>
                    </a:cubicBezTo>
                    <a:cubicBezTo>
                      <a:pt x="668748" y="617798"/>
                      <a:pt x="665982" y="632371"/>
                      <a:pt x="652155" y="630212"/>
                    </a:cubicBezTo>
                    <a:cubicBezTo>
                      <a:pt x="636115" y="626974"/>
                      <a:pt x="627819" y="615640"/>
                      <a:pt x="613991" y="609163"/>
                    </a:cubicBezTo>
                    <a:cubicBezTo>
                      <a:pt x="609567" y="607004"/>
                      <a:pt x="604589" y="607544"/>
                      <a:pt x="600164" y="605385"/>
                    </a:cubicBezTo>
                    <a:cubicBezTo>
                      <a:pt x="594080" y="602686"/>
                      <a:pt x="584124" y="596210"/>
                      <a:pt x="580806" y="590812"/>
                    </a:cubicBezTo>
                    <a:lnTo>
                      <a:pt x="580806" y="588114"/>
                    </a:lnTo>
                    <a:cubicBezTo>
                      <a:pt x="584124" y="585415"/>
                      <a:pt x="595739" y="590273"/>
                      <a:pt x="594633" y="575160"/>
                    </a:cubicBezTo>
                    <a:cubicBezTo>
                      <a:pt x="594080" y="570303"/>
                      <a:pt x="585784" y="555730"/>
                      <a:pt x="591315" y="551413"/>
                    </a:cubicBezTo>
                    <a:cubicBezTo>
                      <a:pt x="599058" y="544936"/>
                      <a:pt x="657686" y="562207"/>
                      <a:pt x="677044" y="556810"/>
                    </a:cubicBezTo>
                    <a:cubicBezTo>
                      <a:pt x="678150" y="558429"/>
                      <a:pt x="680916" y="560048"/>
                      <a:pt x="683128" y="560048"/>
                    </a:cubicBezTo>
                    <a:cubicBezTo>
                      <a:pt x="690318" y="559508"/>
                      <a:pt x="698061" y="553571"/>
                      <a:pt x="705805" y="554111"/>
                    </a:cubicBezTo>
                    <a:cubicBezTo>
                      <a:pt x="718526" y="554651"/>
                      <a:pt x="731247" y="558969"/>
                      <a:pt x="743968" y="558969"/>
                    </a:cubicBezTo>
                    <a:cubicBezTo>
                      <a:pt x="755583" y="558969"/>
                      <a:pt x="753924" y="550333"/>
                      <a:pt x="758902" y="547634"/>
                    </a:cubicBezTo>
                    <a:cubicBezTo>
                      <a:pt x="764432" y="544396"/>
                      <a:pt x="792640" y="544936"/>
                      <a:pt x="795406" y="540618"/>
                    </a:cubicBezTo>
                    <a:cubicBezTo>
                      <a:pt x="797618" y="537919"/>
                      <a:pt x="793193" y="531982"/>
                      <a:pt x="790981" y="529824"/>
                    </a:cubicBezTo>
                    <a:cubicBezTo>
                      <a:pt x="787662" y="526585"/>
                      <a:pt x="782685" y="524966"/>
                      <a:pt x="779366" y="521728"/>
                    </a:cubicBezTo>
                    <a:cubicBezTo>
                      <a:pt x="776600" y="518489"/>
                      <a:pt x="775494" y="514172"/>
                      <a:pt x="772729" y="510933"/>
                    </a:cubicBezTo>
                    <a:cubicBezTo>
                      <a:pt x="769963" y="508235"/>
                      <a:pt x="761114" y="502298"/>
                      <a:pt x="757795" y="500139"/>
                    </a:cubicBezTo>
                    <a:cubicBezTo>
                      <a:pt x="746180" y="493662"/>
                      <a:pt x="701933" y="478010"/>
                      <a:pt x="700827" y="461279"/>
                    </a:cubicBezTo>
                    <a:cubicBezTo>
                      <a:pt x="700274" y="455881"/>
                      <a:pt x="703039" y="437531"/>
                      <a:pt x="704145" y="432134"/>
                    </a:cubicBezTo>
                    <a:cubicBezTo>
                      <a:pt x="705805" y="425117"/>
                      <a:pt x="710229" y="418641"/>
                      <a:pt x="712442" y="411624"/>
                    </a:cubicBezTo>
                    <a:cubicBezTo>
                      <a:pt x="715207" y="404068"/>
                      <a:pt x="715760" y="395432"/>
                      <a:pt x="719079" y="387876"/>
                    </a:cubicBezTo>
                    <a:cubicBezTo>
                      <a:pt x="721291" y="383019"/>
                      <a:pt x="725716" y="380320"/>
                      <a:pt x="728481" y="376002"/>
                    </a:cubicBezTo>
                    <a:cubicBezTo>
                      <a:pt x="733459" y="369526"/>
                      <a:pt x="740096" y="353874"/>
                      <a:pt x="742309" y="346318"/>
                    </a:cubicBezTo>
                    <a:cubicBezTo>
                      <a:pt x="743968" y="338222"/>
                      <a:pt x="745074" y="329047"/>
                      <a:pt x="745627" y="320951"/>
                    </a:cubicBezTo>
                    <a:cubicBezTo>
                      <a:pt x="746180" y="315014"/>
                      <a:pt x="744521" y="297743"/>
                      <a:pt x="745627" y="293425"/>
                    </a:cubicBezTo>
                    <a:cubicBezTo>
                      <a:pt x="746180" y="291806"/>
                      <a:pt x="750605" y="289647"/>
                      <a:pt x="752264" y="289107"/>
                    </a:cubicBezTo>
                    <a:cubicBezTo>
                      <a:pt x="764432" y="285869"/>
                      <a:pt x="762773" y="299901"/>
                      <a:pt x="772176" y="300981"/>
                    </a:cubicBezTo>
                    <a:lnTo>
                      <a:pt x="774388" y="299901"/>
                    </a:lnTo>
                    <a:cubicBezTo>
                      <a:pt x="775494" y="299362"/>
                      <a:pt x="779919" y="291266"/>
                      <a:pt x="782131" y="289647"/>
                    </a:cubicBezTo>
                    <a:cubicBezTo>
                      <a:pt x="792087" y="282091"/>
                      <a:pt x="810892" y="286408"/>
                      <a:pt x="821954" y="288567"/>
                    </a:cubicBezTo>
                    <a:cubicBezTo>
                      <a:pt x="823060" y="292885"/>
                      <a:pt x="817529" y="305838"/>
                      <a:pt x="815870" y="311236"/>
                    </a:cubicBezTo>
                    <a:cubicBezTo>
                      <a:pt x="815870" y="312855"/>
                      <a:pt x="818082" y="314474"/>
                      <a:pt x="819742" y="314474"/>
                    </a:cubicBezTo>
                    <a:cubicBezTo>
                      <a:pt x="820848" y="314474"/>
                      <a:pt x="821401" y="313934"/>
                      <a:pt x="821954" y="312855"/>
                    </a:cubicBezTo>
                    <a:cubicBezTo>
                      <a:pt x="824719" y="309077"/>
                      <a:pt x="825826" y="303140"/>
                      <a:pt x="828591" y="299362"/>
                    </a:cubicBezTo>
                    <a:cubicBezTo>
                      <a:pt x="830250" y="297743"/>
                      <a:pt x="835781" y="293965"/>
                      <a:pt x="837994" y="293425"/>
                    </a:cubicBezTo>
                    <a:cubicBezTo>
                      <a:pt x="842418" y="292345"/>
                      <a:pt x="850162" y="303140"/>
                      <a:pt x="854033" y="305838"/>
                    </a:cubicBezTo>
                    <a:cubicBezTo>
                      <a:pt x="856799" y="307458"/>
                      <a:pt x="862883" y="309616"/>
                      <a:pt x="866201" y="310156"/>
                    </a:cubicBezTo>
                    <a:lnTo>
                      <a:pt x="867861" y="309616"/>
                    </a:lnTo>
                    <a:lnTo>
                      <a:pt x="868414" y="305838"/>
                    </a:lnTo>
                    <a:cubicBezTo>
                      <a:pt x="862330" y="295044"/>
                      <a:pt x="849609" y="288028"/>
                      <a:pt x="844631" y="276693"/>
                    </a:cubicBezTo>
                    <a:cubicBezTo>
                      <a:pt x="838547" y="262661"/>
                      <a:pt x="836888" y="247009"/>
                      <a:pt x="830804" y="233515"/>
                    </a:cubicBezTo>
                    <a:cubicBezTo>
                      <a:pt x="827485" y="225959"/>
                      <a:pt x="820295" y="219483"/>
                      <a:pt x="815870" y="212466"/>
                    </a:cubicBezTo>
                    <a:cubicBezTo>
                      <a:pt x="813105" y="208688"/>
                      <a:pt x="811445" y="203291"/>
                      <a:pt x="808680" y="199513"/>
                    </a:cubicBezTo>
                    <a:cubicBezTo>
                      <a:pt x="808127" y="198433"/>
                      <a:pt x="807021" y="197354"/>
                      <a:pt x="805914" y="196814"/>
                    </a:cubicBezTo>
                    <a:cubicBezTo>
                      <a:pt x="795406" y="187099"/>
                      <a:pt x="785450" y="184401"/>
                      <a:pt x="772729" y="192497"/>
                    </a:cubicBezTo>
                    <a:cubicBezTo>
                      <a:pt x="766645" y="191957"/>
                      <a:pt x="759455" y="187099"/>
                      <a:pt x="756689" y="181162"/>
                    </a:cubicBezTo>
                    <a:cubicBezTo>
                      <a:pt x="754477" y="175765"/>
                      <a:pt x="754477" y="168209"/>
                      <a:pt x="752818" y="162272"/>
                    </a:cubicBezTo>
                    <a:cubicBezTo>
                      <a:pt x="752264" y="159573"/>
                      <a:pt x="750605" y="156335"/>
                      <a:pt x="750052" y="153636"/>
                    </a:cubicBezTo>
                    <a:cubicBezTo>
                      <a:pt x="747840" y="147160"/>
                      <a:pt x="747840" y="139604"/>
                      <a:pt x="745074" y="133127"/>
                    </a:cubicBezTo>
                    <a:cubicBezTo>
                      <a:pt x="742862" y="127730"/>
                      <a:pt x="731800" y="105601"/>
                      <a:pt x="728481" y="101823"/>
                    </a:cubicBezTo>
                    <a:cubicBezTo>
                      <a:pt x="727375" y="100204"/>
                      <a:pt x="722951" y="100204"/>
                      <a:pt x="721844" y="99124"/>
                    </a:cubicBezTo>
                    <a:cubicBezTo>
                      <a:pt x="720738" y="96965"/>
                      <a:pt x="720185" y="88870"/>
                      <a:pt x="718526" y="86171"/>
                    </a:cubicBezTo>
                    <a:cubicBezTo>
                      <a:pt x="717420" y="84012"/>
                      <a:pt x="712995" y="79155"/>
                      <a:pt x="711336" y="76996"/>
                    </a:cubicBezTo>
                    <a:cubicBezTo>
                      <a:pt x="710229" y="75916"/>
                      <a:pt x="708570" y="74297"/>
                      <a:pt x="707464" y="73757"/>
                    </a:cubicBezTo>
                    <a:cubicBezTo>
                      <a:pt x="696402" y="70519"/>
                      <a:pt x="683128" y="71598"/>
                      <a:pt x="671513" y="68900"/>
                    </a:cubicBezTo>
                    <a:cubicBezTo>
                      <a:pt x="667641" y="68360"/>
                      <a:pt x="663770" y="65662"/>
                      <a:pt x="659898" y="64042"/>
                    </a:cubicBezTo>
                    <a:cubicBezTo>
                      <a:pt x="657133" y="62423"/>
                      <a:pt x="653261" y="60804"/>
                      <a:pt x="650496" y="58645"/>
                    </a:cubicBezTo>
                    <a:lnTo>
                      <a:pt x="650496" y="55947"/>
                    </a:lnTo>
                    <a:cubicBezTo>
                      <a:pt x="651049" y="54867"/>
                      <a:pt x="652708" y="53788"/>
                      <a:pt x="653814" y="53248"/>
                    </a:cubicBezTo>
                    <a:cubicBezTo>
                      <a:pt x="659898" y="52708"/>
                      <a:pt x="670407" y="56486"/>
                      <a:pt x="677597" y="56486"/>
                    </a:cubicBezTo>
                    <a:cubicBezTo>
                      <a:pt x="689765" y="56486"/>
                      <a:pt x="702486" y="51629"/>
                      <a:pt x="712995" y="45692"/>
                    </a:cubicBezTo>
                    <a:cubicBezTo>
                      <a:pt x="725716" y="37596"/>
                      <a:pt x="738990" y="21944"/>
                      <a:pt x="755030" y="19785"/>
                    </a:cubicBezTo>
                    <a:cubicBezTo>
                      <a:pt x="758348" y="19245"/>
                      <a:pt x="768304" y="20325"/>
                      <a:pt x="771070" y="21404"/>
                    </a:cubicBezTo>
                    <a:cubicBezTo>
                      <a:pt x="775494" y="23563"/>
                      <a:pt x="775494" y="28421"/>
                      <a:pt x="781025" y="29500"/>
                    </a:cubicBezTo>
                    <a:cubicBezTo>
                      <a:pt x="789875" y="32199"/>
                      <a:pt x="800937" y="28960"/>
                      <a:pt x="809786" y="32199"/>
                    </a:cubicBezTo>
                    <a:cubicBezTo>
                      <a:pt x="816976" y="34358"/>
                      <a:pt x="833016" y="51089"/>
                      <a:pt x="834675" y="58645"/>
                    </a:cubicBezTo>
                    <a:cubicBezTo>
                      <a:pt x="836888" y="71598"/>
                      <a:pt x="802596" y="87250"/>
                      <a:pt x="794853" y="98585"/>
                    </a:cubicBezTo>
                    <a:cubicBezTo>
                      <a:pt x="790981" y="105061"/>
                      <a:pt x="798171" y="110998"/>
                      <a:pt x="798724" y="116396"/>
                    </a:cubicBezTo>
                    <a:cubicBezTo>
                      <a:pt x="798724" y="121253"/>
                      <a:pt x="793193" y="124491"/>
                      <a:pt x="792640" y="127730"/>
                    </a:cubicBezTo>
                    <a:cubicBezTo>
                      <a:pt x="790981" y="133667"/>
                      <a:pt x="794853" y="143921"/>
                      <a:pt x="799830" y="147699"/>
                    </a:cubicBezTo>
                    <a:cubicBezTo>
                      <a:pt x="808680" y="155795"/>
                      <a:pt x="814211" y="149858"/>
                      <a:pt x="823613" y="149858"/>
                    </a:cubicBezTo>
                    <a:cubicBezTo>
                      <a:pt x="828038" y="149858"/>
                      <a:pt x="840759" y="153636"/>
                      <a:pt x="845184" y="156335"/>
                    </a:cubicBezTo>
                    <a:cubicBezTo>
                      <a:pt x="855140" y="162272"/>
                      <a:pt x="862883" y="171447"/>
                      <a:pt x="876710" y="170908"/>
                    </a:cubicBezTo>
                    <a:cubicBezTo>
                      <a:pt x="879476" y="170908"/>
                      <a:pt x="887772" y="167130"/>
                      <a:pt x="889984" y="165510"/>
                    </a:cubicBezTo>
                    <a:cubicBezTo>
                      <a:pt x="892750" y="163891"/>
                      <a:pt x="893856" y="161732"/>
                      <a:pt x="896068" y="160113"/>
                    </a:cubicBezTo>
                    <a:cubicBezTo>
                      <a:pt x="902152" y="155795"/>
                      <a:pt x="909343" y="152557"/>
                      <a:pt x="915427" y="148239"/>
                    </a:cubicBezTo>
                    <a:cubicBezTo>
                      <a:pt x="918192" y="146620"/>
                      <a:pt x="920958" y="144461"/>
                      <a:pt x="923170" y="142302"/>
                    </a:cubicBezTo>
                    <a:cubicBezTo>
                      <a:pt x="925382" y="140143"/>
                      <a:pt x="933126" y="131508"/>
                      <a:pt x="934232" y="128809"/>
                    </a:cubicBezTo>
                    <a:cubicBezTo>
                      <a:pt x="940316" y="117475"/>
                      <a:pt x="922064" y="92108"/>
                      <a:pt x="917086" y="81314"/>
                    </a:cubicBezTo>
                    <a:cubicBezTo>
                      <a:pt x="915427" y="77535"/>
                      <a:pt x="915980" y="72678"/>
                      <a:pt x="913767" y="69440"/>
                    </a:cubicBezTo>
                    <a:cubicBezTo>
                      <a:pt x="910449" y="62963"/>
                      <a:pt x="903259" y="57566"/>
                      <a:pt x="900493" y="51089"/>
                    </a:cubicBezTo>
                    <a:cubicBezTo>
                      <a:pt x="899940" y="50010"/>
                      <a:pt x="899387" y="46771"/>
                      <a:pt x="900493" y="46231"/>
                    </a:cubicBezTo>
                    <a:cubicBezTo>
                      <a:pt x="901046" y="45152"/>
                      <a:pt x="905471" y="45152"/>
                      <a:pt x="906577" y="44073"/>
                    </a:cubicBezTo>
                    <a:cubicBezTo>
                      <a:pt x="908789" y="41914"/>
                      <a:pt x="912108" y="29500"/>
                      <a:pt x="915427" y="25182"/>
                    </a:cubicBezTo>
                    <a:cubicBezTo>
                      <a:pt x="917086" y="23023"/>
                      <a:pt x="923170" y="20325"/>
                      <a:pt x="926488" y="18166"/>
                    </a:cubicBezTo>
                    <a:lnTo>
                      <a:pt x="926488" y="16547"/>
                    </a:lnTo>
                    <a:lnTo>
                      <a:pt x="917639" y="7371"/>
                    </a:lnTo>
                    <a:cubicBezTo>
                      <a:pt x="914873" y="4673"/>
                      <a:pt x="909896" y="2514"/>
                      <a:pt x="906577" y="-185"/>
                    </a:cubicBezTo>
                    <a:lnTo>
                      <a:pt x="2831891" y="-185"/>
                    </a:lnTo>
                    <a:lnTo>
                      <a:pt x="2831891" y="244850"/>
                    </a:lnTo>
                    <a:lnTo>
                      <a:pt x="2809214" y="250787"/>
                    </a:lnTo>
                    <a:lnTo>
                      <a:pt x="2790409" y="260502"/>
                    </a:lnTo>
                    <a:lnTo>
                      <a:pt x="2779347" y="261581"/>
                    </a:lnTo>
                    <a:lnTo>
                      <a:pt x="2777688" y="279932"/>
                    </a:lnTo>
                    <a:lnTo>
                      <a:pt x="2779900" y="290186"/>
                    </a:lnTo>
                    <a:lnTo>
                      <a:pt x="2768285" y="324729"/>
                    </a:lnTo>
                    <a:lnTo>
                      <a:pt x="2772157" y="350635"/>
                    </a:lnTo>
                    <a:lnTo>
                      <a:pt x="2787090" y="370605"/>
                    </a:lnTo>
                    <a:lnTo>
                      <a:pt x="2779900" y="386257"/>
                    </a:lnTo>
                    <a:lnTo>
                      <a:pt x="2771050" y="393274"/>
                    </a:lnTo>
                    <a:lnTo>
                      <a:pt x="2731781" y="488805"/>
                    </a:lnTo>
                    <a:lnTo>
                      <a:pt x="2722931" y="498520"/>
                    </a:lnTo>
                    <a:lnTo>
                      <a:pt x="2709657" y="537919"/>
                    </a:lnTo>
                    <a:lnTo>
                      <a:pt x="2700808" y="554651"/>
                    </a:lnTo>
                    <a:lnTo>
                      <a:pt x="2697489" y="574081"/>
                    </a:lnTo>
                    <a:lnTo>
                      <a:pt x="2682556" y="585415"/>
                    </a:lnTo>
                    <a:cubicBezTo>
                      <a:pt x="2682003" y="598368"/>
                      <a:pt x="2664857" y="623735"/>
                      <a:pt x="2662091" y="638848"/>
                    </a:cubicBezTo>
                    <a:cubicBezTo>
                      <a:pt x="2659879" y="643165"/>
                      <a:pt x="2656560" y="647483"/>
                      <a:pt x="2654348" y="652341"/>
                    </a:cubicBezTo>
                    <a:cubicBezTo>
                      <a:pt x="2652136" y="657198"/>
                      <a:pt x="2652136" y="663135"/>
                      <a:pt x="2649370" y="667993"/>
                    </a:cubicBezTo>
                    <a:cubicBezTo>
                      <a:pt x="2643286" y="678787"/>
                      <a:pt x="2632777" y="686883"/>
                      <a:pt x="2626140" y="697678"/>
                    </a:cubicBezTo>
                    <a:cubicBezTo>
                      <a:pt x="2622269" y="703075"/>
                      <a:pt x="2621162" y="710091"/>
                      <a:pt x="2618397" y="715488"/>
                    </a:cubicBezTo>
                    <a:cubicBezTo>
                      <a:pt x="2616738" y="717647"/>
                      <a:pt x="2615078" y="719266"/>
                      <a:pt x="2613972" y="721425"/>
                    </a:cubicBezTo>
                    <a:cubicBezTo>
                      <a:pt x="2611207" y="725203"/>
                      <a:pt x="2604017" y="737617"/>
                      <a:pt x="2601251" y="739776"/>
                    </a:cubicBezTo>
                    <a:cubicBezTo>
                      <a:pt x="2596273" y="743554"/>
                      <a:pt x="2593508" y="748412"/>
                      <a:pt x="2588530" y="752729"/>
                    </a:cubicBezTo>
                    <a:cubicBezTo>
                      <a:pt x="2584658" y="756507"/>
                      <a:pt x="2579127" y="759746"/>
                      <a:pt x="2574703" y="763524"/>
                    </a:cubicBezTo>
                    <a:cubicBezTo>
                      <a:pt x="2571384" y="766762"/>
                      <a:pt x="2569172" y="771080"/>
                      <a:pt x="2565853" y="774858"/>
                    </a:cubicBezTo>
                    <a:cubicBezTo>
                      <a:pt x="2560322" y="780255"/>
                      <a:pt x="2551473" y="784573"/>
                      <a:pt x="2549261" y="792129"/>
                    </a:cubicBezTo>
                    <a:cubicBezTo>
                      <a:pt x="2547048" y="799146"/>
                      <a:pt x="2548154" y="809940"/>
                      <a:pt x="2544836" y="815877"/>
                    </a:cubicBezTo>
                    <a:lnTo>
                      <a:pt x="2543177" y="833688"/>
                    </a:lnTo>
                    <a:lnTo>
                      <a:pt x="2558663" y="850419"/>
                    </a:lnTo>
                    <a:lnTo>
                      <a:pt x="2573043" y="856356"/>
                    </a:lnTo>
                    <a:lnTo>
                      <a:pt x="2651583" y="843943"/>
                    </a:lnTo>
                    <a:lnTo>
                      <a:pt x="2654901" y="855277"/>
                    </a:lnTo>
                    <a:lnTo>
                      <a:pt x="2649923" y="868770"/>
                    </a:lnTo>
                    <a:lnTo>
                      <a:pt x="2643286" y="876326"/>
                    </a:lnTo>
                    <a:lnTo>
                      <a:pt x="2622269" y="888200"/>
                    </a:lnTo>
                    <a:lnTo>
                      <a:pt x="2607335" y="939474"/>
                    </a:lnTo>
                    <a:lnTo>
                      <a:pt x="2656007" y="962682"/>
                    </a:lnTo>
                    <a:lnTo>
                      <a:pt x="2647711" y="1007479"/>
                    </a:lnTo>
                    <a:lnTo>
                      <a:pt x="2648817" y="1037163"/>
                    </a:lnTo>
                    <a:lnTo>
                      <a:pt x="2657667" y="1035005"/>
                    </a:lnTo>
                    <a:lnTo>
                      <a:pt x="2679790" y="1040942"/>
                    </a:lnTo>
                    <a:lnTo>
                      <a:pt x="2691405" y="1035544"/>
                    </a:lnTo>
                    <a:lnTo>
                      <a:pt x="2728462" y="1036084"/>
                    </a:lnTo>
                    <a:lnTo>
                      <a:pt x="2743396" y="1028528"/>
                    </a:lnTo>
                    <a:lnTo>
                      <a:pt x="2784878" y="1027988"/>
                    </a:lnTo>
                    <a:lnTo>
                      <a:pt x="2797046" y="1045799"/>
                    </a:lnTo>
                    <a:lnTo>
                      <a:pt x="2803683" y="1104089"/>
                    </a:lnTo>
                    <a:lnTo>
                      <a:pt x="2794833" y="1122440"/>
                    </a:lnTo>
                    <a:lnTo>
                      <a:pt x="2754458" y="1159141"/>
                    </a:lnTo>
                    <a:lnTo>
                      <a:pt x="2745608" y="1163459"/>
                    </a:lnTo>
                    <a:lnTo>
                      <a:pt x="2736759" y="1203938"/>
                    </a:lnTo>
                    <a:lnTo>
                      <a:pt x="2705232" y="1212034"/>
                    </a:lnTo>
                    <a:lnTo>
                      <a:pt x="2646605" y="1226067"/>
                    </a:lnTo>
                    <a:lnTo>
                      <a:pt x="2628906" y="1214732"/>
                    </a:lnTo>
                    <a:lnTo>
                      <a:pt x="2582999" y="1232004"/>
                    </a:lnTo>
                    <a:lnTo>
                      <a:pt x="2582999" y="1241179"/>
                    </a:lnTo>
                    <a:lnTo>
                      <a:pt x="2592955" y="1260069"/>
                    </a:lnTo>
                    <a:lnTo>
                      <a:pt x="2592402" y="1273023"/>
                    </a:lnTo>
                    <a:lnTo>
                      <a:pt x="2577468" y="1281118"/>
                    </a:lnTo>
                    <a:lnTo>
                      <a:pt x="2557004" y="1277340"/>
                    </a:lnTo>
                    <a:lnTo>
                      <a:pt x="2533221" y="1313502"/>
                    </a:lnTo>
                    <a:lnTo>
                      <a:pt x="2523818" y="1318899"/>
                    </a:lnTo>
                    <a:lnTo>
                      <a:pt x="2507779" y="1389603"/>
                    </a:lnTo>
                    <a:lnTo>
                      <a:pt x="2498376" y="1397699"/>
                    </a:lnTo>
                    <a:lnTo>
                      <a:pt x="2478465" y="1395540"/>
                    </a:lnTo>
                    <a:lnTo>
                      <a:pt x="2433111" y="1408493"/>
                    </a:lnTo>
                    <a:lnTo>
                      <a:pt x="2456341" y="1460846"/>
                    </a:lnTo>
                    <a:lnTo>
                      <a:pt x="2451363" y="1463005"/>
                    </a:lnTo>
                    <a:lnTo>
                      <a:pt x="2433664" y="1458148"/>
                    </a:lnTo>
                    <a:lnTo>
                      <a:pt x="2424262" y="1449512"/>
                    </a:lnTo>
                    <a:lnTo>
                      <a:pt x="2416518" y="1431701"/>
                    </a:lnTo>
                    <a:lnTo>
                      <a:pt x="2369506" y="1419827"/>
                    </a:lnTo>
                    <a:lnTo>
                      <a:pt x="2315856" y="1420367"/>
                    </a:lnTo>
                    <a:lnTo>
                      <a:pt x="2311431" y="1417668"/>
                    </a:lnTo>
                    <a:lnTo>
                      <a:pt x="2309219" y="1410112"/>
                    </a:lnTo>
                    <a:lnTo>
                      <a:pt x="2251697" y="1439797"/>
                    </a:lnTo>
                    <a:lnTo>
                      <a:pt x="2240635" y="1436019"/>
                    </a:lnTo>
                    <a:lnTo>
                      <a:pt x="2232892" y="1426844"/>
                    </a:lnTo>
                    <a:lnTo>
                      <a:pt x="2204131" y="1457608"/>
                    </a:lnTo>
                    <a:lnTo>
                      <a:pt x="2198600" y="1474879"/>
                    </a:lnTo>
                    <a:lnTo>
                      <a:pt x="2186985" y="1487832"/>
                    </a:lnTo>
                    <a:lnTo>
                      <a:pt x="2174264" y="1491611"/>
                    </a:lnTo>
                    <a:lnTo>
                      <a:pt x="2167627" y="1486213"/>
                    </a:lnTo>
                    <a:lnTo>
                      <a:pt x="2149375" y="1498087"/>
                    </a:lnTo>
                    <a:lnTo>
                      <a:pt x="2127804" y="1499706"/>
                    </a:lnTo>
                    <a:lnTo>
                      <a:pt x="2128911" y="1525613"/>
                    </a:lnTo>
                    <a:lnTo>
                      <a:pt x="2123380" y="1541265"/>
                    </a:lnTo>
                    <a:lnTo>
                      <a:pt x="2130570" y="1583364"/>
                    </a:lnTo>
                    <a:lnTo>
                      <a:pt x="2113977" y="1625462"/>
                    </a:lnTo>
                    <a:lnTo>
                      <a:pt x="2103468" y="1697785"/>
                    </a:lnTo>
                    <a:lnTo>
                      <a:pt x="2095725" y="1709119"/>
                    </a:lnTo>
                    <a:lnTo>
                      <a:pt x="2094066" y="1715596"/>
                    </a:lnTo>
                    <a:lnTo>
                      <a:pt x="2136101" y="1778204"/>
                    </a:lnTo>
                    <a:lnTo>
                      <a:pt x="2136101" y="1784680"/>
                    </a:lnTo>
                    <a:lnTo>
                      <a:pt x="2130017" y="1794395"/>
                    </a:lnTo>
                    <a:lnTo>
                      <a:pt x="2115083" y="1803571"/>
                    </a:lnTo>
                    <a:lnTo>
                      <a:pt x="2026588" y="1774965"/>
                    </a:lnTo>
                    <a:lnTo>
                      <a:pt x="2025482" y="1804110"/>
                    </a:lnTo>
                    <a:lnTo>
                      <a:pt x="2030460" y="1827318"/>
                    </a:lnTo>
                    <a:lnTo>
                      <a:pt x="2027695" y="1861321"/>
                    </a:lnTo>
                    <a:lnTo>
                      <a:pt x="2035991" y="1888847"/>
                    </a:lnTo>
                    <a:lnTo>
                      <a:pt x="2054243" y="1934184"/>
                    </a:lnTo>
                    <a:lnTo>
                      <a:pt x="2060880" y="1937962"/>
                    </a:lnTo>
                    <a:lnTo>
                      <a:pt x="2066964" y="1941740"/>
                    </a:lnTo>
                    <a:lnTo>
                      <a:pt x="2059221" y="1967107"/>
                    </a:lnTo>
                    <a:lnTo>
                      <a:pt x="2082451" y="2025397"/>
                    </a:lnTo>
                    <a:lnTo>
                      <a:pt x="2121167" y="2020000"/>
                    </a:lnTo>
                    <a:lnTo>
                      <a:pt x="2128911" y="2022159"/>
                    </a:lnTo>
                    <a:lnTo>
                      <a:pt x="2151587" y="2055621"/>
                    </a:lnTo>
                    <a:lnTo>
                      <a:pt x="2168180" y="2051304"/>
                    </a:lnTo>
                    <a:lnTo>
                      <a:pt x="2170946" y="2041049"/>
                    </a:lnTo>
                    <a:lnTo>
                      <a:pt x="2181454" y="2027016"/>
                    </a:lnTo>
                    <a:lnTo>
                      <a:pt x="2210215" y="2009745"/>
                    </a:lnTo>
                    <a:lnTo>
                      <a:pt x="2218511" y="2008126"/>
                    </a:lnTo>
                    <a:lnTo>
                      <a:pt x="2278245" y="2050764"/>
                    </a:lnTo>
                    <a:lnTo>
                      <a:pt x="2325258" y="2103657"/>
                    </a:lnTo>
                    <a:lnTo>
                      <a:pt x="2300369" y="2112832"/>
                    </a:lnTo>
                    <a:lnTo>
                      <a:pt x="2307559" y="2123627"/>
                    </a:lnTo>
                    <a:cubicBezTo>
                      <a:pt x="2314749" y="2119849"/>
                      <a:pt x="2315303" y="2118769"/>
                      <a:pt x="2323046" y="2114991"/>
                    </a:cubicBezTo>
                    <a:cubicBezTo>
                      <a:pt x="2325258" y="2113372"/>
                      <a:pt x="2329683" y="2112832"/>
                      <a:pt x="2332448" y="2111753"/>
                    </a:cubicBezTo>
                    <a:cubicBezTo>
                      <a:pt x="2336320" y="2110134"/>
                      <a:pt x="2342957" y="2106355"/>
                      <a:pt x="2347382" y="2105276"/>
                    </a:cubicBezTo>
                    <a:cubicBezTo>
                      <a:pt x="2356231" y="2103657"/>
                      <a:pt x="2372271" y="2103657"/>
                      <a:pt x="2381674" y="2103117"/>
                    </a:cubicBezTo>
                    <a:cubicBezTo>
                      <a:pt x="2382227" y="2104197"/>
                      <a:pt x="2382780" y="2105816"/>
                      <a:pt x="2382780" y="2107435"/>
                    </a:cubicBezTo>
                    <a:cubicBezTo>
                      <a:pt x="2382227" y="2110673"/>
                      <a:pt x="2378908" y="2118229"/>
                      <a:pt x="2380014" y="2121468"/>
                    </a:cubicBezTo>
                    <a:cubicBezTo>
                      <a:pt x="2380567" y="2123627"/>
                      <a:pt x="2387205" y="2125785"/>
                      <a:pt x="2388864" y="2127405"/>
                    </a:cubicBezTo>
                    <a:lnTo>
                      <a:pt x="2388864" y="2129024"/>
                    </a:lnTo>
                    <a:cubicBezTo>
                      <a:pt x="2378908" y="2134421"/>
                      <a:pt x="2376143" y="2131722"/>
                      <a:pt x="2384439" y="2144136"/>
                    </a:cubicBezTo>
                    <a:cubicBezTo>
                      <a:pt x="2384439" y="2145216"/>
                      <a:pt x="2384439" y="2146835"/>
                      <a:pt x="2383886" y="2147914"/>
                    </a:cubicBezTo>
                    <a:cubicBezTo>
                      <a:pt x="2383333" y="2149533"/>
                      <a:pt x="2377802" y="2152772"/>
                      <a:pt x="2376143" y="2154391"/>
                    </a:cubicBezTo>
                    <a:cubicBezTo>
                      <a:pt x="2372824" y="2158169"/>
                      <a:pt x="2371165" y="2164646"/>
                      <a:pt x="2367846" y="2167884"/>
                    </a:cubicBezTo>
                    <a:cubicBezTo>
                      <a:pt x="2365081" y="2170583"/>
                      <a:pt x="2361209" y="2170043"/>
                      <a:pt x="2358444" y="2171122"/>
                    </a:cubicBezTo>
                    <a:cubicBezTo>
                      <a:pt x="2357891" y="2172741"/>
                      <a:pt x="2357338" y="2173821"/>
                      <a:pt x="2357338" y="2175440"/>
                    </a:cubicBezTo>
                    <a:lnTo>
                      <a:pt x="2358997" y="2178139"/>
                    </a:lnTo>
                    <a:cubicBezTo>
                      <a:pt x="2366740" y="2181917"/>
                      <a:pt x="2379461" y="2182996"/>
                      <a:pt x="2381674" y="2193251"/>
                    </a:cubicBezTo>
                    <a:lnTo>
                      <a:pt x="2379461" y="2194870"/>
                    </a:lnTo>
                    <a:cubicBezTo>
                      <a:pt x="2371718" y="2194330"/>
                      <a:pt x="2367293" y="2189473"/>
                      <a:pt x="2360656" y="2194330"/>
                    </a:cubicBezTo>
                    <a:cubicBezTo>
                      <a:pt x="2358444" y="2199728"/>
                      <a:pt x="2350700" y="2232111"/>
                      <a:pt x="2350700" y="2232651"/>
                    </a:cubicBezTo>
                    <a:cubicBezTo>
                      <a:pt x="2345723" y="2238048"/>
                      <a:pt x="2333555" y="2246144"/>
                      <a:pt x="2331895" y="2252081"/>
                    </a:cubicBezTo>
                    <a:cubicBezTo>
                      <a:pt x="2331342" y="2253160"/>
                      <a:pt x="2332448" y="2257478"/>
                      <a:pt x="2332448" y="2259097"/>
                    </a:cubicBezTo>
                    <a:lnTo>
                      <a:pt x="2330789" y="2261256"/>
                    </a:lnTo>
                    <a:cubicBezTo>
                      <a:pt x="2325811" y="2261256"/>
                      <a:pt x="2320280" y="2259097"/>
                      <a:pt x="2315303" y="2259097"/>
                    </a:cubicBezTo>
                    <a:lnTo>
                      <a:pt x="2313090" y="2260716"/>
                    </a:lnTo>
                    <a:lnTo>
                      <a:pt x="2312537" y="2263415"/>
                    </a:lnTo>
                    <a:cubicBezTo>
                      <a:pt x="2314196" y="2266653"/>
                      <a:pt x="2316962" y="2269352"/>
                      <a:pt x="2318621" y="2272590"/>
                    </a:cubicBezTo>
                    <a:cubicBezTo>
                      <a:pt x="2322493" y="2281766"/>
                      <a:pt x="2319727" y="2292560"/>
                      <a:pt x="2320280" y="2302275"/>
                    </a:cubicBezTo>
                    <a:cubicBezTo>
                      <a:pt x="2321387" y="2327102"/>
                      <a:pt x="2323599" y="2351930"/>
                      <a:pt x="2322493" y="2376757"/>
                    </a:cubicBezTo>
                    <a:cubicBezTo>
                      <a:pt x="2322493" y="2384313"/>
                      <a:pt x="2320280" y="2379995"/>
                      <a:pt x="2318068" y="2382694"/>
                    </a:cubicBezTo>
                    <a:cubicBezTo>
                      <a:pt x="2316962" y="2384853"/>
                      <a:pt x="2310878" y="2408600"/>
                      <a:pt x="2310325" y="2412379"/>
                    </a:cubicBezTo>
                    <a:cubicBezTo>
                      <a:pt x="2308112" y="2421554"/>
                      <a:pt x="2309772" y="2432888"/>
                      <a:pt x="2318621" y="2438285"/>
                    </a:cubicBezTo>
                    <a:cubicBezTo>
                      <a:pt x="2319174" y="2438825"/>
                      <a:pt x="2325811" y="2439904"/>
                      <a:pt x="2326918" y="2440444"/>
                    </a:cubicBezTo>
                    <a:cubicBezTo>
                      <a:pt x="2330789" y="2440984"/>
                      <a:pt x="2334661" y="2437206"/>
                      <a:pt x="2338532" y="2436666"/>
                    </a:cubicBezTo>
                    <a:cubicBezTo>
                      <a:pt x="2356784" y="2433428"/>
                      <a:pt x="2358444" y="2448000"/>
                      <a:pt x="2365081" y="2445841"/>
                    </a:cubicBezTo>
                    <a:cubicBezTo>
                      <a:pt x="2366740" y="2445302"/>
                      <a:pt x="2370059" y="2440984"/>
                      <a:pt x="2372271" y="2439365"/>
                    </a:cubicBezTo>
                    <a:lnTo>
                      <a:pt x="2375590" y="2439904"/>
                    </a:lnTo>
                    <a:cubicBezTo>
                      <a:pt x="2380014" y="2444762"/>
                      <a:pt x="2383886" y="2451239"/>
                      <a:pt x="2388311" y="2456096"/>
                    </a:cubicBezTo>
                    <a:cubicBezTo>
                      <a:pt x="2394948" y="2463113"/>
                      <a:pt x="2404903" y="2469049"/>
                      <a:pt x="2408775" y="2477685"/>
                    </a:cubicBezTo>
                    <a:cubicBezTo>
                      <a:pt x="2410988" y="2482543"/>
                      <a:pt x="2409328" y="2490638"/>
                      <a:pt x="2408775" y="2495496"/>
                    </a:cubicBezTo>
                    <a:cubicBezTo>
                      <a:pt x="2409328" y="2497655"/>
                      <a:pt x="2410988" y="2501973"/>
                      <a:pt x="2412647" y="2503592"/>
                    </a:cubicBezTo>
                    <a:cubicBezTo>
                      <a:pt x="2413753" y="2504671"/>
                      <a:pt x="2418731" y="2508449"/>
                      <a:pt x="2420390" y="2507910"/>
                    </a:cubicBezTo>
                    <a:cubicBezTo>
                      <a:pt x="2421496" y="2507370"/>
                      <a:pt x="2420390" y="2500893"/>
                      <a:pt x="2420390" y="2499814"/>
                    </a:cubicBezTo>
                    <a:cubicBezTo>
                      <a:pt x="2418731" y="2490099"/>
                      <a:pt x="2410988" y="2464192"/>
                      <a:pt x="2414859" y="2456096"/>
                    </a:cubicBezTo>
                    <a:lnTo>
                      <a:pt x="2418178" y="2456096"/>
                    </a:lnTo>
                    <a:cubicBezTo>
                      <a:pt x="2419837" y="2457176"/>
                      <a:pt x="2423156" y="2460954"/>
                      <a:pt x="2423709" y="2463113"/>
                    </a:cubicBezTo>
                    <a:cubicBezTo>
                      <a:pt x="2426474" y="2470669"/>
                      <a:pt x="2425368" y="2487400"/>
                      <a:pt x="2427027" y="2496575"/>
                    </a:cubicBezTo>
                    <a:cubicBezTo>
                      <a:pt x="2427027" y="2499274"/>
                      <a:pt x="2433664" y="2517625"/>
                      <a:pt x="2434770" y="2519244"/>
                    </a:cubicBezTo>
                    <a:cubicBezTo>
                      <a:pt x="2436430" y="2522482"/>
                      <a:pt x="2441408" y="2525181"/>
                      <a:pt x="2443067" y="2527879"/>
                    </a:cubicBezTo>
                    <a:cubicBezTo>
                      <a:pt x="2446938" y="2535435"/>
                      <a:pt x="2446938" y="2545150"/>
                      <a:pt x="2450257" y="2552707"/>
                    </a:cubicBezTo>
                    <a:cubicBezTo>
                      <a:pt x="2455235" y="2562961"/>
                      <a:pt x="2467403" y="2561882"/>
                      <a:pt x="2475699" y="2566200"/>
                    </a:cubicBezTo>
                    <a:cubicBezTo>
                      <a:pt x="2483443" y="2569978"/>
                      <a:pt x="2482336" y="2577534"/>
                      <a:pt x="2485655" y="2580232"/>
                    </a:cubicBezTo>
                    <a:cubicBezTo>
                      <a:pt x="2491739" y="2585630"/>
                      <a:pt x="2503907" y="2584550"/>
                      <a:pt x="2508332" y="2586709"/>
                    </a:cubicBezTo>
                    <a:cubicBezTo>
                      <a:pt x="2513310" y="2589408"/>
                      <a:pt x="2516628" y="2595345"/>
                      <a:pt x="2521606" y="2598043"/>
                    </a:cubicBezTo>
                    <a:cubicBezTo>
                      <a:pt x="2526584" y="2601282"/>
                      <a:pt x="2540411" y="2601282"/>
                      <a:pt x="2546495" y="2604520"/>
                    </a:cubicBezTo>
                    <a:cubicBezTo>
                      <a:pt x="2555898" y="2610457"/>
                      <a:pt x="2562535" y="2623950"/>
                      <a:pt x="2572490" y="2628268"/>
                    </a:cubicBezTo>
                    <a:cubicBezTo>
                      <a:pt x="2573597" y="2628808"/>
                      <a:pt x="2585765" y="2631506"/>
                      <a:pt x="2587424" y="2631506"/>
                    </a:cubicBezTo>
                    <a:cubicBezTo>
                      <a:pt x="2591849" y="2631506"/>
                      <a:pt x="2595167" y="2629347"/>
                      <a:pt x="2599592" y="2629887"/>
                    </a:cubicBezTo>
                    <a:lnTo>
                      <a:pt x="2599592" y="2671446"/>
                    </a:lnTo>
                    <a:lnTo>
                      <a:pt x="2581340" y="2702750"/>
                    </a:lnTo>
                    <a:lnTo>
                      <a:pt x="2573597" y="2738371"/>
                    </a:lnTo>
                    <a:lnTo>
                      <a:pt x="2552579" y="2747007"/>
                    </a:lnTo>
                    <a:lnTo>
                      <a:pt x="2528796" y="2748086"/>
                    </a:lnTo>
                    <a:lnTo>
                      <a:pt x="2518840" y="2737832"/>
                    </a:lnTo>
                    <a:lnTo>
                      <a:pt x="2507779" y="2733514"/>
                    </a:lnTo>
                    <a:lnTo>
                      <a:pt x="2495611" y="2737832"/>
                    </a:lnTo>
                    <a:lnTo>
                      <a:pt x="2455235" y="2731355"/>
                    </a:lnTo>
                    <a:lnTo>
                      <a:pt x="2423709" y="2742149"/>
                    </a:lnTo>
                    <a:lnTo>
                      <a:pt x="2349041" y="2720021"/>
                    </a:lnTo>
                    <a:lnTo>
                      <a:pt x="2354019" y="2713004"/>
                    </a:lnTo>
                    <a:lnTo>
                      <a:pt x="2347382" y="2705988"/>
                    </a:lnTo>
                    <a:lnTo>
                      <a:pt x="2334108" y="2700051"/>
                    </a:lnTo>
                    <a:lnTo>
                      <a:pt x="2325811" y="2713544"/>
                    </a:lnTo>
                    <a:lnTo>
                      <a:pt x="2307006" y="2716243"/>
                    </a:lnTo>
                    <a:lnTo>
                      <a:pt x="2300922" y="2708147"/>
                    </a:lnTo>
                    <a:lnTo>
                      <a:pt x="2293179" y="2705988"/>
                    </a:lnTo>
                    <a:lnTo>
                      <a:pt x="2277692" y="2718941"/>
                    </a:lnTo>
                    <a:lnTo>
                      <a:pt x="2257781" y="2722719"/>
                    </a:lnTo>
                    <a:lnTo>
                      <a:pt x="2238423" y="2737832"/>
                    </a:lnTo>
                    <a:lnTo>
                      <a:pt x="2224042" y="2763199"/>
                    </a:lnTo>
                    <a:lnTo>
                      <a:pt x="2193069" y="2770755"/>
                    </a:lnTo>
                    <a:lnTo>
                      <a:pt x="2188091" y="2753484"/>
                    </a:lnTo>
                    <a:lnTo>
                      <a:pt x="2122827" y="2755103"/>
                    </a:lnTo>
                    <a:lnTo>
                      <a:pt x="2118402" y="2749706"/>
                    </a:lnTo>
                    <a:lnTo>
                      <a:pt x="2096831" y="2750245"/>
                    </a:lnTo>
                    <a:lnTo>
                      <a:pt x="2079132" y="2759421"/>
                    </a:lnTo>
                    <a:lnTo>
                      <a:pt x="1944178" y="2795042"/>
                    </a:lnTo>
                    <a:lnTo>
                      <a:pt x="1883891" y="2804757"/>
                    </a:lnTo>
                    <a:lnTo>
                      <a:pt x="1871723" y="2818790"/>
                    </a:lnTo>
                    <a:lnTo>
                      <a:pt x="1880572" y="2836601"/>
                    </a:lnTo>
                    <a:cubicBezTo>
                      <a:pt x="1877254" y="2836601"/>
                      <a:pt x="1861767" y="2836061"/>
                      <a:pt x="1860108" y="2834982"/>
                    </a:cubicBezTo>
                    <a:cubicBezTo>
                      <a:pt x="1857342" y="2833902"/>
                      <a:pt x="1856236" y="2827426"/>
                      <a:pt x="1854024" y="2826346"/>
                    </a:cubicBezTo>
                    <a:cubicBezTo>
                      <a:pt x="1848493" y="2823648"/>
                      <a:pt x="1835772" y="2825267"/>
                      <a:pt x="1828582" y="2822568"/>
                    </a:cubicBezTo>
                    <a:cubicBezTo>
                      <a:pt x="1819179" y="2818790"/>
                      <a:pt x="1813095" y="2810694"/>
                      <a:pt x="1803692" y="2806916"/>
                    </a:cubicBezTo>
                    <a:cubicBezTo>
                      <a:pt x="1785993" y="2798281"/>
                      <a:pt x="1753361" y="2785867"/>
                      <a:pt x="1734556" y="2780470"/>
                    </a:cubicBezTo>
                    <a:cubicBezTo>
                      <a:pt x="1730684" y="2779930"/>
                      <a:pt x="1720729" y="2780470"/>
                      <a:pt x="1716304" y="2781010"/>
                    </a:cubicBezTo>
                    <a:cubicBezTo>
                      <a:pt x="1708007" y="2782089"/>
                      <a:pt x="1698605" y="2789105"/>
                      <a:pt x="1692521" y="2789645"/>
                    </a:cubicBezTo>
                    <a:cubicBezTo>
                      <a:pt x="1689202" y="2790185"/>
                      <a:pt x="1679800" y="2788026"/>
                      <a:pt x="1676481" y="2785867"/>
                    </a:cubicBezTo>
                    <a:cubicBezTo>
                      <a:pt x="1670397" y="2782629"/>
                      <a:pt x="1658782" y="2768056"/>
                      <a:pt x="1652145" y="2768056"/>
                    </a:cubicBezTo>
                    <a:cubicBezTo>
                      <a:pt x="1646614" y="2768056"/>
                      <a:pt x="1643849" y="2776152"/>
                      <a:pt x="1637765" y="2777231"/>
                    </a:cubicBezTo>
                    <a:cubicBezTo>
                      <a:pt x="1634999" y="2777771"/>
                      <a:pt x="1632787" y="2780470"/>
                      <a:pt x="1628915" y="2781010"/>
                    </a:cubicBezTo>
                    <a:cubicBezTo>
                      <a:pt x="1626150" y="2781010"/>
                      <a:pt x="1616194" y="2778851"/>
                      <a:pt x="1613429" y="2777231"/>
                    </a:cubicBezTo>
                    <a:cubicBezTo>
                      <a:pt x="1601814" y="2770755"/>
                      <a:pt x="1601261" y="2757801"/>
                      <a:pt x="1584115" y="2752944"/>
                    </a:cubicBezTo>
                    <a:cubicBezTo>
                      <a:pt x="1566416" y="2748086"/>
                      <a:pt x="1546505" y="2760500"/>
                      <a:pt x="1537102" y="2755643"/>
                    </a:cubicBezTo>
                    <a:cubicBezTo>
                      <a:pt x="1527699" y="2750785"/>
                      <a:pt x="1554248" y="2738911"/>
                      <a:pt x="1553142" y="2729196"/>
                    </a:cubicBezTo>
                    <a:cubicBezTo>
                      <a:pt x="1553142" y="2728117"/>
                      <a:pt x="1552589" y="2727577"/>
                      <a:pt x="1552036" y="2727037"/>
                    </a:cubicBezTo>
                    <a:cubicBezTo>
                      <a:pt x="1550929" y="2726498"/>
                      <a:pt x="1534890" y="2731895"/>
                      <a:pt x="1531018" y="2731355"/>
                    </a:cubicBezTo>
                    <a:cubicBezTo>
                      <a:pt x="1537102" y="2726498"/>
                      <a:pt x="1538761" y="2717322"/>
                      <a:pt x="1548164" y="2716782"/>
                    </a:cubicBezTo>
                    <a:cubicBezTo>
                      <a:pt x="1554801" y="2716243"/>
                      <a:pt x="1560885" y="2720561"/>
                      <a:pt x="1568075" y="2720021"/>
                    </a:cubicBezTo>
                    <a:cubicBezTo>
                      <a:pt x="1569181" y="2720021"/>
                      <a:pt x="1585221" y="2712465"/>
                      <a:pt x="1586327" y="2711385"/>
                    </a:cubicBezTo>
                    <a:cubicBezTo>
                      <a:pt x="1588540" y="2709766"/>
                      <a:pt x="1592964" y="2704909"/>
                      <a:pt x="1594071" y="2702750"/>
                    </a:cubicBezTo>
                    <a:cubicBezTo>
                      <a:pt x="1594624" y="2700591"/>
                      <a:pt x="1595730" y="2690336"/>
                      <a:pt x="1594624" y="2688177"/>
                    </a:cubicBezTo>
                    <a:cubicBezTo>
                      <a:pt x="1594071" y="2686018"/>
                      <a:pt x="1592411" y="2684939"/>
                      <a:pt x="1591305" y="2682780"/>
                    </a:cubicBezTo>
                    <a:cubicBezTo>
                      <a:pt x="1590752" y="2681161"/>
                      <a:pt x="1590199" y="2673605"/>
                      <a:pt x="1590199" y="2671446"/>
                    </a:cubicBezTo>
                    <a:cubicBezTo>
                      <a:pt x="1590752" y="2662270"/>
                      <a:pt x="1597942" y="2655254"/>
                      <a:pt x="1599048" y="2646079"/>
                    </a:cubicBezTo>
                    <a:cubicBezTo>
                      <a:pt x="1599601" y="2637443"/>
                      <a:pt x="1597389" y="2629347"/>
                      <a:pt x="1597942" y="2621251"/>
                    </a:cubicBezTo>
                    <a:cubicBezTo>
                      <a:pt x="1598495" y="2618553"/>
                      <a:pt x="1599601" y="2610457"/>
                      <a:pt x="1603473" y="2609917"/>
                    </a:cubicBezTo>
                    <a:cubicBezTo>
                      <a:pt x="1606239" y="2609917"/>
                      <a:pt x="1606792" y="2615854"/>
                      <a:pt x="1607898" y="2617473"/>
                    </a:cubicBezTo>
                    <a:lnTo>
                      <a:pt x="1609557" y="2618013"/>
                    </a:lnTo>
                    <a:cubicBezTo>
                      <a:pt x="1615088" y="2615854"/>
                      <a:pt x="1609004" y="2607758"/>
                      <a:pt x="1608451" y="2607219"/>
                    </a:cubicBezTo>
                    <a:cubicBezTo>
                      <a:pt x="1607345" y="2603441"/>
                      <a:pt x="1611769" y="2594805"/>
                      <a:pt x="1615641" y="2593726"/>
                    </a:cubicBezTo>
                    <a:cubicBezTo>
                      <a:pt x="1622831" y="2592106"/>
                      <a:pt x="1630575" y="2596424"/>
                      <a:pt x="1637212" y="2595345"/>
                    </a:cubicBezTo>
                    <a:cubicBezTo>
                      <a:pt x="1641083" y="2594265"/>
                      <a:pt x="1646614" y="2588868"/>
                      <a:pt x="1642190" y="2585090"/>
                    </a:cubicBezTo>
                    <a:cubicBezTo>
                      <a:pt x="1634999" y="2579153"/>
                      <a:pt x="1625044" y="2581852"/>
                      <a:pt x="1617300" y="2579153"/>
                    </a:cubicBezTo>
                    <a:cubicBezTo>
                      <a:pt x="1613429" y="2578074"/>
                      <a:pt x="1610663" y="2574835"/>
                      <a:pt x="1606792" y="2573216"/>
                    </a:cubicBezTo>
                    <a:cubicBezTo>
                      <a:pt x="1604026" y="2572676"/>
                      <a:pt x="1592964" y="2569978"/>
                      <a:pt x="1590752" y="2570517"/>
                    </a:cubicBezTo>
                    <a:cubicBezTo>
                      <a:pt x="1588540" y="2571057"/>
                      <a:pt x="1585774" y="2574835"/>
                      <a:pt x="1584115" y="2575375"/>
                    </a:cubicBezTo>
                    <a:cubicBezTo>
                      <a:pt x="1581903" y="2575915"/>
                      <a:pt x="1575265" y="2572676"/>
                      <a:pt x="1574159" y="2571057"/>
                    </a:cubicBezTo>
                    <a:cubicBezTo>
                      <a:pt x="1570841" y="2567819"/>
                      <a:pt x="1569181" y="2564041"/>
                      <a:pt x="1566969" y="2560802"/>
                    </a:cubicBezTo>
                    <a:cubicBezTo>
                      <a:pt x="1565863" y="2559723"/>
                      <a:pt x="1559779" y="2553786"/>
                      <a:pt x="1559779" y="2553246"/>
                    </a:cubicBezTo>
                    <a:cubicBezTo>
                      <a:pt x="1559226" y="2550008"/>
                      <a:pt x="1562544" y="2551087"/>
                      <a:pt x="1564204" y="2551087"/>
                    </a:cubicBezTo>
                    <a:cubicBezTo>
                      <a:pt x="1566416" y="2550008"/>
                      <a:pt x="1572500" y="2549468"/>
                      <a:pt x="1576372" y="2545150"/>
                    </a:cubicBezTo>
                    <a:cubicBezTo>
                      <a:pt x="1581349" y="2539753"/>
                      <a:pt x="1584115" y="2527879"/>
                      <a:pt x="1591305" y="2525181"/>
                    </a:cubicBezTo>
                    <a:cubicBezTo>
                      <a:pt x="1592411" y="2525181"/>
                      <a:pt x="1595177" y="2524641"/>
                      <a:pt x="1595730" y="2525181"/>
                    </a:cubicBezTo>
                    <a:cubicBezTo>
                      <a:pt x="1596836" y="2525720"/>
                      <a:pt x="1596836" y="2527340"/>
                      <a:pt x="1597942" y="2528419"/>
                    </a:cubicBezTo>
                    <a:cubicBezTo>
                      <a:pt x="1601814" y="2531657"/>
                      <a:pt x="1610110" y="2527340"/>
                      <a:pt x="1613429" y="2524101"/>
                    </a:cubicBezTo>
                    <a:cubicBezTo>
                      <a:pt x="1613982" y="2523022"/>
                      <a:pt x="1615088" y="2520863"/>
                      <a:pt x="1615088" y="2519244"/>
                    </a:cubicBezTo>
                    <a:cubicBezTo>
                      <a:pt x="1617300" y="2510608"/>
                      <a:pt x="1596283" y="2520863"/>
                      <a:pt x="1597942" y="2511688"/>
                    </a:cubicBezTo>
                    <a:cubicBezTo>
                      <a:pt x="1600708" y="2497115"/>
                      <a:pt x="1608451" y="2501433"/>
                      <a:pt x="1617300" y="2494416"/>
                    </a:cubicBezTo>
                    <a:cubicBezTo>
                      <a:pt x="1626703" y="2486860"/>
                      <a:pt x="1631128" y="2469589"/>
                      <a:pt x="1636659" y="2464732"/>
                    </a:cubicBezTo>
                    <a:cubicBezTo>
                      <a:pt x="1639977" y="2461493"/>
                      <a:pt x="1650486" y="2460954"/>
                      <a:pt x="1651592" y="2456636"/>
                    </a:cubicBezTo>
                    <a:cubicBezTo>
                      <a:pt x="1653804" y="2450699"/>
                      <a:pt x="1648274" y="2447461"/>
                      <a:pt x="1646061" y="2443143"/>
                    </a:cubicBezTo>
                    <a:cubicBezTo>
                      <a:pt x="1644402" y="2440444"/>
                      <a:pt x="1644402" y="2433967"/>
                      <a:pt x="1641083" y="2432348"/>
                    </a:cubicBezTo>
                    <a:cubicBezTo>
                      <a:pt x="1633340" y="2429650"/>
                      <a:pt x="1623384" y="2435047"/>
                      <a:pt x="1618960" y="2440984"/>
                    </a:cubicBezTo>
                    <a:cubicBezTo>
                      <a:pt x="1616747" y="2444222"/>
                      <a:pt x="1616194" y="2448540"/>
                      <a:pt x="1613982" y="2451778"/>
                    </a:cubicBezTo>
                    <a:cubicBezTo>
                      <a:pt x="1611769" y="2455017"/>
                      <a:pt x="1602920" y="2463113"/>
                      <a:pt x="1599601" y="2465271"/>
                    </a:cubicBezTo>
                    <a:cubicBezTo>
                      <a:pt x="1588540" y="2472288"/>
                      <a:pt x="1579137" y="2472828"/>
                      <a:pt x="1569734" y="2483082"/>
                    </a:cubicBezTo>
                    <a:lnTo>
                      <a:pt x="1556460" y="2477145"/>
                    </a:lnTo>
                    <a:lnTo>
                      <a:pt x="1547058" y="2455556"/>
                    </a:lnTo>
                    <a:lnTo>
                      <a:pt x="1548717" y="2437746"/>
                    </a:lnTo>
                    <a:lnTo>
                      <a:pt x="1557566" y="2415617"/>
                    </a:lnTo>
                    <a:lnTo>
                      <a:pt x="1578031" y="2393488"/>
                    </a:lnTo>
                    <a:lnTo>
                      <a:pt x="1598495" y="2360025"/>
                    </a:lnTo>
                    <a:lnTo>
                      <a:pt x="1620619" y="2343834"/>
                    </a:lnTo>
                    <a:lnTo>
                      <a:pt x="1631128" y="2318467"/>
                    </a:lnTo>
                    <a:lnTo>
                      <a:pt x="1629468" y="2307672"/>
                    </a:lnTo>
                    <a:lnTo>
                      <a:pt x="1620066" y="2293639"/>
                    </a:lnTo>
                    <a:lnTo>
                      <a:pt x="1602920" y="2283924"/>
                    </a:lnTo>
                    <a:lnTo>
                      <a:pt x="1597389" y="2275289"/>
                    </a:lnTo>
                    <a:lnTo>
                      <a:pt x="1597389" y="2266114"/>
                    </a:lnTo>
                    <a:lnTo>
                      <a:pt x="1603473" y="2244525"/>
                    </a:lnTo>
                    <a:lnTo>
                      <a:pt x="1587987" y="2242905"/>
                    </a:lnTo>
                    <a:lnTo>
                      <a:pt x="1587433" y="2236429"/>
                    </a:lnTo>
                    <a:lnTo>
                      <a:pt x="1600155" y="2212141"/>
                    </a:lnTo>
                    <a:lnTo>
                      <a:pt x="1596283" y="2187854"/>
                    </a:lnTo>
                    <a:lnTo>
                      <a:pt x="1577478" y="2164646"/>
                    </a:lnTo>
                    <a:lnTo>
                      <a:pt x="1540974" y="2167344"/>
                    </a:lnTo>
                    <a:lnTo>
                      <a:pt x="1504470" y="2160867"/>
                    </a:lnTo>
                    <a:lnTo>
                      <a:pt x="1489536" y="2171662"/>
                    </a:lnTo>
                    <a:lnTo>
                      <a:pt x="1480687" y="2174900"/>
                    </a:lnTo>
                    <a:lnTo>
                      <a:pt x="1447501" y="2173821"/>
                    </a:lnTo>
                    <a:lnTo>
                      <a:pt x="1423718" y="2184076"/>
                    </a:lnTo>
                    <a:lnTo>
                      <a:pt x="1407679" y="2181917"/>
                    </a:lnTo>
                    <a:lnTo>
                      <a:pt x="1399935" y="2194330"/>
                    </a:lnTo>
                    <a:lnTo>
                      <a:pt x="1374493" y="2193791"/>
                    </a:lnTo>
                    <a:lnTo>
                      <a:pt x="1352369" y="2166804"/>
                    </a:lnTo>
                    <a:lnTo>
                      <a:pt x="1335777" y="2174361"/>
                    </a:lnTo>
                    <a:lnTo>
                      <a:pt x="1321396" y="2193251"/>
                    </a:lnTo>
                    <a:lnTo>
                      <a:pt x="1293188" y="2200807"/>
                    </a:lnTo>
                    <a:lnTo>
                      <a:pt x="1245069" y="2197569"/>
                    </a:lnTo>
                    <a:lnTo>
                      <a:pt x="1231242" y="2206744"/>
                    </a:lnTo>
                    <a:lnTo>
                      <a:pt x="1211884" y="2197029"/>
                    </a:lnTo>
                    <a:lnTo>
                      <a:pt x="1186995" y="2150073"/>
                    </a:lnTo>
                    <a:lnTo>
                      <a:pt x="1151597" y="2138739"/>
                    </a:lnTo>
                    <a:lnTo>
                      <a:pt x="1123942" y="2147374"/>
                    </a:lnTo>
                    <a:lnTo>
                      <a:pt x="1092416" y="2145216"/>
                    </a:lnTo>
                    <a:lnTo>
                      <a:pt x="1082460" y="2132802"/>
                    </a:lnTo>
                    <a:lnTo>
                      <a:pt x="1076929" y="2110134"/>
                    </a:lnTo>
                    <a:lnTo>
                      <a:pt x="1075823" y="2080449"/>
                    </a:lnTo>
                    <a:lnTo>
                      <a:pt x="1068633" y="2069654"/>
                    </a:lnTo>
                    <a:lnTo>
                      <a:pt x="1058677" y="2064257"/>
                    </a:lnTo>
                    <a:lnTo>
                      <a:pt x="1047616" y="2037811"/>
                    </a:lnTo>
                    <a:lnTo>
                      <a:pt x="1031023" y="2034032"/>
                    </a:lnTo>
                    <a:lnTo>
                      <a:pt x="1023833" y="2028095"/>
                    </a:lnTo>
                    <a:lnTo>
                      <a:pt x="1007793" y="2041589"/>
                    </a:lnTo>
                    <a:lnTo>
                      <a:pt x="981245" y="2043747"/>
                    </a:lnTo>
                    <a:lnTo>
                      <a:pt x="972395" y="2058320"/>
                    </a:lnTo>
                    <a:lnTo>
                      <a:pt x="962439" y="2065876"/>
                    </a:lnTo>
                    <a:lnTo>
                      <a:pt x="930913" y="2073432"/>
                    </a:lnTo>
                    <a:lnTo>
                      <a:pt x="921511" y="2110673"/>
                    </a:lnTo>
                    <a:lnTo>
                      <a:pt x="910449" y="2105816"/>
                    </a:lnTo>
                    <a:lnTo>
                      <a:pt x="885560" y="2109054"/>
                    </a:lnTo>
                    <a:lnTo>
                      <a:pt x="881135" y="2088545"/>
                    </a:lnTo>
                    <a:lnTo>
                      <a:pt x="868414" y="2077750"/>
                    </a:lnTo>
                    <a:lnTo>
                      <a:pt x="857905" y="2055082"/>
                    </a:lnTo>
                    <a:lnTo>
                      <a:pt x="854586" y="2023778"/>
                    </a:lnTo>
                    <a:lnTo>
                      <a:pt x="842418" y="2004348"/>
                    </a:lnTo>
                    <a:lnTo>
                      <a:pt x="840206" y="1989775"/>
                    </a:lnTo>
                    <a:lnTo>
                      <a:pt x="858458" y="1980060"/>
                    </a:lnTo>
                    <a:lnTo>
                      <a:pt x="879476" y="1977362"/>
                    </a:lnTo>
                    <a:lnTo>
                      <a:pt x="893856" y="1968726"/>
                    </a:lnTo>
                    <a:lnTo>
                      <a:pt x="899940" y="1940660"/>
                    </a:lnTo>
                    <a:lnTo>
                      <a:pt x="875051" y="1911515"/>
                    </a:lnTo>
                    <a:lnTo>
                      <a:pt x="860117" y="1914214"/>
                    </a:lnTo>
                    <a:lnTo>
                      <a:pt x="855140" y="1923929"/>
                    </a:lnTo>
                    <a:lnTo>
                      <a:pt x="833569" y="1937962"/>
                    </a:lnTo>
                    <a:lnTo>
                      <a:pt x="820848" y="1925548"/>
                    </a:lnTo>
                    <a:cubicBezTo>
                      <a:pt x="816423" y="1917992"/>
                      <a:pt x="818082" y="1903419"/>
                      <a:pt x="820848" y="1895863"/>
                    </a:cubicBezTo>
                    <a:cubicBezTo>
                      <a:pt x="821401" y="1894244"/>
                      <a:pt x="823060" y="1892625"/>
                      <a:pt x="824166" y="1891546"/>
                    </a:cubicBezTo>
                    <a:lnTo>
                      <a:pt x="786556" y="1879672"/>
                    </a:lnTo>
                    <a:lnTo>
                      <a:pt x="769963" y="1863480"/>
                    </a:lnTo>
                    <a:lnTo>
                      <a:pt x="755030" y="1832716"/>
                    </a:lnTo>
                    <a:lnTo>
                      <a:pt x="734565" y="1826779"/>
                    </a:lnTo>
                    <a:lnTo>
                      <a:pt x="725163" y="1820302"/>
                    </a:lnTo>
                    <a:lnTo>
                      <a:pt x="722397" y="1811666"/>
                    </a:lnTo>
                    <a:lnTo>
                      <a:pt x="722951" y="1788998"/>
                    </a:lnTo>
                    <a:lnTo>
                      <a:pt x="704145" y="1771727"/>
                    </a:lnTo>
                    <a:lnTo>
                      <a:pt x="697508" y="1735026"/>
                    </a:lnTo>
                    <a:lnTo>
                      <a:pt x="646071" y="1725850"/>
                    </a:lnTo>
                    <a:lnTo>
                      <a:pt x="627819" y="1732867"/>
                    </a:lnTo>
                    <a:lnTo>
                      <a:pt x="606801" y="1757694"/>
                    </a:lnTo>
                    <a:lnTo>
                      <a:pt x="597952" y="1754996"/>
                    </a:lnTo>
                    <a:lnTo>
                      <a:pt x="597399" y="1728549"/>
                    </a:lnTo>
                    <a:lnTo>
                      <a:pt x="568638" y="1728009"/>
                    </a:lnTo>
                    <a:lnTo>
                      <a:pt x="555364" y="1739883"/>
                    </a:lnTo>
                    <a:lnTo>
                      <a:pt x="545961" y="1724231"/>
                    </a:lnTo>
                    <a:lnTo>
                      <a:pt x="531028" y="1729629"/>
                    </a:lnTo>
                    <a:lnTo>
                      <a:pt x="525497" y="1740963"/>
                    </a:lnTo>
                    <a:lnTo>
                      <a:pt x="507798" y="1735026"/>
                    </a:lnTo>
                    <a:lnTo>
                      <a:pt x="507798" y="1714516"/>
                    </a:lnTo>
                    <a:lnTo>
                      <a:pt x="494524" y="1698864"/>
                    </a:lnTo>
                    <a:lnTo>
                      <a:pt x="479590" y="1692388"/>
                    </a:lnTo>
                    <a:lnTo>
                      <a:pt x="470187" y="1667021"/>
                    </a:lnTo>
                    <a:lnTo>
                      <a:pt x="463550" y="1658385"/>
                    </a:lnTo>
                    <a:lnTo>
                      <a:pt x="448064" y="1664862"/>
                    </a:lnTo>
                    <a:lnTo>
                      <a:pt x="438108" y="1652448"/>
                    </a:lnTo>
                    <a:lnTo>
                      <a:pt x="449723" y="1629780"/>
                    </a:lnTo>
                    <a:lnTo>
                      <a:pt x="452489" y="1613588"/>
                    </a:lnTo>
                    <a:lnTo>
                      <a:pt x="428153" y="1610889"/>
                    </a:lnTo>
                    <a:lnTo>
                      <a:pt x="423728" y="1593079"/>
                    </a:lnTo>
                    <a:lnTo>
                      <a:pt x="403816" y="1589300"/>
                    </a:lnTo>
                    <a:lnTo>
                      <a:pt x="414878" y="1552060"/>
                    </a:lnTo>
                    <a:lnTo>
                      <a:pt x="427599" y="1539106"/>
                    </a:lnTo>
                    <a:lnTo>
                      <a:pt x="419856" y="1531010"/>
                    </a:lnTo>
                    <a:lnTo>
                      <a:pt x="404923" y="1527232"/>
                    </a:lnTo>
                    <a:lnTo>
                      <a:pt x="391648" y="1509421"/>
                    </a:lnTo>
                    <a:lnTo>
                      <a:pt x="368419" y="1444115"/>
                    </a:lnTo>
                    <a:lnTo>
                      <a:pt x="372290" y="1412811"/>
                    </a:lnTo>
                    <a:lnTo>
                      <a:pt x="371184" y="1388523"/>
                    </a:lnTo>
                    <a:lnTo>
                      <a:pt x="386671" y="1375570"/>
                    </a:lnTo>
                    <a:lnTo>
                      <a:pt x="394967" y="1364776"/>
                    </a:lnTo>
                    <a:cubicBezTo>
                      <a:pt x="394967" y="1358839"/>
                      <a:pt x="385564" y="1352362"/>
                      <a:pt x="380033" y="1350203"/>
                    </a:cubicBezTo>
                    <a:cubicBezTo>
                      <a:pt x="377821" y="1349124"/>
                      <a:pt x="375609" y="1350203"/>
                      <a:pt x="371737" y="1350203"/>
                    </a:cubicBezTo>
                    <a:cubicBezTo>
                      <a:pt x="370631" y="1341567"/>
                      <a:pt x="363441" y="1323217"/>
                      <a:pt x="377268" y="1321598"/>
                    </a:cubicBezTo>
                    <a:cubicBezTo>
                      <a:pt x="380033" y="1321598"/>
                      <a:pt x="389989" y="1325915"/>
                      <a:pt x="392202" y="1322677"/>
                    </a:cubicBezTo>
                    <a:cubicBezTo>
                      <a:pt x="393308" y="1319979"/>
                      <a:pt x="391648" y="1308644"/>
                      <a:pt x="394414" y="1307025"/>
                    </a:cubicBezTo>
                    <a:cubicBezTo>
                      <a:pt x="399392" y="1304327"/>
                      <a:pt x="408794" y="1309184"/>
                      <a:pt x="412666" y="1304327"/>
                    </a:cubicBezTo>
                    <a:cubicBezTo>
                      <a:pt x="419303" y="1295691"/>
                      <a:pt x="419856" y="1282198"/>
                      <a:pt x="430365" y="1276801"/>
                    </a:cubicBezTo>
                    <a:cubicBezTo>
                      <a:pt x="445298" y="1269245"/>
                      <a:pt x="479590" y="1273023"/>
                      <a:pt x="486227" y="1265466"/>
                    </a:cubicBezTo>
                    <a:cubicBezTo>
                      <a:pt x="487333" y="1264387"/>
                      <a:pt x="488440" y="1260609"/>
                      <a:pt x="488993" y="1258990"/>
                    </a:cubicBezTo>
                    <a:lnTo>
                      <a:pt x="487886" y="1257371"/>
                    </a:lnTo>
                    <a:cubicBezTo>
                      <a:pt x="482356" y="1256291"/>
                      <a:pt x="476825" y="1256291"/>
                      <a:pt x="471294" y="1254672"/>
                    </a:cubicBezTo>
                    <a:cubicBezTo>
                      <a:pt x="465763" y="1253053"/>
                      <a:pt x="465210" y="1244957"/>
                      <a:pt x="459126" y="1244957"/>
                    </a:cubicBezTo>
                    <a:cubicBezTo>
                      <a:pt x="444745" y="1243878"/>
                      <a:pt x="429259" y="1258990"/>
                      <a:pt x="414325" y="1254132"/>
                    </a:cubicBezTo>
                    <a:cubicBezTo>
                      <a:pt x="408794" y="1252513"/>
                      <a:pt x="404370" y="1242258"/>
                      <a:pt x="399392" y="1239560"/>
                    </a:cubicBezTo>
                    <a:cubicBezTo>
                      <a:pt x="397179" y="1238480"/>
                      <a:pt x="373949" y="1241719"/>
                      <a:pt x="378374" y="1233083"/>
                    </a:cubicBezTo>
                    <a:cubicBezTo>
                      <a:pt x="380033" y="1232543"/>
                      <a:pt x="382799" y="1231464"/>
                      <a:pt x="383352" y="1229305"/>
                    </a:cubicBezTo>
                    <a:cubicBezTo>
                      <a:pt x="385564" y="1223368"/>
                      <a:pt x="378374" y="1203398"/>
                      <a:pt x="371737" y="1202319"/>
                    </a:cubicBezTo>
                    <a:cubicBezTo>
                      <a:pt x="367312" y="1205017"/>
                      <a:pt x="362888" y="1209335"/>
                      <a:pt x="359569" y="1213653"/>
                    </a:cubicBezTo>
                    <a:cubicBezTo>
                      <a:pt x="356251" y="1217971"/>
                      <a:pt x="354591" y="1223368"/>
                      <a:pt x="350720" y="1227146"/>
                    </a:cubicBezTo>
                    <a:cubicBezTo>
                      <a:pt x="349060" y="1229305"/>
                      <a:pt x="339658" y="1236321"/>
                      <a:pt x="336892" y="1237401"/>
                    </a:cubicBezTo>
                    <a:cubicBezTo>
                      <a:pt x="336339" y="1237941"/>
                      <a:pt x="334680" y="1237941"/>
                      <a:pt x="333574" y="1237401"/>
                    </a:cubicBezTo>
                    <a:lnTo>
                      <a:pt x="340211" y="1210415"/>
                    </a:lnTo>
                    <a:lnTo>
                      <a:pt x="347401" y="1198001"/>
                    </a:lnTo>
                    <a:lnTo>
                      <a:pt x="364547" y="1154283"/>
                    </a:lnTo>
                    <a:lnTo>
                      <a:pt x="392202" y="1104089"/>
                    </a:lnTo>
                    <a:lnTo>
                      <a:pt x="413219" y="1039322"/>
                    </a:lnTo>
                    <a:lnTo>
                      <a:pt x="423175" y="992906"/>
                    </a:lnTo>
                    <a:lnTo>
                      <a:pt x="440321" y="954586"/>
                    </a:lnTo>
                    <a:lnTo>
                      <a:pt x="435343" y="902772"/>
                    </a:lnTo>
                    <a:lnTo>
                      <a:pt x="407688" y="881723"/>
                    </a:lnTo>
                    <a:lnTo>
                      <a:pt x="404923" y="875247"/>
                    </a:lnTo>
                    <a:lnTo>
                      <a:pt x="361781" y="870389"/>
                    </a:lnTo>
                    <a:lnTo>
                      <a:pt x="324724" y="836386"/>
                    </a:lnTo>
                    <a:lnTo>
                      <a:pt x="331914" y="825592"/>
                    </a:lnTo>
                    <a:lnTo>
                      <a:pt x="336892" y="798606"/>
                    </a:lnTo>
                    <a:lnTo>
                      <a:pt x="334127" y="787811"/>
                    </a:lnTo>
                    <a:lnTo>
                      <a:pt x="329702" y="780795"/>
                    </a:lnTo>
                    <a:lnTo>
                      <a:pt x="298729" y="766762"/>
                    </a:lnTo>
                    <a:lnTo>
                      <a:pt x="290433" y="746253"/>
                    </a:lnTo>
                    <a:lnTo>
                      <a:pt x="293198" y="735458"/>
                    </a:lnTo>
                    <a:lnTo>
                      <a:pt x="286561" y="727902"/>
                    </a:lnTo>
                    <a:lnTo>
                      <a:pt x="269415" y="728442"/>
                    </a:lnTo>
                    <a:lnTo>
                      <a:pt x="260566" y="719266"/>
                    </a:lnTo>
                    <a:lnTo>
                      <a:pt x="254482" y="700916"/>
                    </a:lnTo>
                    <a:lnTo>
                      <a:pt x="260566" y="684724"/>
                    </a:lnTo>
                    <a:lnTo>
                      <a:pt x="242314" y="682026"/>
                    </a:lnTo>
                    <a:lnTo>
                      <a:pt x="238995" y="648563"/>
                    </a:lnTo>
                    <a:lnTo>
                      <a:pt x="232911" y="636149"/>
                    </a:lnTo>
                    <a:lnTo>
                      <a:pt x="248951" y="623196"/>
                    </a:lnTo>
                    <a:lnTo>
                      <a:pt x="224615" y="584336"/>
                    </a:lnTo>
                    <a:lnTo>
                      <a:pt x="189770" y="555191"/>
                    </a:lnTo>
                    <a:lnTo>
                      <a:pt x="155478" y="518489"/>
                    </a:lnTo>
                    <a:lnTo>
                      <a:pt x="146629" y="503377"/>
                    </a:lnTo>
                    <a:lnTo>
                      <a:pt x="158797" y="447786"/>
                    </a:lnTo>
                    <a:lnTo>
                      <a:pt x="160456" y="415942"/>
                    </a:lnTo>
                    <a:lnTo>
                      <a:pt x="157137" y="405148"/>
                    </a:lnTo>
                    <a:lnTo>
                      <a:pt x="127270" y="391115"/>
                    </a:lnTo>
                    <a:lnTo>
                      <a:pt x="110678" y="374383"/>
                    </a:lnTo>
                    <a:lnTo>
                      <a:pt x="76386" y="367907"/>
                    </a:lnTo>
                    <a:lnTo>
                      <a:pt x="55368" y="332285"/>
                    </a:lnTo>
                    <a:lnTo>
                      <a:pt x="53709" y="294504"/>
                    </a:lnTo>
                    <a:lnTo>
                      <a:pt x="41541" y="295584"/>
                    </a:lnTo>
                    <a:cubicBezTo>
                      <a:pt x="41541" y="284249"/>
                      <a:pt x="49838" y="284789"/>
                      <a:pt x="58134" y="281011"/>
                    </a:cubicBezTo>
                    <a:cubicBezTo>
                      <a:pt x="71408" y="274534"/>
                      <a:pt x="70302" y="260502"/>
                      <a:pt x="65324" y="249167"/>
                    </a:cubicBezTo>
                    <a:cubicBezTo>
                      <a:pt x="64771" y="247548"/>
                      <a:pt x="63112" y="245389"/>
                      <a:pt x="62559" y="243231"/>
                    </a:cubicBezTo>
                    <a:cubicBezTo>
                      <a:pt x="62006" y="240532"/>
                      <a:pt x="62006" y="235674"/>
                      <a:pt x="64218" y="232976"/>
                    </a:cubicBezTo>
                    <a:cubicBezTo>
                      <a:pt x="67536" y="228658"/>
                      <a:pt x="75833" y="225420"/>
                      <a:pt x="80258" y="221642"/>
                    </a:cubicBezTo>
                    <a:cubicBezTo>
                      <a:pt x="86895" y="216244"/>
                      <a:pt x="91873" y="204910"/>
                      <a:pt x="92979" y="196814"/>
                    </a:cubicBezTo>
                    <a:lnTo>
                      <a:pt x="102381" y="198973"/>
                    </a:lnTo>
                    <a:lnTo>
                      <a:pt x="108465" y="195735"/>
                    </a:lnTo>
                    <a:lnTo>
                      <a:pt x="110678" y="184940"/>
                    </a:lnTo>
                    <a:lnTo>
                      <a:pt x="109571" y="164971"/>
                    </a:lnTo>
                    <a:close/>
                    <a:moveTo>
                      <a:pt x="154925" y="1951995"/>
                    </a:moveTo>
                    <a:lnTo>
                      <a:pt x="175389" y="1954153"/>
                    </a:lnTo>
                    <a:lnTo>
                      <a:pt x="199725" y="1969805"/>
                    </a:lnTo>
                    <a:lnTo>
                      <a:pt x="200279" y="1977901"/>
                    </a:lnTo>
                    <a:lnTo>
                      <a:pt x="189770" y="1995172"/>
                    </a:lnTo>
                    <a:lnTo>
                      <a:pt x="205256" y="2022159"/>
                    </a:lnTo>
                    <a:lnTo>
                      <a:pt x="193641" y="2032413"/>
                    </a:lnTo>
                    <a:lnTo>
                      <a:pt x="179814" y="2039430"/>
                    </a:lnTo>
                    <a:lnTo>
                      <a:pt x="106806" y="2056161"/>
                    </a:lnTo>
                    <a:lnTo>
                      <a:pt x="34351" y="2063178"/>
                    </a:lnTo>
                    <a:lnTo>
                      <a:pt x="1165" y="2062098"/>
                    </a:lnTo>
                    <a:cubicBezTo>
                      <a:pt x="11121" y="2055621"/>
                      <a:pt x="11121" y="2045367"/>
                      <a:pt x="16652" y="2036731"/>
                    </a:cubicBezTo>
                    <a:cubicBezTo>
                      <a:pt x="19971" y="2032413"/>
                      <a:pt x="28267" y="2027016"/>
                      <a:pt x="28267" y="2021619"/>
                    </a:cubicBezTo>
                    <a:cubicBezTo>
                      <a:pt x="26608" y="2021619"/>
                      <a:pt x="23842" y="2021079"/>
                      <a:pt x="22183" y="2021079"/>
                    </a:cubicBezTo>
                    <a:cubicBezTo>
                      <a:pt x="16099" y="2021619"/>
                      <a:pt x="7803" y="2032413"/>
                      <a:pt x="2825" y="2026476"/>
                    </a:cubicBezTo>
                    <a:lnTo>
                      <a:pt x="1719" y="2025397"/>
                    </a:lnTo>
                    <a:cubicBezTo>
                      <a:pt x="1719" y="2021619"/>
                      <a:pt x="2272" y="2017301"/>
                      <a:pt x="2272" y="2014063"/>
                    </a:cubicBezTo>
                    <a:cubicBezTo>
                      <a:pt x="1165" y="2007046"/>
                      <a:pt x="-4365" y="2001109"/>
                      <a:pt x="2272" y="1995172"/>
                    </a:cubicBezTo>
                    <a:cubicBezTo>
                      <a:pt x="7249" y="1994633"/>
                      <a:pt x="13333" y="1995712"/>
                      <a:pt x="18311" y="1994093"/>
                    </a:cubicBezTo>
                    <a:cubicBezTo>
                      <a:pt x="21077" y="1993013"/>
                      <a:pt x="26608" y="1987616"/>
                      <a:pt x="27714" y="1987077"/>
                    </a:cubicBezTo>
                    <a:cubicBezTo>
                      <a:pt x="31586" y="1985997"/>
                      <a:pt x="36563" y="1982219"/>
                      <a:pt x="38776" y="1978981"/>
                    </a:cubicBezTo>
                    <a:cubicBezTo>
                      <a:pt x="41541" y="1974663"/>
                      <a:pt x="47072" y="1947137"/>
                      <a:pt x="49838" y="1939041"/>
                    </a:cubicBezTo>
                    <a:cubicBezTo>
                      <a:pt x="51497" y="1935263"/>
                      <a:pt x="53156" y="1932025"/>
                      <a:pt x="54815" y="1928247"/>
                    </a:cubicBezTo>
                    <a:cubicBezTo>
                      <a:pt x="55368" y="1927167"/>
                      <a:pt x="55368" y="1923389"/>
                      <a:pt x="56475" y="1922849"/>
                    </a:cubicBezTo>
                    <a:cubicBezTo>
                      <a:pt x="57581" y="1922849"/>
                      <a:pt x="60346" y="1925548"/>
                      <a:pt x="60346" y="1926628"/>
                    </a:cubicBezTo>
                    <a:cubicBezTo>
                      <a:pt x="60346" y="1929326"/>
                      <a:pt x="56475" y="1947677"/>
                      <a:pt x="55368" y="1950915"/>
                    </a:cubicBezTo>
                    <a:cubicBezTo>
                      <a:pt x="54815" y="1954153"/>
                      <a:pt x="51497" y="1956312"/>
                      <a:pt x="50944" y="1959011"/>
                    </a:cubicBezTo>
                    <a:cubicBezTo>
                      <a:pt x="50391" y="1962789"/>
                      <a:pt x="49838" y="1981140"/>
                      <a:pt x="50391" y="1983838"/>
                    </a:cubicBezTo>
                    <a:cubicBezTo>
                      <a:pt x="50944" y="1984918"/>
                      <a:pt x="54262" y="1987077"/>
                      <a:pt x="55368" y="1987077"/>
                    </a:cubicBezTo>
                    <a:cubicBezTo>
                      <a:pt x="59793" y="1989235"/>
                      <a:pt x="69196" y="1987077"/>
                      <a:pt x="73621" y="1984918"/>
                    </a:cubicBezTo>
                    <a:cubicBezTo>
                      <a:pt x="92426" y="1977901"/>
                      <a:pt x="76939" y="1968186"/>
                      <a:pt x="75833" y="1959011"/>
                    </a:cubicBezTo>
                    <a:cubicBezTo>
                      <a:pt x="75280" y="1951995"/>
                      <a:pt x="80258" y="1944978"/>
                      <a:pt x="78598" y="1938501"/>
                    </a:cubicBezTo>
                    <a:cubicBezTo>
                      <a:pt x="91319" y="1940660"/>
                      <a:pt x="96297" y="1940660"/>
                      <a:pt x="100722" y="1942279"/>
                    </a:cubicBezTo>
                    <a:cubicBezTo>
                      <a:pt x="105700" y="1944438"/>
                      <a:pt x="109018" y="1949296"/>
                      <a:pt x="113996" y="1950915"/>
                    </a:cubicBezTo>
                    <a:cubicBezTo>
                      <a:pt x="127824" y="1955773"/>
                      <a:pt x="141098" y="1955233"/>
                      <a:pt x="154925" y="1951995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6" name="Freeform 1058">
                <a:extLst>
                  <a:ext uri="{FF2B5EF4-FFF2-40B4-BE49-F238E27FC236}">
                    <a16:creationId xmlns:a16="http://schemas.microsoft.com/office/drawing/2014/main" id="{9E3286AE-2662-46A7-8B69-A7E1298F9E1F}"/>
                  </a:ext>
                </a:extLst>
              </p:cNvPr>
              <p:cNvSpPr/>
              <p:nvPr/>
            </p:nvSpPr>
            <p:spPr>
              <a:xfrm>
                <a:off x="7242012" y="3931010"/>
                <a:ext cx="790989" cy="583298"/>
              </a:xfrm>
              <a:custGeom>
                <a:avLst/>
                <a:gdLst>
                  <a:gd name="connsiteX0" fmla="*/ 215421 w 790989"/>
                  <a:gd name="connsiteY0" fmla="*/ 90150 h 583298"/>
                  <a:gd name="connsiteX1" fmla="*/ 249160 w 790989"/>
                  <a:gd name="connsiteY1" fmla="*/ 92849 h 583298"/>
                  <a:gd name="connsiteX2" fmla="*/ 294513 w 790989"/>
                  <a:gd name="connsiteY2" fmla="*/ 86372 h 583298"/>
                  <a:gd name="connsiteX3" fmla="*/ 324933 w 790989"/>
                  <a:gd name="connsiteY3" fmla="*/ 105802 h 583298"/>
                  <a:gd name="connsiteX4" fmla="*/ 342079 w 790989"/>
                  <a:gd name="connsiteY4" fmla="*/ 98246 h 583298"/>
                  <a:gd name="connsiteX5" fmla="*/ 361437 w 790989"/>
                  <a:gd name="connsiteY5" fmla="*/ 68021 h 583298"/>
                  <a:gd name="connsiteX6" fmla="*/ 417853 w 790989"/>
                  <a:gd name="connsiteY6" fmla="*/ 48052 h 583298"/>
                  <a:gd name="connsiteX7" fmla="*/ 423937 w 790989"/>
                  <a:gd name="connsiteY7" fmla="*/ 17287 h 583298"/>
                  <a:gd name="connsiteX8" fmla="*/ 452144 w 790989"/>
                  <a:gd name="connsiteY8" fmla="*/ 1096 h 583298"/>
                  <a:gd name="connsiteX9" fmla="*/ 467631 w 790989"/>
                  <a:gd name="connsiteY9" fmla="*/ 1096 h 583298"/>
                  <a:gd name="connsiteX10" fmla="*/ 478140 w 790989"/>
                  <a:gd name="connsiteY10" fmla="*/ 3794 h 583298"/>
                  <a:gd name="connsiteX11" fmla="*/ 522387 w 790989"/>
                  <a:gd name="connsiteY11" fmla="*/ 52369 h 583298"/>
                  <a:gd name="connsiteX12" fmla="*/ 541745 w 790989"/>
                  <a:gd name="connsiteY12" fmla="*/ 70180 h 583298"/>
                  <a:gd name="connsiteX13" fmla="*/ 545064 w 790989"/>
                  <a:gd name="connsiteY13" fmla="*/ 80975 h 583298"/>
                  <a:gd name="connsiteX14" fmla="*/ 564975 w 790989"/>
                  <a:gd name="connsiteY14" fmla="*/ 100944 h 583298"/>
                  <a:gd name="connsiteX15" fmla="*/ 572165 w 790989"/>
                  <a:gd name="connsiteY15" fmla="*/ 111199 h 583298"/>
                  <a:gd name="connsiteX16" fmla="*/ 614754 w 790989"/>
                  <a:gd name="connsiteY16" fmla="*/ 138725 h 583298"/>
                  <a:gd name="connsiteX17" fmla="*/ 616413 w 790989"/>
                  <a:gd name="connsiteY17" fmla="*/ 145742 h 583298"/>
                  <a:gd name="connsiteX18" fmla="*/ 624709 w 790989"/>
                  <a:gd name="connsiteY18" fmla="*/ 177045 h 583298"/>
                  <a:gd name="connsiteX19" fmla="*/ 626922 w 790989"/>
                  <a:gd name="connsiteY19" fmla="*/ 218604 h 583298"/>
                  <a:gd name="connsiteX20" fmla="*/ 639643 w 790989"/>
                  <a:gd name="connsiteY20" fmla="*/ 262861 h 583298"/>
                  <a:gd name="connsiteX21" fmla="*/ 643514 w 790989"/>
                  <a:gd name="connsiteY21" fmla="*/ 287149 h 583298"/>
                  <a:gd name="connsiteX22" fmla="*/ 656789 w 790989"/>
                  <a:gd name="connsiteY22" fmla="*/ 296864 h 583298"/>
                  <a:gd name="connsiteX23" fmla="*/ 661766 w 790989"/>
                  <a:gd name="connsiteY23" fmla="*/ 301722 h 583298"/>
                  <a:gd name="connsiteX24" fmla="*/ 697164 w 790989"/>
                  <a:gd name="connsiteY24" fmla="*/ 311976 h 583298"/>
                  <a:gd name="connsiteX25" fmla="*/ 766854 w 790989"/>
                  <a:gd name="connsiteY25" fmla="*/ 273116 h 583298"/>
                  <a:gd name="connsiteX26" fmla="*/ 781234 w 790989"/>
                  <a:gd name="connsiteY26" fmla="*/ 283911 h 583298"/>
                  <a:gd name="connsiteX27" fmla="*/ 780128 w 790989"/>
                  <a:gd name="connsiteY27" fmla="*/ 285530 h 583298"/>
                  <a:gd name="connsiteX28" fmla="*/ 790084 w 790989"/>
                  <a:gd name="connsiteY28" fmla="*/ 315754 h 583298"/>
                  <a:gd name="connsiteX29" fmla="*/ 786212 w 790989"/>
                  <a:gd name="connsiteY29" fmla="*/ 330327 h 583298"/>
                  <a:gd name="connsiteX30" fmla="*/ 769066 w 790989"/>
                  <a:gd name="connsiteY30" fmla="*/ 340042 h 583298"/>
                  <a:gd name="connsiteX31" fmla="*/ 756898 w 790989"/>
                  <a:gd name="connsiteY31" fmla="*/ 349757 h 583298"/>
                  <a:gd name="connsiteX32" fmla="*/ 744177 w 790989"/>
                  <a:gd name="connsiteY32" fmla="*/ 362171 h 583298"/>
                  <a:gd name="connsiteX33" fmla="*/ 746943 w 790989"/>
                  <a:gd name="connsiteY33" fmla="*/ 346519 h 583298"/>
                  <a:gd name="connsiteX34" fmla="*/ 741412 w 790989"/>
                  <a:gd name="connsiteY34" fmla="*/ 337883 h 583298"/>
                  <a:gd name="connsiteX35" fmla="*/ 740305 w 790989"/>
                  <a:gd name="connsiteY35" fmla="*/ 329247 h 583298"/>
                  <a:gd name="connsiteX36" fmla="*/ 732009 w 790989"/>
                  <a:gd name="connsiteY36" fmla="*/ 329247 h 583298"/>
                  <a:gd name="connsiteX37" fmla="*/ 724266 w 790989"/>
                  <a:gd name="connsiteY37" fmla="*/ 347058 h 583298"/>
                  <a:gd name="connsiteX38" fmla="*/ 732009 w 790989"/>
                  <a:gd name="connsiteY38" fmla="*/ 355154 h 583298"/>
                  <a:gd name="connsiteX39" fmla="*/ 726478 w 790989"/>
                  <a:gd name="connsiteY39" fmla="*/ 374584 h 583298"/>
                  <a:gd name="connsiteX40" fmla="*/ 737540 w 790989"/>
                  <a:gd name="connsiteY40" fmla="*/ 386458 h 583298"/>
                  <a:gd name="connsiteX41" fmla="*/ 727031 w 790989"/>
                  <a:gd name="connsiteY41" fmla="*/ 425858 h 583298"/>
                  <a:gd name="connsiteX42" fmla="*/ 734221 w 790989"/>
                  <a:gd name="connsiteY42" fmla="*/ 444748 h 583298"/>
                  <a:gd name="connsiteX43" fmla="*/ 739199 w 790989"/>
                  <a:gd name="connsiteY43" fmla="*/ 488466 h 583298"/>
                  <a:gd name="connsiteX44" fmla="*/ 734221 w 790989"/>
                  <a:gd name="connsiteY44" fmla="*/ 490085 h 583298"/>
                  <a:gd name="connsiteX45" fmla="*/ 708779 w 790989"/>
                  <a:gd name="connsiteY45" fmla="*/ 493863 h 583298"/>
                  <a:gd name="connsiteX46" fmla="*/ 686102 w 790989"/>
                  <a:gd name="connsiteY46" fmla="*/ 486307 h 583298"/>
                  <a:gd name="connsiteX47" fmla="*/ 678359 w 790989"/>
                  <a:gd name="connsiteY47" fmla="*/ 474433 h 583298"/>
                  <a:gd name="connsiteX48" fmla="*/ 665638 w 790989"/>
                  <a:gd name="connsiteY48" fmla="*/ 483608 h 583298"/>
                  <a:gd name="connsiteX49" fmla="*/ 650151 w 790989"/>
                  <a:gd name="connsiteY49" fmla="*/ 474433 h 583298"/>
                  <a:gd name="connsiteX50" fmla="*/ 630240 w 790989"/>
                  <a:gd name="connsiteY50" fmla="*/ 481449 h 583298"/>
                  <a:gd name="connsiteX51" fmla="*/ 613647 w 790989"/>
                  <a:gd name="connsiteY51" fmla="*/ 469036 h 583298"/>
                  <a:gd name="connsiteX52" fmla="*/ 595948 w 790989"/>
                  <a:gd name="connsiteY52" fmla="*/ 472814 h 583298"/>
                  <a:gd name="connsiteX53" fmla="*/ 564975 w 790989"/>
                  <a:gd name="connsiteY53" fmla="*/ 490085 h 583298"/>
                  <a:gd name="connsiteX54" fmla="*/ 528471 w 790989"/>
                  <a:gd name="connsiteY54" fmla="*/ 510055 h 583298"/>
                  <a:gd name="connsiteX55" fmla="*/ 521834 w 790989"/>
                  <a:gd name="connsiteY55" fmla="*/ 517611 h 583298"/>
                  <a:gd name="connsiteX56" fmla="*/ 482011 w 790989"/>
                  <a:gd name="connsiteY56" fmla="*/ 567805 h 583298"/>
                  <a:gd name="connsiteX57" fmla="*/ 468184 w 790989"/>
                  <a:gd name="connsiteY57" fmla="*/ 569964 h 583298"/>
                  <a:gd name="connsiteX58" fmla="*/ 438317 w 790989"/>
                  <a:gd name="connsiteY58" fmla="*/ 566186 h 583298"/>
                  <a:gd name="connsiteX59" fmla="*/ 426702 w 790989"/>
                  <a:gd name="connsiteY59" fmla="*/ 568345 h 583298"/>
                  <a:gd name="connsiteX60" fmla="*/ 419512 w 790989"/>
                  <a:gd name="connsiteY60" fmla="*/ 568345 h 583298"/>
                  <a:gd name="connsiteX61" fmla="*/ 391857 w 790989"/>
                  <a:gd name="connsiteY61" fmla="*/ 573742 h 583298"/>
                  <a:gd name="connsiteX62" fmla="*/ 376371 w 790989"/>
                  <a:gd name="connsiteY62" fmla="*/ 580759 h 583298"/>
                  <a:gd name="connsiteX63" fmla="*/ 313318 w 790989"/>
                  <a:gd name="connsiteY63" fmla="*/ 575361 h 583298"/>
                  <a:gd name="connsiteX64" fmla="*/ 297832 w 790989"/>
                  <a:gd name="connsiteY64" fmla="*/ 578600 h 583298"/>
                  <a:gd name="connsiteX65" fmla="*/ 285664 w 790989"/>
                  <a:gd name="connsiteY65" fmla="*/ 579139 h 583298"/>
                  <a:gd name="connsiteX66" fmla="*/ 276814 w 790989"/>
                  <a:gd name="connsiteY66" fmla="*/ 579679 h 583298"/>
                  <a:gd name="connsiteX67" fmla="*/ 270730 w 790989"/>
                  <a:gd name="connsiteY67" fmla="*/ 582917 h 583298"/>
                  <a:gd name="connsiteX68" fmla="*/ 259115 w 790989"/>
                  <a:gd name="connsiteY68" fmla="*/ 580219 h 583298"/>
                  <a:gd name="connsiteX69" fmla="*/ 261328 w 790989"/>
                  <a:gd name="connsiteY69" fmla="*/ 555392 h 583298"/>
                  <a:gd name="connsiteX70" fmla="*/ 227589 w 790989"/>
                  <a:gd name="connsiteY70" fmla="*/ 544057 h 583298"/>
                  <a:gd name="connsiteX71" fmla="*/ 212656 w 790989"/>
                  <a:gd name="connsiteY71" fmla="*/ 527326 h 583298"/>
                  <a:gd name="connsiteX72" fmla="*/ 214868 w 790989"/>
                  <a:gd name="connsiteY72" fmla="*/ 516531 h 583298"/>
                  <a:gd name="connsiteX73" fmla="*/ 223164 w 790989"/>
                  <a:gd name="connsiteY73" fmla="*/ 512214 h 583298"/>
                  <a:gd name="connsiteX74" fmla="*/ 220399 w 790989"/>
                  <a:gd name="connsiteY74" fmla="*/ 502499 h 583298"/>
                  <a:gd name="connsiteX75" fmla="*/ 208231 w 790989"/>
                  <a:gd name="connsiteY75" fmla="*/ 498721 h 583298"/>
                  <a:gd name="connsiteX76" fmla="*/ 178364 w 790989"/>
                  <a:gd name="connsiteY76" fmla="*/ 526246 h 583298"/>
                  <a:gd name="connsiteX77" fmla="*/ 168961 w 790989"/>
                  <a:gd name="connsiteY77" fmla="*/ 518151 h 583298"/>
                  <a:gd name="connsiteX78" fmla="*/ 138541 w 790989"/>
                  <a:gd name="connsiteY78" fmla="*/ 512753 h 583298"/>
                  <a:gd name="connsiteX79" fmla="*/ 120289 w 790989"/>
                  <a:gd name="connsiteY79" fmla="*/ 505197 h 583298"/>
                  <a:gd name="connsiteX80" fmla="*/ 114205 w 790989"/>
                  <a:gd name="connsiteY80" fmla="*/ 465797 h 583298"/>
                  <a:gd name="connsiteX81" fmla="*/ 85998 w 790989"/>
                  <a:gd name="connsiteY81" fmla="*/ 447987 h 583298"/>
                  <a:gd name="connsiteX82" fmla="*/ 65533 w 790989"/>
                  <a:gd name="connsiteY82" fmla="*/ 440430 h 583298"/>
                  <a:gd name="connsiteX83" fmla="*/ 52259 w 790989"/>
                  <a:gd name="connsiteY83" fmla="*/ 430715 h 583298"/>
                  <a:gd name="connsiteX84" fmla="*/ 48387 w 790989"/>
                  <a:gd name="connsiteY84" fmla="*/ 419381 h 583298"/>
                  <a:gd name="connsiteX85" fmla="*/ 47834 w 790989"/>
                  <a:gd name="connsiteY85" fmla="*/ 403190 h 583298"/>
                  <a:gd name="connsiteX86" fmla="*/ 41750 w 790989"/>
                  <a:gd name="connsiteY86" fmla="*/ 402110 h 583298"/>
                  <a:gd name="connsiteX87" fmla="*/ 37879 w 790989"/>
                  <a:gd name="connsiteY87" fmla="*/ 397253 h 583298"/>
                  <a:gd name="connsiteX88" fmla="*/ 16308 w 790989"/>
                  <a:gd name="connsiteY88" fmla="*/ 388617 h 583298"/>
                  <a:gd name="connsiteX89" fmla="*/ 5799 w 790989"/>
                  <a:gd name="connsiteY89" fmla="*/ 381061 h 583298"/>
                  <a:gd name="connsiteX90" fmla="*/ -838 w 790989"/>
                  <a:gd name="connsiteY90" fmla="*/ 365949 h 583298"/>
                  <a:gd name="connsiteX91" fmla="*/ 11330 w 790989"/>
                  <a:gd name="connsiteY91" fmla="*/ 356773 h 583298"/>
                  <a:gd name="connsiteX92" fmla="*/ 24051 w 790989"/>
                  <a:gd name="connsiteY92" fmla="*/ 356234 h 583298"/>
                  <a:gd name="connsiteX93" fmla="*/ 32348 w 790989"/>
                  <a:gd name="connsiteY93" fmla="*/ 342201 h 583298"/>
                  <a:gd name="connsiteX94" fmla="*/ 56684 w 790989"/>
                  <a:gd name="connsiteY94" fmla="*/ 337343 h 583298"/>
                  <a:gd name="connsiteX95" fmla="*/ 87657 w 790989"/>
                  <a:gd name="connsiteY95" fmla="*/ 255305 h 583298"/>
                  <a:gd name="connsiteX96" fmla="*/ 94847 w 790989"/>
                  <a:gd name="connsiteY96" fmla="*/ 214286 h 583298"/>
                  <a:gd name="connsiteX97" fmla="*/ 108674 w 790989"/>
                  <a:gd name="connsiteY97" fmla="*/ 193237 h 583298"/>
                  <a:gd name="connsiteX98" fmla="*/ 102037 w 790989"/>
                  <a:gd name="connsiteY98" fmla="*/ 175426 h 583298"/>
                  <a:gd name="connsiteX99" fmla="*/ 116418 w 790989"/>
                  <a:gd name="connsiteY99" fmla="*/ 152218 h 583298"/>
                  <a:gd name="connsiteX100" fmla="*/ 139094 w 790989"/>
                  <a:gd name="connsiteY100" fmla="*/ 133868 h 583298"/>
                  <a:gd name="connsiteX101" fmla="*/ 155134 w 790989"/>
                  <a:gd name="connsiteY101" fmla="*/ 129010 h 583298"/>
                  <a:gd name="connsiteX102" fmla="*/ 163984 w 790989"/>
                  <a:gd name="connsiteY102" fmla="*/ 105802 h 583298"/>
                  <a:gd name="connsiteX103" fmla="*/ 191638 w 790989"/>
                  <a:gd name="connsiteY103" fmla="*/ 93928 h 583298"/>
                  <a:gd name="connsiteX104" fmla="*/ 213209 w 790989"/>
                  <a:gd name="connsiteY104" fmla="*/ 97166 h 583298"/>
                  <a:gd name="connsiteX105" fmla="*/ 215421 w 790989"/>
                  <a:gd name="connsiteY105" fmla="*/ 90150 h 583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790989" h="583298">
                    <a:moveTo>
                      <a:pt x="215421" y="90150"/>
                    </a:moveTo>
                    <a:cubicBezTo>
                      <a:pt x="224824" y="91769"/>
                      <a:pt x="240863" y="90150"/>
                      <a:pt x="249160" y="92849"/>
                    </a:cubicBezTo>
                    <a:lnTo>
                      <a:pt x="294513" y="86372"/>
                    </a:lnTo>
                    <a:lnTo>
                      <a:pt x="324933" y="105802"/>
                    </a:lnTo>
                    <a:lnTo>
                      <a:pt x="342079" y="98246"/>
                    </a:lnTo>
                    <a:lnTo>
                      <a:pt x="361437" y="68021"/>
                    </a:lnTo>
                    <a:lnTo>
                      <a:pt x="417853" y="48052"/>
                    </a:lnTo>
                    <a:lnTo>
                      <a:pt x="423937" y="17287"/>
                    </a:lnTo>
                    <a:cubicBezTo>
                      <a:pt x="434999" y="17287"/>
                      <a:pt x="443295" y="7033"/>
                      <a:pt x="452144" y="1096"/>
                    </a:cubicBezTo>
                    <a:cubicBezTo>
                      <a:pt x="457122" y="-1603"/>
                      <a:pt x="462653" y="16"/>
                      <a:pt x="467631" y="1096"/>
                    </a:cubicBezTo>
                    <a:cubicBezTo>
                      <a:pt x="470950" y="2175"/>
                      <a:pt x="474821" y="2175"/>
                      <a:pt x="478140" y="3794"/>
                    </a:cubicBezTo>
                    <a:cubicBezTo>
                      <a:pt x="494179" y="10271"/>
                      <a:pt x="510219" y="39956"/>
                      <a:pt x="522387" y="52369"/>
                    </a:cubicBezTo>
                    <a:cubicBezTo>
                      <a:pt x="528471" y="58846"/>
                      <a:pt x="537321" y="62084"/>
                      <a:pt x="541745" y="70180"/>
                    </a:cubicBezTo>
                    <a:cubicBezTo>
                      <a:pt x="543405" y="73419"/>
                      <a:pt x="543405" y="77197"/>
                      <a:pt x="545064" y="80975"/>
                    </a:cubicBezTo>
                    <a:cubicBezTo>
                      <a:pt x="550595" y="91229"/>
                      <a:pt x="557785" y="93388"/>
                      <a:pt x="564975" y="100944"/>
                    </a:cubicBezTo>
                    <a:cubicBezTo>
                      <a:pt x="567741" y="103643"/>
                      <a:pt x="569400" y="107961"/>
                      <a:pt x="572165" y="111199"/>
                    </a:cubicBezTo>
                    <a:cubicBezTo>
                      <a:pt x="579356" y="118755"/>
                      <a:pt x="600926" y="106881"/>
                      <a:pt x="614754" y="138725"/>
                    </a:cubicBezTo>
                    <a:cubicBezTo>
                      <a:pt x="615860" y="140884"/>
                      <a:pt x="616413" y="143583"/>
                      <a:pt x="616413" y="145742"/>
                    </a:cubicBezTo>
                    <a:cubicBezTo>
                      <a:pt x="618072" y="157615"/>
                      <a:pt x="623050" y="163552"/>
                      <a:pt x="624709" y="177045"/>
                    </a:cubicBezTo>
                    <a:cubicBezTo>
                      <a:pt x="626368" y="191078"/>
                      <a:pt x="624156" y="205111"/>
                      <a:pt x="626922" y="218604"/>
                    </a:cubicBezTo>
                    <a:cubicBezTo>
                      <a:pt x="629687" y="233177"/>
                      <a:pt x="636877" y="247749"/>
                      <a:pt x="639643" y="262861"/>
                    </a:cubicBezTo>
                    <a:cubicBezTo>
                      <a:pt x="641302" y="270418"/>
                      <a:pt x="637983" y="280133"/>
                      <a:pt x="643514" y="287149"/>
                    </a:cubicBezTo>
                    <a:cubicBezTo>
                      <a:pt x="645727" y="289848"/>
                      <a:pt x="653470" y="294705"/>
                      <a:pt x="656789" y="296864"/>
                    </a:cubicBezTo>
                    <a:cubicBezTo>
                      <a:pt x="658448" y="296324"/>
                      <a:pt x="660107" y="300102"/>
                      <a:pt x="661766" y="301722"/>
                    </a:cubicBezTo>
                    <a:cubicBezTo>
                      <a:pt x="673381" y="315215"/>
                      <a:pt x="680571" y="314675"/>
                      <a:pt x="697164" y="311976"/>
                    </a:cubicBezTo>
                    <a:cubicBezTo>
                      <a:pt x="712651" y="296324"/>
                      <a:pt x="741965" y="263401"/>
                      <a:pt x="766854" y="273116"/>
                    </a:cubicBezTo>
                    <a:cubicBezTo>
                      <a:pt x="771832" y="275275"/>
                      <a:pt x="777363" y="280672"/>
                      <a:pt x="781234" y="283911"/>
                    </a:cubicBezTo>
                    <a:lnTo>
                      <a:pt x="780128" y="285530"/>
                    </a:lnTo>
                    <a:cubicBezTo>
                      <a:pt x="778469" y="293626"/>
                      <a:pt x="791190" y="302801"/>
                      <a:pt x="790084" y="315754"/>
                    </a:cubicBezTo>
                    <a:cubicBezTo>
                      <a:pt x="788978" y="321152"/>
                      <a:pt x="787318" y="324930"/>
                      <a:pt x="786212" y="330327"/>
                    </a:cubicBezTo>
                    <a:cubicBezTo>
                      <a:pt x="780128" y="338962"/>
                      <a:pt x="776256" y="336264"/>
                      <a:pt x="769066" y="340042"/>
                    </a:cubicBezTo>
                    <a:cubicBezTo>
                      <a:pt x="766301" y="341661"/>
                      <a:pt x="758557" y="347598"/>
                      <a:pt x="756898" y="349757"/>
                    </a:cubicBezTo>
                    <a:cubicBezTo>
                      <a:pt x="755239" y="351916"/>
                      <a:pt x="746943" y="369727"/>
                      <a:pt x="744177" y="362171"/>
                    </a:cubicBezTo>
                    <a:cubicBezTo>
                      <a:pt x="741412" y="356773"/>
                      <a:pt x="747496" y="350836"/>
                      <a:pt x="746943" y="346519"/>
                    </a:cubicBezTo>
                    <a:cubicBezTo>
                      <a:pt x="746943" y="343820"/>
                      <a:pt x="742518" y="340582"/>
                      <a:pt x="741412" y="337883"/>
                    </a:cubicBezTo>
                    <a:cubicBezTo>
                      <a:pt x="740859" y="335184"/>
                      <a:pt x="742518" y="331406"/>
                      <a:pt x="740305" y="329247"/>
                    </a:cubicBezTo>
                    <a:cubicBezTo>
                      <a:pt x="738646" y="328708"/>
                      <a:pt x="734221" y="328168"/>
                      <a:pt x="732009" y="329247"/>
                    </a:cubicBezTo>
                    <a:cubicBezTo>
                      <a:pt x="727584" y="331946"/>
                      <a:pt x="722606" y="342201"/>
                      <a:pt x="724266" y="347058"/>
                    </a:cubicBezTo>
                    <a:cubicBezTo>
                      <a:pt x="724819" y="349217"/>
                      <a:pt x="732009" y="352995"/>
                      <a:pt x="732009" y="355154"/>
                    </a:cubicBezTo>
                    <a:cubicBezTo>
                      <a:pt x="732562" y="358392"/>
                      <a:pt x="724819" y="364329"/>
                      <a:pt x="726478" y="374584"/>
                    </a:cubicBezTo>
                    <a:cubicBezTo>
                      <a:pt x="727584" y="379981"/>
                      <a:pt x="738093" y="379981"/>
                      <a:pt x="737540" y="386458"/>
                    </a:cubicBezTo>
                    <a:cubicBezTo>
                      <a:pt x="735881" y="398872"/>
                      <a:pt x="724819" y="413444"/>
                      <a:pt x="727031" y="425858"/>
                    </a:cubicBezTo>
                    <a:cubicBezTo>
                      <a:pt x="728137" y="432335"/>
                      <a:pt x="732009" y="438811"/>
                      <a:pt x="734221" y="444748"/>
                    </a:cubicBezTo>
                    <a:cubicBezTo>
                      <a:pt x="738646" y="458781"/>
                      <a:pt x="738646" y="473893"/>
                      <a:pt x="739199" y="488466"/>
                    </a:cubicBezTo>
                    <a:lnTo>
                      <a:pt x="734221" y="490085"/>
                    </a:lnTo>
                    <a:lnTo>
                      <a:pt x="708779" y="493863"/>
                    </a:lnTo>
                    <a:lnTo>
                      <a:pt x="686102" y="486307"/>
                    </a:lnTo>
                    <a:lnTo>
                      <a:pt x="678359" y="474433"/>
                    </a:lnTo>
                    <a:lnTo>
                      <a:pt x="665638" y="483608"/>
                    </a:lnTo>
                    <a:lnTo>
                      <a:pt x="650151" y="474433"/>
                    </a:lnTo>
                    <a:lnTo>
                      <a:pt x="630240" y="481449"/>
                    </a:lnTo>
                    <a:lnTo>
                      <a:pt x="613647" y="469036"/>
                    </a:lnTo>
                    <a:cubicBezTo>
                      <a:pt x="607563" y="470115"/>
                      <a:pt x="602032" y="472274"/>
                      <a:pt x="595948" y="472814"/>
                    </a:cubicBezTo>
                    <a:cubicBezTo>
                      <a:pt x="595395" y="473354"/>
                      <a:pt x="568847" y="487926"/>
                      <a:pt x="564975" y="490085"/>
                    </a:cubicBezTo>
                    <a:cubicBezTo>
                      <a:pt x="552254" y="496562"/>
                      <a:pt x="539533" y="500879"/>
                      <a:pt x="528471" y="510055"/>
                    </a:cubicBezTo>
                    <a:cubicBezTo>
                      <a:pt x="525706" y="512214"/>
                      <a:pt x="523493" y="514912"/>
                      <a:pt x="521834" y="517611"/>
                    </a:cubicBezTo>
                    <a:cubicBezTo>
                      <a:pt x="510219" y="539740"/>
                      <a:pt x="510772" y="559709"/>
                      <a:pt x="482011" y="567805"/>
                    </a:cubicBezTo>
                    <a:cubicBezTo>
                      <a:pt x="478140" y="568885"/>
                      <a:pt x="472609" y="569964"/>
                      <a:pt x="468184" y="569964"/>
                    </a:cubicBezTo>
                    <a:cubicBezTo>
                      <a:pt x="458228" y="569424"/>
                      <a:pt x="448273" y="566726"/>
                      <a:pt x="438317" y="566186"/>
                    </a:cubicBezTo>
                    <a:cubicBezTo>
                      <a:pt x="433339" y="565646"/>
                      <a:pt x="431127" y="567265"/>
                      <a:pt x="426702" y="568345"/>
                    </a:cubicBezTo>
                    <a:cubicBezTo>
                      <a:pt x="425043" y="568885"/>
                      <a:pt x="421171" y="568345"/>
                      <a:pt x="419512" y="568345"/>
                    </a:cubicBezTo>
                    <a:cubicBezTo>
                      <a:pt x="413428" y="567805"/>
                      <a:pt x="397941" y="571583"/>
                      <a:pt x="391857" y="573742"/>
                    </a:cubicBezTo>
                    <a:cubicBezTo>
                      <a:pt x="385773" y="575901"/>
                      <a:pt x="383561" y="581298"/>
                      <a:pt x="376371" y="580759"/>
                    </a:cubicBezTo>
                    <a:cubicBezTo>
                      <a:pt x="355353" y="579679"/>
                      <a:pt x="334336" y="575901"/>
                      <a:pt x="313318" y="575361"/>
                    </a:cubicBezTo>
                    <a:cubicBezTo>
                      <a:pt x="308341" y="575361"/>
                      <a:pt x="303363" y="578060"/>
                      <a:pt x="297832" y="578600"/>
                    </a:cubicBezTo>
                    <a:cubicBezTo>
                      <a:pt x="293960" y="579139"/>
                      <a:pt x="289535" y="578600"/>
                      <a:pt x="285664" y="579139"/>
                    </a:cubicBezTo>
                    <a:cubicBezTo>
                      <a:pt x="282898" y="579139"/>
                      <a:pt x="279580" y="579139"/>
                      <a:pt x="276814" y="579679"/>
                    </a:cubicBezTo>
                    <a:cubicBezTo>
                      <a:pt x="274602" y="580759"/>
                      <a:pt x="272943" y="582917"/>
                      <a:pt x="270730" y="582917"/>
                    </a:cubicBezTo>
                    <a:cubicBezTo>
                      <a:pt x="267965" y="582917"/>
                      <a:pt x="261881" y="581298"/>
                      <a:pt x="259115" y="580219"/>
                    </a:cubicBezTo>
                    <a:cubicBezTo>
                      <a:pt x="251925" y="576980"/>
                      <a:pt x="264093" y="562408"/>
                      <a:pt x="261328" y="555392"/>
                    </a:cubicBezTo>
                    <a:cubicBezTo>
                      <a:pt x="258009" y="546216"/>
                      <a:pt x="235885" y="545137"/>
                      <a:pt x="227589" y="544057"/>
                    </a:cubicBezTo>
                    <a:cubicBezTo>
                      <a:pt x="223164" y="541898"/>
                      <a:pt x="214868" y="531644"/>
                      <a:pt x="212656" y="527326"/>
                    </a:cubicBezTo>
                    <a:cubicBezTo>
                      <a:pt x="212103" y="525707"/>
                      <a:pt x="213762" y="518151"/>
                      <a:pt x="214868" y="516531"/>
                    </a:cubicBezTo>
                    <a:cubicBezTo>
                      <a:pt x="217080" y="514912"/>
                      <a:pt x="221505" y="513833"/>
                      <a:pt x="223164" y="512214"/>
                    </a:cubicBezTo>
                    <a:cubicBezTo>
                      <a:pt x="225377" y="510055"/>
                      <a:pt x="222611" y="504118"/>
                      <a:pt x="220399" y="502499"/>
                    </a:cubicBezTo>
                    <a:cubicBezTo>
                      <a:pt x="218187" y="500340"/>
                      <a:pt x="210996" y="498721"/>
                      <a:pt x="208231" y="498721"/>
                    </a:cubicBezTo>
                    <a:cubicBezTo>
                      <a:pt x="180576" y="498721"/>
                      <a:pt x="193297" y="521929"/>
                      <a:pt x="178364" y="526246"/>
                    </a:cubicBezTo>
                    <a:cubicBezTo>
                      <a:pt x="175045" y="527326"/>
                      <a:pt x="171727" y="519770"/>
                      <a:pt x="168961" y="518151"/>
                    </a:cubicBezTo>
                    <a:cubicBezTo>
                      <a:pt x="159559" y="512214"/>
                      <a:pt x="148497" y="514373"/>
                      <a:pt x="138541" y="512753"/>
                    </a:cubicBezTo>
                    <a:cubicBezTo>
                      <a:pt x="130798" y="511134"/>
                      <a:pt x="126926" y="507896"/>
                      <a:pt x="120289" y="505197"/>
                    </a:cubicBezTo>
                    <a:lnTo>
                      <a:pt x="114205" y="465797"/>
                    </a:lnTo>
                    <a:lnTo>
                      <a:pt x="85998" y="447987"/>
                    </a:lnTo>
                    <a:lnTo>
                      <a:pt x="65533" y="440430"/>
                    </a:lnTo>
                    <a:lnTo>
                      <a:pt x="52259" y="430715"/>
                    </a:lnTo>
                    <a:lnTo>
                      <a:pt x="48387" y="419381"/>
                    </a:lnTo>
                    <a:lnTo>
                      <a:pt x="47834" y="403190"/>
                    </a:lnTo>
                    <a:lnTo>
                      <a:pt x="41750" y="402110"/>
                    </a:lnTo>
                    <a:lnTo>
                      <a:pt x="37879" y="397253"/>
                    </a:lnTo>
                    <a:lnTo>
                      <a:pt x="16308" y="388617"/>
                    </a:lnTo>
                    <a:lnTo>
                      <a:pt x="5799" y="381061"/>
                    </a:lnTo>
                    <a:lnTo>
                      <a:pt x="-838" y="365949"/>
                    </a:lnTo>
                    <a:lnTo>
                      <a:pt x="11330" y="356773"/>
                    </a:lnTo>
                    <a:lnTo>
                      <a:pt x="24051" y="356234"/>
                    </a:lnTo>
                    <a:lnTo>
                      <a:pt x="32348" y="342201"/>
                    </a:lnTo>
                    <a:lnTo>
                      <a:pt x="56684" y="337343"/>
                    </a:lnTo>
                    <a:lnTo>
                      <a:pt x="87657" y="255305"/>
                    </a:lnTo>
                    <a:lnTo>
                      <a:pt x="94847" y="214286"/>
                    </a:lnTo>
                    <a:lnTo>
                      <a:pt x="108674" y="193237"/>
                    </a:lnTo>
                    <a:lnTo>
                      <a:pt x="102037" y="175426"/>
                    </a:lnTo>
                    <a:lnTo>
                      <a:pt x="116418" y="152218"/>
                    </a:lnTo>
                    <a:lnTo>
                      <a:pt x="139094" y="133868"/>
                    </a:lnTo>
                    <a:lnTo>
                      <a:pt x="155134" y="129010"/>
                    </a:lnTo>
                    <a:lnTo>
                      <a:pt x="163984" y="105802"/>
                    </a:lnTo>
                    <a:lnTo>
                      <a:pt x="191638" y="93928"/>
                    </a:lnTo>
                    <a:lnTo>
                      <a:pt x="213209" y="97166"/>
                    </a:lnTo>
                    <a:lnTo>
                      <a:pt x="215421" y="9015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7" name="Freeform 1059">
                <a:extLst>
                  <a:ext uri="{FF2B5EF4-FFF2-40B4-BE49-F238E27FC236}">
                    <a16:creationId xmlns:a16="http://schemas.microsoft.com/office/drawing/2014/main" id="{D2F13233-C616-4859-BC20-B8AA335F1A6F}"/>
                  </a:ext>
                </a:extLst>
              </p:cNvPr>
              <p:cNvSpPr/>
              <p:nvPr/>
            </p:nvSpPr>
            <p:spPr>
              <a:xfrm>
                <a:off x="3666633" y="4716705"/>
                <a:ext cx="1269538" cy="899735"/>
              </a:xfrm>
              <a:custGeom>
                <a:avLst/>
                <a:gdLst>
                  <a:gd name="connsiteX0" fmla="*/ 1060049 w 1269538"/>
                  <a:gd name="connsiteY0" fmla="*/ 548936 h 899735"/>
                  <a:gd name="connsiteX1" fmla="*/ 1067239 w 1269538"/>
                  <a:gd name="connsiteY1" fmla="*/ 588336 h 899735"/>
                  <a:gd name="connsiteX2" fmla="*/ 1052306 w 1269538"/>
                  <a:gd name="connsiteY2" fmla="*/ 589955 h 899735"/>
                  <a:gd name="connsiteX3" fmla="*/ 1047881 w 1269538"/>
                  <a:gd name="connsiteY3" fmla="*/ 593194 h 899735"/>
                  <a:gd name="connsiteX4" fmla="*/ 1020226 w 1269538"/>
                  <a:gd name="connsiteY4" fmla="*/ 604528 h 899735"/>
                  <a:gd name="connsiteX5" fmla="*/ 985382 w 1269538"/>
                  <a:gd name="connsiteY5" fmla="*/ 585098 h 899735"/>
                  <a:gd name="connsiteX6" fmla="*/ 971001 w 1269538"/>
                  <a:gd name="connsiteY6" fmla="*/ 584018 h 899735"/>
                  <a:gd name="connsiteX7" fmla="*/ 957727 w 1269538"/>
                  <a:gd name="connsiteY7" fmla="*/ 577002 h 899735"/>
                  <a:gd name="connsiteX8" fmla="*/ 942240 w 1269538"/>
                  <a:gd name="connsiteY8" fmla="*/ 576462 h 899735"/>
                  <a:gd name="connsiteX9" fmla="*/ 914033 w 1269538"/>
                  <a:gd name="connsiteY9" fmla="*/ 581859 h 899735"/>
                  <a:gd name="connsiteX10" fmla="*/ 910714 w 1269538"/>
                  <a:gd name="connsiteY10" fmla="*/ 573764 h 899735"/>
                  <a:gd name="connsiteX11" fmla="*/ 912373 w 1269538"/>
                  <a:gd name="connsiteY11" fmla="*/ 563509 h 899735"/>
                  <a:gd name="connsiteX12" fmla="*/ 934497 w 1269538"/>
                  <a:gd name="connsiteY12" fmla="*/ 542460 h 899735"/>
                  <a:gd name="connsiteX13" fmla="*/ 939475 w 1269538"/>
                  <a:gd name="connsiteY13" fmla="*/ 530586 h 899735"/>
                  <a:gd name="connsiteX14" fmla="*/ 948877 w 1269538"/>
                  <a:gd name="connsiteY14" fmla="*/ 485249 h 899735"/>
                  <a:gd name="connsiteX15" fmla="*/ 943900 w 1269538"/>
                  <a:gd name="connsiteY15" fmla="*/ 471216 h 899735"/>
                  <a:gd name="connsiteX16" fmla="*/ 953855 w 1269538"/>
                  <a:gd name="connsiteY16" fmla="*/ 452326 h 899735"/>
                  <a:gd name="connsiteX17" fmla="*/ 958833 w 1269538"/>
                  <a:gd name="connsiteY17" fmla="*/ 423181 h 899735"/>
                  <a:gd name="connsiteX18" fmla="*/ 980404 w 1269538"/>
                  <a:gd name="connsiteY18" fmla="*/ 423721 h 899735"/>
                  <a:gd name="connsiteX19" fmla="*/ 972107 w 1269538"/>
                  <a:gd name="connsiteY19" fmla="*/ 408608 h 899735"/>
                  <a:gd name="connsiteX20" fmla="*/ 962705 w 1269538"/>
                  <a:gd name="connsiteY20" fmla="*/ 409688 h 899735"/>
                  <a:gd name="connsiteX21" fmla="*/ 951090 w 1269538"/>
                  <a:gd name="connsiteY21" fmla="*/ 405910 h 899735"/>
                  <a:gd name="connsiteX22" fmla="*/ 926201 w 1269538"/>
                  <a:gd name="connsiteY22" fmla="*/ 412926 h 899735"/>
                  <a:gd name="connsiteX23" fmla="*/ 925095 w 1269538"/>
                  <a:gd name="connsiteY23" fmla="*/ 411307 h 899735"/>
                  <a:gd name="connsiteX24" fmla="*/ 923988 w 1269538"/>
                  <a:gd name="connsiteY24" fmla="*/ 393496 h 899735"/>
                  <a:gd name="connsiteX25" fmla="*/ 921223 w 1269538"/>
                  <a:gd name="connsiteY25" fmla="*/ 391337 h 899735"/>
                  <a:gd name="connsiteX26" fmla="*/ 921776 w 1269538"/>
                  <a:gd name="connsiteY26" fmla="*/ 389718 h 899735"/>
                  <a:gd name="connsiteX27" fmla="*/ 943900 w 1269538"/>
                  <a:gd name="connsiteY27" fmla="*/ 385400 h 899735"/>
                  <a:gd name="connsiteX28" fmla="*/ 958280 w 1269538"/>
                  <a:gd name="connsiteY28" fmla="*/ 378384 h 899735"/>
                  <a:gd name="connsiteX29" fmla="*/ 959386 w 1269538"/>
                  <a:gd name="connsiteY29" fmla="*/ 358414 h 899735"/>
                  <a:gd name="connsiteX30" fmla="*/ 982063 w 1269538"/>
                  <a:gd name="connsiteY30" fmla="*/ 345461 h 899735"/>
                  <a:gd name="connsiteX31" fmla="*/ 980404 w 1269538"/>
                  <a:gd name="connsiteY31" fmla="*/ 343841 h 899735"/>
                  <a:gd name="connsiteX32" fmla="*/ 937816 w 1269538"/>
                  <a:gd name="connsiteY32" fmla="*/ 372447 h 899735"/>
                  <a:gd name="connsiteX33" fmla="*/ 926201 w 1269538"/>
                  <a:gd name="connsiteY33" fmla="*/ 376765 h 899735"/>
                  <a:gd name="connsiteX34" fmla="*/ 914586 w 1269538"/>
                  <a:gd name="connsiteY34" fmla="*/ 375145 h 899735"/>
                  <a:gd name="connsiteX35" fmla="*/ 922882 w 1269538"/>
                  <a:gd name="connsiteY35" fmla="*/ 335746 h 899735"/>
                  <a:gd name="connsiteX36" fmla="*/ 928413 w 1269538"/>
                  <a:gd name="connsiteY36" fmla="*/ 313077 h 899735"/>
                  <a:gd name="connsiteX37" fmla="*/ 929519 w 1269538"/>
                  <a:gd name="connsiteY37" fmla="*/ 301203 h 899735"/>
                  <a:gd name="connsiteX38" fmla="*/ 946112 w 1269538"/>
                  <a:gd name="connsiteY38" fmla="*/ 297965 h 899735"/>
                  <a:gd name="connsiteX39" fmla="*/ 949984 w 1269538"/>
                  <a:gd name="connsiteY39" fmla="*/ 294187 h 899735"/>
                  <a:gd name="connsiteX40" fmla="*/ 962705 w 1269538"/>
                  <a:gd name="connsiteY40" fmla="*/ 273138 h 899735"/>
                  <a:gd name="connsiteX41" fmla="*/ 971554 w 1269538"/>
                  <a:gd name="connsiteY41" fmla="*/ 263423 h 899735"/>
                  <a:gd name="connsiteX42" fmla="*/ 989253 w 1269538"/>
                  <a:gd name="connsiteY42" fmla="*/ 232658 h 899735"/>
                  <a:gd name="connsiteX43" fmla="*/ 1003634 w 1269538"/>
                  <a:gd name="connsiteY43" fmla="*/ 227261 h 899735"/>
                  <a:gd name="connsiteX44" fmla="*/ 1004740 w 1269538"/>
                  <a:gd name="connsiteY44" fmla="*/ 221864 h 899735"/>
                  <a:gd name="connsiteX45" fmla="*/ 996443 w 1269538"/>
                  <a:gd name="connsiteY45" fmla="*/ 212689 h 899735"/>
                  <a:gd name="connsiteX46" fmla="*/ 998656 w 1269538"/>
                  <a:gd name="connsiteY46" fmla="*/ 201355 h 899735"/>
                  <a:gd name="connsiteX47" fmla="*/ 1001421 w 1269538"/>
                  <a:gd name="connsiteY47" fmla="*/ 198656 h 899735"/>
                  <a:gd name="connsiteX48" fmla="*/ 1004187 w 1269538"/>
                  <a:gd name="connsiteY48" fmla="*/ 192179 h 899735"/>
                  <a:gd name="connsiteX49" fmla="*/ 1018567 w 1269538"/>
                  <a:gd name="connsiteY49" fmla="*/ 168971 h 899735"/>
                  <a:gd name="connsiteX50" fmla="*/ 1034054 w 1269538"/>
                  <a:gd name="connsiteY50" fmla="*/ 160336 h 899735"/>
                  <a:gd name="connsiteX51" fmla="*/ 1036819 w 1269538"/>
                  <a:gd name="connsiteY51" fmla="*/ 147922 h 899735"/>
                  <a:gd name="connsiteX52" fmla="*/ 1039031 w 1269538"/>
                  <a:gd name="connsiteY52" fmla="*/ 144144 h 899735"/>
                  <a:gd name="connsiteX53" fmla="*/ 1037372 w 1269538"/>
                  <a:gd name="connsiteY53" fmla="*/ 141445 h 899735"/>
                  <a:gd name="connsiteX54" fmla="*/ 1022992 w 1269538"/>
                  <a:gd name="connsiteY54" fmla="*/ 156557 h 899735"/>
                  <a:gd name="connsiteX55" fmla="*/ 1032947 w 1269538"/>
                  <a:gd name="connsiteY55" fmla="*/ 136048 h 899735"/>
                  <a:gd name="connsiteX56" fmla="*/ 1036266 w 1269538"/>
                  <a:gd name="connsiteY56" fmla="*/ 126873 h 899735"/>
                  <a:gd name="connsiteX57" fmla="*/ 1040138 w 1269538"/>
                  <a:gd name="connsiteY57" fmla="*/ 110141 h 899735"/>
                  <a:gd name="connsiteX58" fmla="*/ 1034054 w 1269538"/>
                  <a:gd name="connsiteY58" fmla="*/ 87473 h 899735"/>
                  <a:gd name="connsiteX59" fmla="*/ 1037372 w 1269538"/>
                  <a:gd name="connsiteY59" fmla="*/ 55629 h 899735"/>
                  <a:gd name="connsiteX60" fmla="*/ 1035160 w 1269538"/>
                  <a:gd name="connsiteY60" fmla="*/ 28103 h 899735"/>
                  <a:gd name="connsiteX61" fmla="*/ 1052859 w 1269538"/>
                  <a:gd name="connsiteY61" fmla="*/ 12991 h 899735"/>
                  <a:gd name="connsiteX62" fmla="*/ 1100978 w 1269538"/>
                  <a:gd name="connsiteY62" fmla="*/ -502 h 899735"/>
                  <a:gd name="connsiteX63" fmla="*/ 1107615 w 1269538"/>
                  <a:gd name="connsiteY63" fmla="*/ 13531 h 899735"/>
                  <a:gd name="connsiteX64" fmla="*/ 1096000 w 1269538"/>
                  <a:gd name="connsiteY64" fmla="*/ 29723 h 899735"/>
                  <a:gd name="connsiteX65" fmla="*/ 1103190 w 1269538"/>
                  <a:gd name="connsiteY65" fmla="*/ 39977 h 899735"/>
                  <a:gd name="connsiteX66" fmla="*/ 1111487 w 1269538"/>
                  <a:gd name="connsiteY66" fmla="*/ 41057 h 899735"/>
                  <a:gd name="connsiteX67" fmla="*/ 1125867 w 1269538"/>
                  <a:gd name="connsiteY67" fmla="*/ 30802 h 899735"/>
                  <a:gd name="connsiteX68" fmla="*/ 1126420 w 1269538"/>
                  <a:gd name="connsiteY68" fmla="*/ 39438 h 899735"/>
                  <a:gd name="connsiteX69" fmla="*/ 1140247 w 1269538"/>
                  <a:gd name="connsiteY69" fmla="*/ 36739 h 899735"/>
                  <a:gd name="connsiteX70" fmla="*/ 1159052 w 1269538"/>
                  <a:gd name="connsiteY70" fmla="*/ 45374 h 899735"/>
                  <a:gd name="connsiteX71" fmla="*/ 1165690 w 1269538"/>
                  <a:gd name="connsiteY71" fmla="*/ 52931 h 899735"/>
                  <a:gd name="connsiteX72" fmla="*/ 1187260 w 1269538"/>
                  <a:gd name="connsiteY72" fmla="*/ 45914 h 899735"/>
                  <a:gd name="connsiteX73" fmla="*/ 1192238 w 1269538"/>
                  <a:gd name="connsiteY73" fmla="*/ 40517 h 899735"/>
                  <a:gd name="connsiteX74" fmla="*/ 1204959 w 1269538"/>
                  <a:gd name="connsiteY74" fmla="*/ 43755 h 899735"/>
                  <a:gd name="connsiteX75" fmla="*/ 1212702 w 1269538"/>
                  <a:gd name="connsiteY75" fmla="*/ 45374 h 899735"/>
                  <a:gd name="connsiteX76" fmla="*/ 1225977 w 1269538"/>
                  <a:gd name="connsiteY76" fmla="*/ 43755 h 899735"/>
                  <a:gd name="connsiteX77" fmla="*/ 1231508 w 1269538"/>
                  <a:gd name="connsiteY77" fmla="*/ 51311 h 899735"/>
                  <a:gd name="connsiteX78" fmla="*/ 1248100 w 1269538"/>
                  <a:gd name="connsiteY78" fmla="*/ 55629 h 899735"/>
                  <a:gd name="connsiteX79" fmla="*/ 1244782 w 1269538"/>
                  <a:gd name="connsiteY79" fmla="*/ 85314 h 899735"/>
                  <a:gd name="connsiteX80" fmla="*/ 1265246 w 1269538"/>
                  <a:gd name="connsiteY80" fmla="*/ 90172 h 899735"/>
                  <a:gd name="connsiteX81" fmla="*/ 1269118 w 1269538"/>
                  <a:gd name="connsiteY81" fmla="*/ 115539 h 899735"/>
                  <a:gd name="connsiteX82" fmla="*/ 1244229 w 1269538"/>
                  <a:gd name="connsiteY82" fmla="*/ 136588 h 899735"/>
                  <a:gd name="connsiteX83" fmla="*/ 1219893 w 1269538"/>
                  <a:gd name="connsiteY83" fmla="*/ 142525 h 899735"/>
                  <a:gd name="connsiteX84" fmla="*/ 1200534 w 1269538"/>
                  <a:gd name="connsiteY84" fmla="*/ 160875 h 899735"/>
                  <a:gd name="connsiteX85" fmla="*/ 1192238 w 1269538"/>
                  <a:gd name="connsiteY85" fmla="*/ 160336 h 899735"/>
                  <a:gd name="connsiteX86" fmla="*/ 1202194 w 1269538"/>
                  <a:gd name="connsiteY86" fmla="*/ 177607 h 899735"/>
                  <a:gd name="connsiteX87" fmla="*/ 1192791 w 1269538"/>
                  <a:gd name="connsiteY87" fmla="*/ 206752 h 899735"/>
                  <a:gd name="connsiteX88" fmla="*/ 1196663 w 1269538"/>
                  <a:gd name="connsiteY88" fmla="*/ 214848 h 899735"/>
                  <a:gd name="connsiteX89" fmla="*/ 1189473 w 1269538"/>
                  <a:gd name="connsiteY89" fmla="*/ 221324 h 899735"/>
                  <a:gd name="connsiteX90" fmla="*/ 1191132 w 1269538"/>
                  <a:gd name="connsiteY90" fmla="*/ 233198 h 899735"/>
                  <a:gd name="connsiteX91" fmla="*/ 1180623 w 1269538"/>
                  <a:gd name="connsiteY91" fmla="*/ 239135 h 899735"/>
                  <a:gd name="connsiteX92" fmla="*/ 1167902 w 1269538"/>
                  <a:gd name="connsiteY92" fmla="*/ 247231 h 899735"/>
                  <a:gd name="connsiteX93" fmla="*/ 1166243 w 1269538"/>
                  <a:gd name="connsiteY93" fmla="*/ 256406 h 899735"/>
                  <a:gd name="connsiteX94" fmla="*/ 1172327 w 1269538"/>
                  <a:gd name="connsiteY94" fmla="*/ 260724 h 899735"/>
                  <a:gd name="connsiteX95" fmla="*/ 1175645 w 1269538"/>
                  <a:gd name="connsiteY95" fmla="*/ 272058 h 899735"/>
                  <a:gd name="connsiteX96" fmla="*/ 1161818 w 1269538"/>
                  <a:gd name="connsiteY96" fmla="*/ 293647 h 899735"/>
                  <a:gd name="connsiteX97" fmla="*/ 1154628 w 1269538"/>
                  <a:gd name="connsiteY97" fmla="*/ 313077 h 899735"/>
                  <a:gd name="connsiteX98" fmla="*/ 1145778 w 1269538"/>
                  <a:gd name="connsiteY98" fmla="*/ 315236 h 899735"/>
                  <a:gd name="connsiteX99" fmla="*/ 1113146 w 1269538"/>
                  <a:gd name="connsiteY99" fmla="*/ 298505 h 899735"/>
                  <a:gd name="connsiteX100" fmla="*/ 1111487 w 1269538"/>
                  <a:gd name="connsiteY100" fmla="*/ 310918 h 899735"/>
                  <a:gd name="connsiteX101" fmla="*/ 1123102 w 1269538"/>
                  <a:gd name="connsiteY101" fmla="*/ 326570 h 899735"/>
                  <a:gd name="connsiteX102" fmla="*/ 1120336 w 1269538"/>
                  <a:gd name="connsiteY102" fmla="*/ 338984 h 899735"/>
                  <a:gd name="connsiteX103" fmla="*/ 1128079 w 1269538"/>
                  <a:gd name="connsiteY103" fmla="*/ 368669 h 899735"/>
                  <a:gd name="connsiteX104" fmla="*/ 1143013 w 1269538"/>
                  <a:gd name="connsiteY104" fmla="*/ 377844 h 899735"/>
                  <a:gd name="connsiteX105" fmla="*/ 1127526 w 1269538"/>
                  <a:gd name="connsiteY105" fmla="*/ 410227 h 899735"/>
                  <a:gd name="connsiteX106" fmla="*/ 1112593 w 1269538"/>
                  <a:gd name="connsiteY106" fmla="*/ 417244 h 899735"/>
                  <a:gd name="connsiteX107" fmla="*/ 1105403 w 1269538"/>
                  <a:gd name="connsiteY107" fmla="*/ 442071 h 899735"/>
                  <a:gd name="connsiteX108" fmla="*/ 1100425 w 1269538"/>
                  <a:gd name="connsiteY108" fmla="*/ 448008 h 899735"/>
                  <a:gd name="connsiteX109" fmla="*/ 1117018 w 1269538"/>
                  <a:gd name="connsiteY109" fmla="*/ 480391 h 899735"/>
                  <a:gd name="connsiteX110" fmla="*/ 1126420 w 1269538"/>
                  <a:gd name="connsiteY110" fmla="*/ 478772 h 899735"/>
                  <a:gd name="connsiteX111" fmla="*/ 1130292 w 1269538"/>
                  <a:gd name="connsiteY111" fmla="*/ 482550 h 899735"/>
                  <a:gd name="connsiteX112" fmla="*/ 1123102 w 1269538"/>
                  <a:gd name="connsiteY112" fmla="*/ 499282 h 899735"/>
                  <a:gd name="connsiteX113" fmla="*/ 1110380 w 1269538"/>
                  <a:gd name="connsiteY113" fmla="*/ 496043 h 899735"/>
                  <a:gd name="connsiteX114" fmla="*/ 1099872 w 1269538"/>
                  <a:gd name="connsiteY114" fmla="*/ 501441 h 899735"/>
                  <a:gd name="connsiteX115" fmla="*/ 1095447 w 1269538"/>
                  <a:gd name="connsiteY115" fmla="*/ 511695 h 899735"/>
                  <a:gd name="connsiteX116" fmla="*/ 1060049 w 1269538"/>
                  <a:gd name="connsiteY116" fmla="*/ 548936 h 899735"/>
                  <a:gd name="connsiteX117" fmla="*/ 50103 w 1269538"/>
                  <a:gd name="connsiteY117" fmla="*/ 885184 h 899735"/>
                  <a:gd name="connsiteX118" fmla="*/ 32957 w 1269538"/>
                  <a:gd name="connsiteY118" fmla="*/ 877088 h 899735"/>
                  <a:gd name="connsiteX119" fmla="*/ 20236 w 1269538"/>
                  <a:gd name="connsiteY119" fmla="*/ 873310 h 899735"/>
                  <a:gd name="connsiteX120" fmla="*/ 14152 w 1269538"/>
                  <a:gd name="connsiteY120" fmla="*/ 865754 h 899735"/>
                  <a:gd name="connsiteX121" fmla="*/ 2537 w 1269538"/>
                  <a:gd name="connsiteY121" fmla="*/ 866294 h 899735"/>
                  <a:gd name="connsiteX122" fmla="*/ -228 w 1269538"/>
                  <a:gd name="connsiteY122" fmla="*/ 876548 h 899735"/>
                  <a:gd name="connsiteX123" fmla="*/ 3643 w 1269538"/>
                  <a:gd name="connsiteY123" fmla="*/ 884644 h 899735"/>
                  <a:gd name="connsiteX124" fmla="*/ 34063 w 1269538"/>
                  <a:gd name="connsiteY124" fmla="*/ 899217 h 899735"/>
                  <a:gd name="connsiteX125" fmla="*/ 43466 w 1269538"/>
                  <a:gd name="connsiteY125" fmla="*/ 893280 h 899735"/>
                  <a:gd name="connsiteX126" fmla="*/ 53975 w 1269538"/>
                  <a:gd name="connsiteY126" fmla="*/ 887343 h 899735"/>
                  <a:gd name="connsiteX127" fmla="*/ 50103 w 1269538"/>
                  <a:gd name="connsiteY127" fmla="*/ 885184 h 899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1269538" h="899735">
                    <a:moveTo>
                      <a:pt x="1060049" y="548936"/>
                    </a:moveTo>
                    <a:cubicBezTo>
                      <a:pt x="1065027" y="561890"/>
                      <a:pt x="1066133" y="574843"/>
                      <a:pt x="1067239" y="588336"/>
                    </a:cubicBezTo>
                    <a:cubicBezTo>
                      <a:pt x="1064474" y="588336"/>
                      <a:pt x="1054518" y="589416"/>
                      <a:pt x="1052306" y="589955"/>
                    </a:cubicBezTo>
                    <a:cubicBezTo>
                      <a:pt x="1050646" y="590495"/>
                      <a:pt x="1048987" y="592114"/>
                      <a:pt x="1047881" y="593194"/>
                    </a:cubicBezTo>
                    <a:cubicBezTo>
                      <a:pt x="1044562" y="594813"/>
                      <a:pt x="1022992" y="605068"/>
                      <a:pt x="1020226" y="604528"/>
                    </a:cubicBezTo>
                    <a:cubicBezTo>
                      <a:pt x="1004187" y="603988"/>
                      <a:pt x="998103" y="588336"/>
                      <a:pt x="985382" y="585098"/>
                    </a:cubicBezTo>
                    <a:cubicBezTo>
                      <a:pt x="980957" y="584018"/>
                      <a:pt x="975426" y="585098"/>
                      <a:pt x="971001" y="584018"/>
                    </a:cubicBezTo>
                    <a:cubicBezTo>
                      <a:pt x="966023" y="582399"/>
                      <a:pt x="962705" y="578621"/>
                      <a:pt x="957727" y="577002"/>
                    </a:cubicBezTo>
                    <a:cubicBezTo>
                      <a:pt x="954962" y="576462"/>
                      <a:pt x="945559" y="575923"/>
                      <a:pt x="942240" y="576462"/>
                    </a:cubicBezTo>
                    <a:cubicBezTo>
                      <a:pt x="935050" y="578081"/>
                      <a:pt x="921223" y="587796"/>
                      <a:pt x="914033" y="581859"/>
                    </a:cubicBezTo>
                    <a:cubicBezTo>
                      <a:pt x="912927" y="580240"/>
                      <a:pt x="910714" y="575383"/>
                      <a:pt x="910714" y="573764"/>
                    </a:cubicBezTo>
                    <a:cubicBezTo>
                      <a:pt x="910161" y="571605"/>
                      <a:pt x="911820" y="565668"/>
                      <a:pt x="912373" y="563509"/>
                    </a:cubicBezTo>
                    <a:cubicBezTo>
                      <a:pt x="916245" y="553794"/>
                      <a:pt x="927860" y="550016"/>
                      <a:pt x="934497" y="542460"/>
                    </a:cubicBezTo>
                    <a:cubicBezTo>
                      <a:pt x="936156" y="540301"/>
                      <a:pt x="938922" y="533284"/>
                      <a:pt x="939475" y="530586"/>
                    </a:cubicBezTo>
                    <a:cubicBezTo>
                      <a:pt x="941134" y="524109"/>
                      <a:pt x="949431" y="489567"/>
                      <a:pt x="948877" y="485249"/>
                    </a:cubicBezTo>
                    <a:cubicBezTo>
                      <a:pt x="947771" y="480931"/>
                      <a:pt x="943900" y="476074"/>
                      <a:pt x="943900" y="471216"/>
                    </a:cubicBezTo>
                    <a:cubicBezTo>
                      <a:pt x="943347" y="468518"/>
                      <a:pt x="952196" y="456644"/>
                      <a:pt x="953855" y="452326"/>
                    </a:cubicBezTo>
                    <a:cubicBezTo>
                      <a:pt x="959939" y="436134"/>
                      <a:pt x="957727" y="423721"/>
                      <a:pt x="958833" y="423181"/>
                    </a:cubicBezTo>
                    <a:cubicBezTo>
                      <a:pt x="961046" y="421562"/>
                      <a:pt x="977085" y="427499"/>
                      <a:pt x="980404" y="423721"/>
                    </a:cubicBezTo>
                    <a:cubicBezTo>
                      <a:pt x="979851" y="416704"/>
                      <a:pt x="971001" y="419403"/>
                      <a:pt x="972107" y="408608"/>
                    </a:cubicBezTo>
                    <a:cubicBezTo>
                      <a:pt x="969895" y="399973"/>
                      <a:pt x="964364" y="409688"/>
                      <a:pt x="962705" y="409688"/>
                    </a:cubicBezTo>
                    <a:cubicBezTo>
                      <a:pt x="960492" y="409688"/>
                      <a:pt x="953855" y="405370"/>
                      <a:pt x="951090" y="405910"/>
                    </a:cubicBezTo>
                    <a:cubicBezTo>
                      <a:pt x="941687" y="406989"/>
                      <a:pt x="936709" y="416704"/>
                      <a:pt x="926201" y="412926"/>
                    </a:cubicBezTo>
                    <a:lnTo>
                      <a:pt x="925095" y="411307"/>
                    </a:lnTo>
                    <a:cubicBezTo>
                      <a:pt x="925095" y="405370"/>
                      <a:pt x="927860" y="398354"/>
                      <a:pt x="923988" y="393496"/>
                    </a:cubicBezTo>
                    <a:cubicBezTo>
                      <a:pt x="923435" y="392417"/>
                      <a:pt x="922329" y="392417"/>
                      <a:pt x="921223" y="391337"/>
                    </a:cubicBezTo>
                    <a:lnTo>
                      <a:pt x="921776" y="389718"/>
                    </a:lnTo>
                    <a:cubicBezTo>
                      <a:pt x="928413" y="381622"/>
                      <a:pt x="936156" y="387019"/>
                      <a:pt x="943900" y="385400"/>
                    </a:cubicBezTo>
                    <a:cubicBezTo>
                      <a:pt x="947218" y="384860"/>
                      <a:pt x="956621" y="381082"/>
                      <a:pt x="958280" y="378384"/>
                    </a:cubicBezTo>
                    <a:cubicBezTo>
                      <a:pt x="961046" y="373526"/>
                      <a:pt x="957727" y="363272"/>
                      <a:pt x="959386" y="358414"/>
                    </a:cubicBezTo>
                    <a:cubicBezTo>
                      <a:pt x="962152" y="350858"/>
                      <a:pt x="982616" y="355715"/>
                      <a:pt x="982063" y="345461"/>
                    </a:cubicBezTo>
                    <a:lnTo>
                      <a:pt x="980404" y="343841"/>
                    </a:lnTo>
                    <a:cubicBezTo>
                      <a:pt x="941687" y="340603"/>
                      <a:pt x="948324" y="367050"/>
                      <a:pt x="937816" y="372447"/>
                    </a:cubicBezTo>
                    <a:cubicBezTo>
                      <a:pt x="935603" y="373526"/>
                      <a:pt x="928413" y="376765"/>
                      <a:pt x="926201" y="376765"/>
                    </a:cubicBezTo>
                    <a:cubicBezTo>
                      <a:pt x="923988" y="377304"/>
                      <a:pt x="916798" y="376225"/>
                      <a:pt x="914586" y="375145"/>
                    </a:cubicBezTo>
                    <a:cubicBezTo>
                      <a:pt x="899652" y="370828"/>
                      <a:pt x="920117" y="344381"/>
                      <a:pt x="922882" y="335746"/>
                    </a:cubicBezTo>
                    <a:cubicBezTo>
                      <a:pt x="925648" y="328729"/>
                      <a:pt x="926754" y="320633"/>
                      <a:pt x="928413" y="313077"/>
                    </a:cubicBezTo>
                    <a:cubicBezTo>
                      <a:pt x="928966" y="310918"/>
                      <a:pt x="928966" y="302283"/>
                      <a:pt x="929519" y="301203"/>
                    </a:cubicBezTo>
                    <a:cubicBezTo>
                      <a:pt x="930625" y="298505"/>
                      <a:pt x="942793" y="299584"/>
                      <a:pt x="946112" y="297965"/>
                    </a:cubicBezTo>
                    <a:cubicBezTo>
                      <a:pt x="947218" y="297425"/>
                      <a:pt x="948877" y="295266"/>
                      <a:pt x="949984" y="294187"/>
                    </a:cubicBezTo>
                    <a:cubicBezTo>
                      <a:pt x="951643" y="291488"/>
                      <a:pt x="962152" y="273677"/>
                      <a:pt x="962705" y="273138"/>
                    </a:cubicBezTo>
                    <a:cubicBezTo>
                      <a:pt x="966023" y="270439"/>
                      <a:pt x="968789" y="266661"/>
                      <a:pt x="971554" y="263423"/>
                    </a:cubicBezTo>
                    <a:cubicBezTo>
                      <a:pt x="979298" y="254787"/>
                      <a:pt x="982616" y="242373"/>
                      <a:pt x="989253" y="232658"/>
                    </a:cubicBezTo>
                    <a:cubicBezTo>
                      <a:pt x="994784" y="224563"/>
                      <a:pt x="1000868" y="229420"/>
                      <a:pt x="1003634" y="227261"/>
                    </a:cubicBezTo>
                    <a:cubicBezTo>
                      <a:pt x="1004740" y="226182"/>
                      <a:pt x="1004740" y="222943"/>
                      <a:pt x="1004740" y="221864"/>
                    </a:cubicBezTo>
                    <a:cubicBezTo>
                      <a:pt x="1004740" y="216467"/>
                      <a:pt x="998103" y="217006"/>
                      <a:pt x="996443" y="212689"/>
                    </a:cubicBezTo>
                    <a:cubicBezTo>
                      <a:pt x="996443" y="210530"/>
                      <a:pt x="998103" y="202434"/>
                      <a:pt x="998656" y="201355"/>
                    </a:cubicBezTo>
                    <a:cubicBezTo>
                      <a:pt x="999209" y="199735"/>
                      <a:pt x="1000868" y="199735"/>
                      <a:pt x="1001421" y="198656"/>
                    </a:cubicBezTo>
                    <a:cubicBezTo>
                      <a:pt x="1002527" y="196497"/>
                      <a:pt x="1003081" y="193798"/>
                      <a:pt x="1004187" y="192179"/>
                    </a:cubicBezTo>
                    <a:cubicBezTo>
                      <a:pt x="1006952" y="185703"/>
                      <a:pt x="1013036" y="172749"/>
                      <a:pt x="1018567" y="168971"/>
                    </a:cubicBezTo>
                    <a:cubicBezTo>
                      <a:pt x="1021886" y="166812"/>
                      <a:pt x="1031288" y="162494"/>
                      <a:pt x="1034054" y="160336"/>
                    </a:cubicBezTo>
                    <a:cubicBezTo>
                      <a:pt x="1035713" y="158716"/>
                      <a:pt x="1035713" y="150621"/>
                      <a:pt x="1036819" y="147922"/>
                    </a:cubicBezTo>
                    <a:cubicBezTo>
                      <a:pt x="1036819" y="146842"/>
                      <a:pt x="1038478" y="145223"/>
                      <a:pt x="1039031" y="144144"/>
                    </a:cubicBezTo>
                    <a:cubicBezTo>
                      <a:pt x="1039031" y="143604"/>
                      <a:pt x="1037925" y="141445"/>
                      <a:pt x="1037372" y="141445"/>
                    </a:cubicBezTo>
                    <a:cubicBezTo>
                      <a:pt x="1033501" y="141445"/>
                      <a:pt x="1026863" y="154399"/>
                      <a:pt x="1022992" y="156557"/>
                    </a:cubicBezTo>
                    <a:cubicBezTo>
                      <a:pt x="1015802" y="153859"/>
                      <a:pt x="1031288" y="138747"/>
                      <a:pt x="1032947" y="136048"/>
                    </a:cubicBezTo>
                    <a:cubicBezTo>
                      <a:pt x="1034607" y="133349"/>
                      <a:pt x="1035160" y="129571"/>
                      <a:pt x="1036266" y="126873"/>
                    </a:cubicBezTo>
                    <a:cubicBezTo>
                      <a:pt x="1037372" y="121475"/>
                      <a:pt x="1039031" y="115539"/>
                      <a:pt x="1040138" y="110141"/>
                    </a:cubicBezTo>
                    <a:cubicBezTo>
                      <a:pt x="1037372" y="102585"/>
                      <a:pt x="1033501" y="96108"/>
                      <a:pt x="1034054" y="87473"/>
                    </a:cubicBezTo>
                    <a:cubicBezTo>
                      <a:pt x="1034607" y="77218"/>
                      <a:pt x="1037372" y="66424"/>
                      <a:pt x="1037372" y="55629"/>
                    </a:cubicBezTo>
                    <a:cubicBezTo>
                      <a:pt x="1037925" y="48613"/>
                      <a:pt x="1031288" y="33501"/>
                      <a:pt x="1035160" y="28103"/>
                    </a:cubicBezTo>
                    <a:cubicBezTo>
                      <a:pt x="1038478" y="22706"/>
                      <a:pt x="1047881" y="20007"/>
                      <a:pt x="1052859" y="12991"/>
                    </a:cubicBezTo>
                    <a:cubicBezTo>
                      <a:pt x="1073323" y="-6439"/>
                      <a:pt x="1092681" y="5435"/>
                      <a:pt x="1100978" y="-502"/>
                    </a:cubicBezTo>
                    <a:lnTo>
                      <a:pt x="1107615" y="13531"/>
                    </a:lnTo>
                    <a:lnTo>
                      <a:pt x="1096000" y="29723"/>
                    </a:lnTo>
                    <a:lnTo>
                      <a:pt x="1103190" y="39977"/>
                    </a:lnTo>
                    <a:lnTo>
                      <a:pt x="1111487" y="41057"/>
                    </a:lnTo>
                    <a:lnTo>
                      <a:pt x="1125867" y="30802"/>
                    </a:lnTo>
                    <a:lnTo>
                      <a:pt x="1126420" y="39438"/>
                    </a:lnTo>
                    <a:lnTo>
                      <a:pt x="1140247" y="36739"/>
                    </a:lnTo>
                    <a:lnTo>
                      <a:pt x="1159052" y="45374"/>
                    </a:lnTo>
                    <a:lnTo>
                      <a:pt x="1165690" y="52931"/>
                    </a:lnTo>
                    <a:lnTo>
                      <a:pt x="1187260" y="45914"/>
                    </a:lnTo>
                    <a:lnTo>
                      <a:pt x="1192238" y="40517"/>
                    </a:lnTo>
                    <a:lnTo>
                      <a:pt x="1204959" y="43755"/>
                    </a:lnTo>
                    <a:lnTo>
                      <a:pt x="1212702" y="45374"/>
                    </a:lnTo>
                    <a:lnTo>
                      <a:pt x="1225977" y="43755"/>
                    </a:lnTo>
                    <a:lnTo>
                      <a:pt x="1231508" y="51311"/>
                    </a:lnTo>
                    <a:lnTo>
                      <a:pt x="1248100" y="55629"/>
                    </a:lnTo>
                    <a:lnTo>
                      <a:pt x="1244782" y="85314"/>
                    </a:lnTo>
                    <a:lnTo>
                      <a:pt x="1265246" y="90172"/>
                    </a:lnTo>
                    <a:lnTo>
                      <a:pt x="1269118" y="115539"/>
                    </a:lnTo>
                    <a:cubicBezTo>
                      <a:pt x="1258056" y="119856"/>
                      <a:pt x="1250313" y="133889"/>
                      <a:pt x="1244229" y="136588"/>
                    </a:cubicBezTo>
                    <a:cubicBezTo>
                      <a:pt x="1236485" y="139286"/>
                      <a:pt x="1227636" y="138747"/>
                      <a:pt x="1219893" y="142525"/>
                    </a:cubicBezTo>
                    <a:cubicBezTo>
                      <a:pt x="1212702" y="145763"/>
                      <a:pt x="1205512" y="160336"/>
                      <a:pt x="1200534" y="160875"/>
                    </a:cubicBezTo>
                    <a:cubicBezTo>
                      <a:pt x="1197769" y="161415"/>
                      <a:pt x="1194450" y="160336"/>
                      <a:pt x="1192238" y="160336"/>
                    </a:cubicBezTo>
                    <a:lnTo>
                      <a:pt x="1202194" y="177607"/>
                    </a:lnTo>
                    <a:lnTo>
                      <a:pt x="1192791" y="206752"/>
                    </a:lnTo>
                    <a:lnTo>
                      <a:pt x="1196663" y="214848"/>
                    </a:lnTo>
                    <a:lnTo>
                      <a:pt x="1189473" y="221324"/>
                    </a:lnTo>
                    <a:lnTo>
                      <a:pt x="1191132" y="233198"/>
                    </a:lnTo>
                    <a:lnTo>
                      <a:pt x="1180623" y="239135"/>
                    </a:lnTo>
                    <a:lnTo>
                      <a:pt x="1167902" y="247231"/>
                    </a:lnTo>
                    <a:lnTo>
                      <a:pt x="1166243" y="256406"/>
                    </a:lnTo>
                    <a:lnTo>
                      <a:pt x="1172327" y="260724"/>
                    </a:lnTo>
                    <a:lnTo>
                      <a:pt x="1175645" y="272058"/>
                    </a:lnTo>
                    <a:lnTo>
                      <a:pt x="1161818" y="293647"/>
                    </a:lnTo>
                    <a:lnTo>
                      <a:pt x="1154628" y="313077"/>
                    </a:lnTo>
                    <a:cubicBezTo>
                      <a:pt x="1151862" y="313617"/>
                      <a:pt x="1148544" y="315236"/>
                      <a:pt x="1145778" y="315236"/>
                    </a:cubicBezTo>
                    <a:cubicBezTo>
                      <a:pt x="1128079" y="314696"/>
                      <a:pt x="1128632" y="299044"/>
                      <a:pt x="1113146" y="298505"/>
                    </a:cubicBezTo>
                    <a:lnTo>
                      <a:pt x="1111487" y="310918"/>
                    </a:lnTo>
                    <a:lnTo>
                      <a:pt x="1123102" y="326570"/>
                    </a:lnTo>
                    <a:lnTo>
                      <a:pt x="1120336" y="338984"/>
                    </a:lnTo>
                    <a:lnTo>
                      <a:pt x="1128079" y="368669"/>
                    </a:lnTo>
                    <a:lnTo>
                      <a:pt x="1143013" y="377844"/>
                    </a:lnTo>
                    <a:lnTo>
                      <a:pt x="1127526" y="410227"/>
                    </a:lnTo>
                    <a:cubicBezTo>
                      <a:pt x="1122548" y="412386"/>
                      <a:pt x="1117018" y="414006"/>
                      <a:pt x="1112593" y="417244"/>
                    </a:cubicBezTo>
                    <a:cubicBezTo>
                      <a:pt x="1107062" y="421562"/>
                      <a:pt x="1107062" y="435594"/>
                      <a:pt x="1105403" y="442071"/>
                    </a:cubicBezTo>
                    <a:cubicBezTo>
                      <a:pt x="1104849" y="444770"/>
                      <a:pt x="1102637" y="446389"/>
                      <a:pt x="1100425" y="448008"/>
                    </a:cubicBezTo>
                    <a:lnTo>
                      <a:pt x="1117018" y="480391"/>
                    </a:lnTo>
                    <a:lnTo>
                      <a:pt x="1126420" y="478772"/>
                    </a:lnTo>
                    <a:lnTo>
                      <a:pt x="1130292" y="482550"/>
                    </a:lnTo>
                    <a:lnTo>
                      <a:pt x="1123102" y="499282"/>
                    </a:lnTo>
                    <a:lnTo>
                      <a:pt x="1110380" y="496043"/>
                    </a:lnTo>
                    <a:lnTo>
                      <a:pt x="1099872" y="501441"/>
                    </a:lnTo>
                    <a:lnTo>
                      <a:pt x="1095447" y="511695"/>
                    </a:lnTo>
                    <a:lnTo>
                      <a:pt x="1060049" y="548936"/>
                    </a:lnTo>
                    <a:close/>
                    <a:moveTo>
                      <a:pt x="50103" y="885184"/>
                    </a:moveTo>
                    <a:cubicBezTo>
                      <a:pt x="40700" y="885724"/>
                      <a:pt x="39594" y="879787"/>
                      <a:pt x="32957" y="877088"/>
                    </a:cubicBezTo>
                    <a:cubicBezTo>
                      <a:pt x="29085" y="875469"/>
                      <a:pt x="23555" y="875469"/>
                      <a:pt x="20236" y="873310"/>
                    </a:cubicBezTo>
                    <a:cubicBezTo>
                      <a:pt x="18024" y="872231"/>
                      <a:pt x="16364" y="867373"/>
                      <a:pt x="14152" y="865754"/>
                    </a:cubicBezTo>
                    <a:cubicBezTo>
                      <a:pt x="11386" y="863595"/>
                      <a:pt x="5302" y="864674"/>
                      <a:pt x="2537" y="866294"/>
                    </a:cubicBezTo>
                    <a:cubicBezTo>
                      <a:pt x="-228" y="868453"/>
                      <a:pt x="-782" y="873850"/>
                      <a:pt x="-228" y="876548"/>
                    </a:cubicBezTo>
                    <a:cubicBezTo>
                      <a:pt x="325" y="878168"/>
                      <a:pt x="1984" y="883565"/>
                      <a:pt x="3643" y="884644"/>
                    </a:cubicBezTo>
                    <a:cubicBezTo>
                      <a:pt x="6962" y="886803"/>
                      <a:pt x="30745" y="899756"/>
                      <a:pt x="34063" y="899217"/>
                    </a:cubicBezTo>
                    <a:cubicBezTo>
                      <a:pt x="36276" y="899217"/>
                      <a:pt x="41253" y="894359"/>
                      <a:pt x="43466" y="893280"/>
                    </a:cubicBezTo>
                    <a:cubicBezTo>
                      <a:pt x="46231" y="891661"/>
                      <a:pt x="56187" y="891661"/>
                      <a:pt x="53975" y="887343"/>
                    </a:cubicBezTo>
                    <a:cubicBezTo>
                      <a:pt x="53421" y="886803"/>
                      <a:pt x="52868" y="885184"/>
                      <a:pt x="50103" y="885184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8" name="Freeform 1060">
                <a:extLst>
                  <a:ext uri="{FF2B5EF4-FFF2-40B4-BE49-F238E27FC236}">
                    <a16:creationId xmlns:a16="http://schemas.microsoft.com/office/drawing/2014/main" id="{CB90DFCE-9819-4570-A958-3CA68E39C1CF}"/>
                  </a:ext>
                </a:extLst>
              </p:cNvPr>
              <p:cNvSpPr/>
              <p:nvPr/>
            </p:nvSpPr>
            <p:spPr>
              <a:xfrm>
                <a:off x="6655182" y="3290756"/>
                <a:ext cx="779306" cy="647667"/>
              </a:xfrm>
              <a:custGeom>
                <a:avLst/>
                <a:gdLst>
                  <a:gd name="connsiteX0" fmla="*/ 777437 w 779306"/>
                  <a:gd name="connsiteY0" fmla="*/ 414744 h 647667"/>
                  <a:gd name="connsiteX1" fmla="*/ 757525 w 779306"/>
                  <a:gd name="connsiteY1" fmla="*/ 373185 h 647667"/>
                  <a:gd name="connsiteX2" fmla="*/ 732636 w 779306"/>
                  <a:gd name="connsiteY2" fmla="*/ 347278 h 647667"/>
                  <a:gd name="connsiteX3" fmla="*/ 717150 w 779306"/>
                  <a:gd name="connsiteY3" fmla="*/ 310577 h 647667"/>
                  <a:gd name="connsiteX4" fmla="*/ 716597 w 779306"/>
                  <a:gd name="connsiteY4" fmla="*/ 306260 h 647667"/>
                  <a:gd name="connsiteX5" fmla="*/ 706641 w 779306"/>
                  <a:gd name="connsiteY5" fmla="*/ 290068 h 647667"/>
                  <a:gd name="connsiteX6" fmla="*/ 708853 w 779306"/>
                  <a:gd name="connsiteY6" fmla="*/ 274416 h 647667"/>
                  <a:gd name="connsiteX7" fmla="*/ 706641 w 779306"/>
                  <a:gd name="connsiteY7" fmla="*/ 254986 h 647667"/>
                  <a:gd name="connsiteX8" fmla="*/ 672902 w 779306"/>
                  <a:gd name="connsiteY8" fmla="*/ 236095 h 647667"/>
                  <a:gd name="connsiteX9" fmla="*/ 674562 w 779306"/>
                  <a:gd name="connsiteY9" fmla="*/ 215046 h 647667"/>
                  <a:gd name="connsiteX10" fmla="*/ 707194 w 779306"/>
                  <a:gd name="connsiteY10" fmla="*/ 181583 h 647667"/>
                  <a:gd name="connsiteX11" fmla="*/ 708853 w 779306"/>
                  <a:gd name="connsiteY11" fmla="*/ 173488 h 647667"/>
                  <a:gd name="connsiteX12" fmla="*/ 691154 w 779306"/>
                  <a:gd name="connsiteY12" fmla="*/ 117356 h 647667"/>
                  <a:gd name="connsiteX13" fmla="*/ 678986 w 779306"/>
                  <a:gd name="connsiteY13" fmla="*/ 106022 h 647667"/>
                  <a:gd name="connsiteX14" fmla="*/ 650779 w 779306"/>
                  <a:gd name="connsiteY14" fmla="*/ 65003 h 647667"/>
                  <a:gd name="connsiteX15" fmla="*/ 645248 w 779306"/>
                  <a:gd name="connsiteY15" fmla="*/ 47192 h 647667"/>
                  <a:gd name="connsiteX16" fmla="*/ 640823 w 779306"/>
                  <a:gd name="connsiteY16" fmla="*/ 21825 h 647667"/>
                  <a:gd name="connsiteX17" fmla="*/ 636398 w 779306"/>
                  <a:gd name="connsiteY17" fmla="*/ 14269 h 647667"/>
                  <a:gd name="connsiteX18" fmla="*/ 599341 w 779306"/>
                  <a:gd name="connsiteY18" fmla="*/ -303 h 647667"/>
                  <a:gd name="connsiteX19" fmla="*/ 586620 w 779306"/>
                  <a:gd name="connsiteY19" fmla="*/ 776 h 647667"/>
                  <a:gd name="connsiteX20" fmla="*/ 575005 w 779306"/>
                  <a:gd name="connsiteY20" fmla="*/ 11031 h 647667"/>
                  <a:gd name="connsiteX21" fmla="*/ 561178 w 779306"/>
                  <a:gd name="connsiteY21" fmla="*/ 18047 h 647667"/>
                  <a:gd name="connsiteX22" fmla="*/ 488169 w 779306"/>
                  <a:gd name="connsiteY22" fmla="*/ 34779 h 647667"/>
                  <a:gd name="connsiteX23" fmla="*/ 415714 w 779306"/>
                  <a:gd name="connsiteY23" fmla="*/ 41795 h 647667"/>
                  <a:gd name="connsiteX24" fmla="*/ 382529 w 779306"/>
                  <a:gd name="connsiteY24" fmla="*/ 40716 h 647667"/>
                  <a:gd name="connsiteX25" fmla="*/ 357087 w 779306"/>
                  <a:gd name="connsiteY25" fmla="*/ 65003 h 647667"/>
                  <a:gd name="connsiteX26" fmla="*/ 353768 w 779306"/>
                  <a:gd name="connsiteY26" fmla="*/ 62844 h 647667"/>
                  <a:gd name="connsiteX27" fmla="*/ 355427 w 779306"/>
                  <a:gd name="connsiteY27" fmla="*/ 52050 h 647667"/>
                  <a:gd name="connsiteX28" fmla="*/ 374233 w 779306"/>
                  <a:gd name="connsiteY28" fmla="*/ 27223 h 647667"/>
                  <a:gd name="connsiteX29" fmla="*/ 376998 w 779306"/>
                  <a:gd name="connsiteY29" fmla="*/ 21286 h 647667"/>
                  <a:gd name="connsiteX30" fmla="*/ 333857 w 779306"/>
                  <a:gd name="connsiteY30" fmla="*/ 55288 h 647667"/>
                  <a:gd name="connsiteX31" fmla="*/ 315605 w 779306"/>
                  <a:gd name="connsiteY31" fmla="*/ 53669 h 647667"/>
                  <a:gd name="connsiteX32" fmla="*/ 310627 w 779306"/>
                  <a:gd name="connsiteY32" fmla="*/ 54748 h 647667"/>
                  <a:gd name="connsiteX33" fmla="*/ 300671 w 779306"/>
                  <a:gd name="connsiteY33" fmla="*/ 51510 h 647667"/>
                  <a:gd name="connsiteX34" fmla="*/ 285738 w 779306"/>
                  <a:gd name="connsiteY34" fmla="*/ 23444 h 647667"/>
                  <a:gd name="connsiteX35" fmla="*/ 319476 w 779306"/>
                  <a:gd name="connsiteY35" fmla="*/ 33160 h 647667"/>
                  <a:gd name="connsiteX36" fmla="*/ 320583 w 779306"/>
                  <a:gd name="connsiteY36" fmla="*/ 31540 h 647667"/>
                  <a:gd name="connsiteX37" fmla="*/ 300118 w 779306"/>
                  <a:gd name="connsiteY37" fmla="*/ 18047 h 647667"/>
                  <a:gd name="connsiteX38" fmla="*/ 296800 w 779306"/>
                  <a:gd name="connsiteY38" fmla="*/ 15349 h 647667"/>
                  <a:gd name="connsiteX39" fmla="*/ 282972 w 779306"/>
                  <a:gd name="connsiteY39" fmla="*/ 8332 h 647667"/>
                  <a:gd name="connsiteX40" fmla="*/ 249787 w 779306"/>
                  <a:gd name="connsiteY40" fmla="*/ 7793 h 647667"/>
                  <a:gd name="connsiteX41" fmla="*/ 191712 w 779306"/>
                  <a:gd name="connsiteY41" fmla="*/ 32080 h 647667"/>
                  <a:gd name="connsiteX42" fmla="*/ 170142 w 779306"/>
                  <a:gd name="connsiteY42" fmla="*/ 50970 h 647667"/>
                  <a:gd name="connsiteX43" fmla="*/ 164611 w 779306"/>
                  <a:gd name="connsiteY43" fmla="*/ 57987 h 647667"/>
                  <a:gd name="connsiteX44" fmla="*/ 141934 w 779306"/>
                  <a:gd name="connsiteY44" fmla="*/ 70940 h 647667"/>
                  <a:gd name="connsiteX45" fmla="*/ 120363 w 779306"/>
                  <a:gd name="connsiteY45" fmla="*/ 89830 h 647667"/>
                  <a:gd name="connsiteX46" fmla="*/ 98793 w 779306"/>
                  <a:gd name="connsiteY46" fmla="*/ 102784 h 647667"/>
                  <a:gd name="connsiteX47" fmla="*/ 80541 w 779306"/>
                  <a:gd name="connsiteY47" fmla="*/ 109800 h 647667"/>
                  <a:gd name="connsiteX48" fmla="*/ 42377 w 779306"/>
                  <a:gd name="connsiteY48" fmla="*/ 131389 h 647667"/>
                  <a:gd name="connsiteX49" fmla="*/ 31869 w 779306"/>
                  <a:gd name="connsiteY49" fmla="*/ 156216 h 647667"/>
                  <a:gd name="connsiteX50" fmla="*/ 27444 w 779306"/>
                  <a:gd name="connsiteY50" fmla="*/ 157296 h 647667"/>
                  <a:gd name="connsiteX51" fmla="*/ 25231 w 779306"/>
                  <a:gd name="connsiteY51" fmla="*/ 160534 h 647667"/>
                  <a:gd name="connsiteX52" fmla="*/ 23572 w 779306"/>
                  <a:gd name="connsiteY52" fmla="*/ 168630 h 647667"/>
                  <a:gd name="connsiteX53" fmla="*/ 26338 w 779306"/>
                  <a:gd name="connsiteY53" fmla="*/ 186441 h 647667"/>
                  <a:gd name="connsiteX54" fmla="*/ -764 w 779306"/>
                  <a:gd name="connsiteY54" fmla="*/ 171868 h 647667"/>
                  <a:gd name="connsiteX55" fmla="*/ -764 w 779306"/>
                  <a:gd name="connsiteY55" fmla="*/ 178885 h 647667"/>
                  <a:gd name="connsiteX56" fmla="*/ 11404 w 779306"/>
                  <a:gd name="connsiteY56" fmla="*/ 218285 h 647667"/>
                  <a:gd name="connsiteX57" fmla="*/ 14723 w 779306"/>
                  <a:gd name="connsiteY57" fmla="*/ 229079 h 647667"/>
                  <a:gd name="connsiteX58" fmla="*/ 11404 w 779306"/>
                  <a:gd name="connsiteY58" fmla="*/ 251747 h 647667"/>
                  <a:gd name="connsiteX59" fmla="*/ -764 w 779306"/>
                  <a:gd name="connsiteY59" fmla="*/ 266860 h 647667"/>
                  <a:gd name="connsiteX60" fmla="*/ 895 w 779306"/>
                  <a:gd name="connsiteY60" fmla="*/ 271177 h 647667"/>
                  <a:gd name="connsiteX61" fmla="*/ 1448 w 779306"/>
                  <a:gd name="connsiteY61" fmla="*/ 277654 h 647667"/>
                  <a:gd name="connsiteX62" fmla="*/ 39612 w 779306"/>
                  <a:gd name="connsiteY62" fmla="*/ 303021 h 647667"/>
                  <a:gd name="connsiteX63" fmla="*/ 39612 w 779306"/>
                  <a:gd name="connsiteY63" fmla="*/ 335944 h 647667"/>
                  <a:gd name="connsiteX64" fmla="*/ 52333 w 779306"/>
                  <a:gd name="connsiteY64" fmla="*/ 346739 h 647667"/>
                  <a:gd name="connsiteX65" fmla="*/ 55098 w 779306"/>
                  <a:gd name="connsiteY65" fmla="*/ 360232 h 647667"/>
                  <a:gd name="connsiteX66" fmla="*/ 48461 w 779306"/>
                  <a:gd name="connsiteY66" fmla="*/ 396933 h 647667"/>
                  <a:gd name="connsiteX67" fmla="*/ 60076 w 779306"/>
                  <a:gd name="connsiteY67" fmla="*/ 414204 h 647667"/>
                  <a:gd name="connsiteX68" fmla="*/ 58970 w 779306"/>
                  <a:gd name="connsiteY68" fmla="*/ 423919 h 647667"/>
                  <a:gd name="connsiteX69" fmla="*/ 78328 w 779306"/>
                  <a:gd name="connsiteY69" fmla="*/ 437412 h 647667"/>
                  <a:gd name="connsiteX70" fmla="*/ 84965 w 779306"/>
                  <a:gd name="connsiteY70" fmla="*/ 470335 h 647667"/>
                  <a:gd name="connsiteX71" fmla="*/ 75563 w 779306"/>
                  <a:gd name="connsiteY71" fmla="*/ 502719 h 647667"/>
                  <a:gd name="connsiteX72" fmla="*/ 86625 w 779306"/>
                  <a:gd name="connsiteY72" fmla="*/ 501639 h 647667"/>
                  <a:gd name="connsiteX73" fmla="*/ 88284 w 779306"/>
                  <a:gd name="connsiteY73" fmla="*/ 488146 h 647667"/>
                  <a:gd name="connsiteX74" fmla="*/ 103217 w 779306"/>
                  <a:gd name="connsiteY74" fmla="*/ 483828 h 647667"/>
                  <a:gd name="connsiteX75" fmla="*/ 109855 w 779306"/>
                  <a:gd name="connsiteY75" fmla="*/ 501639 h 647667"/>
                  <a:gd name="connsiteX76" fmla="*/ 119810 w 779306"/>
                  <a:gd name="connsiteY76" fmla="*/ 511354 h 647667"/>
                  <a:gd name="connsiteX77" fmla="*/ 181203 w 779306"/>
                  <a:gd name="connsiteY77" fmla="*/ 519450 h 647667"/>
                  <a:gd name="connsiteX78" fmla="*/ 193925 w 779306"/>
                  <a:gd name="connsiteY78" fmla="*/ 513513 h 647667"/>
                  <a:gd name="connsiteX79" fmla="*/ 201115 w 779306"/>
                  <a:gd name="connsiteY79" fmla="*/ 523228 h 647667"/>
                  <a:gd name="connsiteX80" fmla="*/ 188947 w 779306"/>
                  <a:gd name="connsiteY80" fmla="*/ 539420 h 647667"/>
                  <a:gd name="connsiteX81" fmla="*/ 187841 w 779306"/>
                  <a:gd name="connsiteY81" fmla="*/ 547516 h 647667"/>
                  <a:gd name="connsiteX82" fmla="*/ 200009 w 779306"/>
                  <a:gd name="connsiteY82" fmla="*/ 549675 h 647667"/>
                  <a:gd name="connsiteX83" fmla="*/ 223791 w 779306"/>
                  <a:gd name="connsiteY83" fmla="*/ 572343 h 647667"/>
                  <a:gd name="connsiteX84" fmla="*/ 232641 w 779306"/>
                  <a:gd name="connsiteY84" fmla="*/ 574502 h 647667"/>
                  <a:gd name="connsiteX85" fmla="*/ 238172 w 779306"/>
                  <a:gd name="connsiteY85" fmla="*/ 564247 h 647667"/>
                  <a:gd name="connsiteX86" fmla="*/ 247574 w 779306"/>
                  <a:gd name="connsiteY86" fmla="*/ 557231 h 647667"/>
                  <a:gd name="connsiteX87" fmla="*/ 247574 w 779306"/>
                  <a:gd name="connsiteY87" fmla="*/ 552373 h 647667"/>
                  <a:gd name="connsiteX88" fmla="*/ 234853 w 779306"/>
                  <a:gd name="connsiteY88" fmla="*/ 546436 h 647667"/>
                  <a:gd name="connsiteX89" fmla="*/ 238172 w 779306"/>
                  <a:gd name="connsiteY89" fmla="*/ 538341 h 647667"/>
                  <a:gd name="connsiteX90" fmla="*/ 259742 w 779306"/>
                  <a:gd name="connsiteY90" fmla="*/ 541039 h 647667"/>
                  <a:gd name="connsiteX91" fmla="*/ 274123 w 779306"/>
                  <a:gd name="connsiteY91" fmla="*/ 549675 h 647667"/>
                  <a:gd name="connsiteX92" fmla="*/ 290716 w 779306"/>
                  <a:gd name="connsiteY92" fmla="*/ 553453 h 647667"/>
                  <a:gd name="connsiteX93" fmla="*/ 303990 w 779306"/>
                  <a:gd name="connsiteY93" fmla="*/ 545357 h 647667"/>
                  <a:gd name="connsiteX94" fmla="*/ 307308 w 779306"/>
                  <a:gd name="connsiteY94" fmla="*/ 556151 h 647667"/>
                  <a:gd name="connsiteX95" fmla="*/ 301224 w 779306"/>
                  <a:gd name="connsiteY95" fmla="*/ 564247 h 647667"/>
                  <a:gd name="connsiteX96" fmla="*/ 316711 w 779306"/>
                  <a:gd name="connsiteY96" fmla="*/ 576661 h 647667"/>
                  <a:gd name="connsiteX97" fmla="*/ 326667 w 779306"/>
                  <a:gd name="connsiteY97" fmla="*/ 578820 h 647667"/>
                  <a:gd name="connsiteX98" fmla="*/ 336622 w 779306"/>
                  <a:gd name="connsiteY98" fmla="*/ 572343 h 647667"/>
                  <a:gd name="connsiteX99" fmla="*/ 351556 w 779306"/>
                  <a:gd name="connsiteY99" fmla="*/ 581518 h 647667"/>
                  <a:gd name="connsiteX100" fmla="*/ 375339 w 779306"/>
                  <a:gd name="connsiteY100" fmla="*/ 579899 h 647667"/>
                  <a:gd name="connsiteX101" fmla="*/ 376998 w 779306"/>
                  <a:gd name="connsiteY101" fmla="*/ 587455 h 647667"/>
                  <a:gd name="connsiteX102" fmla="*/ 383635 w 779306"/>
                  <a:gd name="connsiteY102" fmla="*/ 600409 h 647667"/>
                  <a:gd name="connsiteX103" fmla="*/ 400781 w 779306"/>
                  <a:gd name="connsiteY103" fmla="*/ 611203 h 647667"/>
                  <a:gd name="connsiteX104" fmla="*/ 406865 w 779306"/>
                  <a:gd name="connsiteY104" fmla="*/ 621998 h 647667"/>
                  <a:gd name="connsiteX105" fmla="*/ 414055 w 779306"/>
                  <a:gd name="connsiteY105" fmla="*/ 627395 h 647667"/>
                  <a:gd name="connsiteX106" fmla="*/ 415714 w 779306"/>
                  <a:gd name="connsiteY106" fmla="*/ 637110 h 647667"/>
                  <a:gd name="connsiteX107" fmla="*/ 430648 w 779306"/>
                  <a:gd name="connsiteY107" fmla="*/ 631173 h 647667"/>
                  <a:gd name="connsiteX108" fmla="*/ 432860 w 779306"/>
                  <a:gd name="connsiteY108" fmla="*/ 616600 h 647667"/>
                  <a:gd name="connsiteX109" fmla="*/ 448347 w 779306"/>
                  <a:gd name="connsiteY109" fmla="*/ 604187 h 647667"/>
                  <a:gd name="connsiteX110" fmla="*/ 465493 w 779306"/>
                  <a:gd name="connsiteY110" fmla="*/ 623077 h 647667"/>
                  <a:gd name="connsiteX111" fmla="*/ 478767 w 779306"/>
                  <a:gd name="connsiteY111" fmla="*/ 626315 h 647667"/>
                  <a:gd name="connsiteX112" fmla="*/ 483192 w 779306"/>
                  <a:gd name="connsiteY112" fmla="*/ 633872 h 647667"/>
                  <a:gd name="connsiteX113" fmla="*/ 484851 w 779306"/>
                  <a:gd name="connsiteY113" fmla="*/ 647365 h 647667"/>
                  <a:gd name="connsiteX114" fmla="*/ 502550 w 779306"/>
                  <a:gd name="connsiteY114" fmla="*/ 645745 h 647667"/>
                  <a:gd name="connsiteX115" fmla="*/ 512506 w 779306"/>
                  <a:gd name="connsiteY115" fmla="*/ 627395 h 647667"/>
                  <a:gd name="connsiteX116" fmla="*/ 523567 w 779306"/>
                  <a:gd name="connsiteY116" fmla="*/ 619299 h 647667"/>
                  <a:gd name="connsiteX117" fmla="*/ 537395 w 779306"/>
                  <a:gd name="connsiteY117" fmla="*/ 619839 h 647667"/>
                  <a:gd name="connsiteX118" fmla="*/ 552328 w 779306"/>
                  <a:gd name="connsiteY118" fmla="*/ 612283 h 647667"/>
                  <a:gd name="connsiteX119" fmla="*/ 570027 w 779306"/>
                  <a:gd name="connsiteY119" fmla="*/ 619839 h 647667"/>
                  <a:gd name="connsiteX120" fmla="*/ 579430 w 779306"/>
                  <a:gd name="connsiteY120" fmla="*/ 607425 h 647667"/>
                  <a:gd name="connsiteX121" fmla="*/ 615934 w 779306"/>
                  <a:gd name="connsiteY121" fmla="*/ 597710 h 647667"/>
                  <a:gd name="connsiteX122" fmla="*/ 645801 w 779306"/>
                  <a:gd name="connsiteY122" fmla="*/ 601488 h 647667"/>
                  <a:gd name="connsiteX123" fmla="*/ 657969 w 779306"/>
                  <a:gd name="connsiteY123" fmla="*/ 617680 h 647667"/>
                  <a:gd name="connsiteX124" fmla="*/ 698898 w 779306"/>
                  <a:gd name="connsiteY124" fmla="*/ 625776 h 647667"/>
                  <a:gd name="connsiteX125" fmla="*/ 721574 w 779306"/>
                  <a:gd name="connsiteY125" fmla="*/ 626855 h 647667"/>
                  <a:gd name="connsiteX126" fmla="*/ 724340 w 779306"/>
                  <a:gd name="connsiteY126" fmla="*/ 620918 h 647667"/>
                  <a:gd name="connsiteX127" fmla="*/ 709959 w 779306"/>
                  <a:gd name="connsiteY127" fmla="*/ 611203 h 647667"/>
                  <a:gd name="connsiteX128" fmla="*/ 709406 w 779306"/>
                  <a:gd name="connsiteY128" fmla="*/ 598790 h 647667"/>
                  <a:gd name="connsiteX129" fmla="*/ 698344 w 779306"/>
                  <a:gd name="connsiteY129" fmla="*/ 566406 h 647667"/>
                  <a:gd name="connsiteX130" fmla="*/ 699451 w 779306"/>
                  <a:gd name="connsiteY130" fmla="*/ 555072 h 647667"/>
                  <a:gd name="connsiteX131" fmla="*/ 755866 w 779306"/>
                  <a:gd name="connsiteY131" fmla="*/ 449286 h 647667"/>
                  <a:gd name="connsiteX132" fmla="*/ 770800 w 779306"/>
                  <a:gd name="connsiteY132" fmla="*/ 441730 h 647667"/>
                  <a:gd name="connsiteX133" fmla="*/ 776884 w 779306"/>
                  <a:gd name="connsiteY133" fmla="*/ 434714 h 647667"/>
                  <a:gd name="connsiteX134" fmla="*/ 778543 w 779306"/>
                  <a:gd name="connsiteY134" fmla="*/ 424999 h 647667"/>
                  <a:gd name="connsiteX135" fmla="*/ 777437 w 779306"/>
                  <a:gd name="connsiteY135" fmla="*/ 414744 h 647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779306" h="647667">
                    <a:moveTo>
                      <a:pt x="777437" y="414744"/>
                    </a:moveTo>
                    <a:cubicBezTo>
                      <a:pt x="761397" y="406648"/>
                      <a:pt x="766375" y="386139"/>
                      <a:pt x="757525" y="373185"/>
                    </a:cubicBezTo>
                    <a:cubicBezTo>
                      <a:pt x="751441" y="364010"/>
                      <a:pt x="739826" y="356454"/>
                      <a:pt x="732636" y="347278"/>
                    </a:cubicBezTo>
                    <a:cubicBezTo>
                      <a:pt x="727658" y="340802"/>
                      <a:pt x="719915" y="318673"/>
                      <a:pt x="717150" y="310577"/>
                    </a:cubicBezTo>
                    <a:cubicBezTo>
                      <a:pt x="717150" y="308958"/>
                      <a:pt x="717150" y="307339"/>
                      <a:pt x="716597" y="306260"/>
                    </a:cubicBezTo>
                    <a:cubicBezTo>
                      <a:pt x="714384" y="301942"/>
                      <a:pt x="707194" y="294925"/>
                      <a:pt x="706641" y="290068"/>
                    </a:cubicBezTo>
                    <a:cubicBezTo>
                      <a:pt x="706641" y="284671"/>
                      <a:pt x="708300" y="279273"/>
                      <a:pt x="708853" y="274416"/>
                    </a:cubicBezTo>
                    <a:cubicBezTo>
                      <a:pt x="708853" y="268479"/>
                      <a:pt x="707747" y="260923"/>
                      <a:pt x="706641" y="254986"/>
                    </a:cubicBezTo>
                    <a:cubicBezTo>
                      <a:pt x="702769" y="236095"/>
                      <a:pt x="688942" y="238794"/>
                      <a:pt x="672902" y="236095"/>
                    </a:cubicBezTo>
                    <a:lnTo>
                      <a:pt x="674562" y="215046"/>
                    </a:lnTo>
                    <a:lnTo>
                      <a:pt x="707194" y="181583"/>
                    </a:lnTo>
                    <a:lnTo>
                      <a:pt x="708853" y="173488"/>
                    </a:lnTo>
                    <a:lnTo>
                      <a:pt x="691154" y="117356"/>
                    </a:lnTo>
                    <a:lnTo>
                      <a:pt x="678986" y="106022"/>
                    </a:lnTo>
                    <a:lnTo>
                      <a:pt x="650779" y="65003"/>
                    </a:lnTo>
                    <a:lnTo>
                      <a:pt x="645248" y="47192"/>
                    </a:lnTo>
                    <a:lnTo>
                      <a:pt x="640823" y="21825"/>
                    </a:lnTo>
                    <a:lnTo>
                      <a:pt x="636398" y="14269"/>
                    </a:lnTo>
                    <a:lnTo>
                      <a:pt x="599341" y="-303"/>
                    </a:lnTo>
                    <a:lnTo>
                      <a:pt x="586620" y="776"/>
                    </a:lnTo>
                    <a:lnTo>
                      <a:pt x="575005" y="11031"/>
                    </a:lnTo>
                    <a:lnTo>
                      <a:pt x="561178" y="18047"/>
                    </a:lnTo>
                    <a:lnTo>
                      <a:pt x="488169" y="34779"/>
                    </a:lnTo>
                    <a:lnTo>
                      <a:pt x="415714" y="41795"/>
                    </a:lnTo>
                    <a:lnTo>
                      <a:pt x="382529" y="40716"/>
                    </a:lnTo>
                    <a:cubicBezTo>
                      <a:pt x="377551" y="49891"/>
                      <a:pt x="367595" y="61765"/>
                      <a:pt x="357087" y="65003"/>
                    </a:cubicBezTo>
                    <a:lnTo>
                      <a:pt x="353768" y="62844"/>
                    </a:lnTo>
                    <a:cubicBezTo>
                      <a:pt x="353768" y="60146"/>
                      <a:pt x="354321" y="54209"/>
                      <a:pt x="355427" y="52050"/>
                    </a:cubicBezTo>
                    <a:cubicBezTo>
                      <a:pt x="359852" y="42875"/>
                      <a:pt x="368702" y="35318"/>
                      <a:pt x="374233" y="27223"/>
                    </a:cubicBezTo>
                    <a:cubicBezTo>
                      <a:pt x="375339" y="25603"/>
                      <a:pt x="376445" y="23984"/>
                      <a:pt x="376998" y="21286"/>
                    </a:cubicBezTo>
                    <a:cubicBezTo>
                      <a:pt x="368702" y="21286"/>
                      <a:pt x="351556" y="53669"/>
                      <a:pt x="333857" y="55288"/>
                    </a:cubicBezTo>
                    <a:cubicBezTo>
                      <a:pt x="327773" y="55288"/>
                      <a:pt x="321689" y="53669"/>
                      <a:pt x="315605" y="53669"/>
                    </a:cubicBezTo>
                    <a:cubicBezTo>
                      <a:pt x="313946" y="53669"/>
                      <a:pt x="312286" y="54748"/>
                      <a:pt x="310627" y="54748"/>
                    </a:cubicBezTo>
                    <a:cubicBezTo>
                      <a:pt x="308415" y="54209"/>
                      <a:pt x="302331" y="52590"/>
                      <a:pt x="300671" y="51510"/>
                    </a:cubicBezTo>
                    <a:cubicBezTo>
                      <a:pt x="293481" y="48272"/>
                      <a:pt x="276335" y="30461"/>
                      <a:pt x="285738" y="23444"/>
                    </a:cubicBezTo>
                    <a:cubicBezTo>
                      <a:pt x="295693" y="15349"/>
                      <a:pt x="312839" y="35318"/>
                      <a:pt x="319476" y="33160"/>
                    </a:cubicBezTo>
                    <a:lnTo>
                      <a:pt x="320583" y="31540"/>
                    </a:lnTo>
                    <a:cubicBezTo>
                      <a:pt x="318923" y="25603"/>
                      <a:pt x="305649" y="21286"/>
                      <a:pt x="300118" y="18047"/>
                    </a:cubicBezTo>
                    <a:cubicBezTo>
                      <a:pt x="299012" y="16968"/>
                      <a:pt x="297906" y="15888"/>
                      <a:pt x="296800" y="15349"/>
                    </a:cubicBezTo>
                    <a:cubicBezTo>
                      <a:pt x="295693" y="14269"/>
                      <a:pt x="284079" y="8872"/>
                      <a:pt x="282972" y="8332"/>
                    </a:cubicBezTo>
                    <a:cubicBezTo>
                      <a:pt x="275782" y="6173"/>
                      <a:pt x="256424" y="5094"/>
                      <a:pt x="249787" y="7793"/>
                    </a:cubicBezTo>
                    <a:cubicBezTo>
                      <a:pt x="231535" y="14269"/>
                      <a:pt x="208858" y="22905"/>
                      <a:pt x="191712" y="32080"/>
                    </a:cubicBezTo>
                    <a:cubicBezTo>
                      <a:pt x="186734" y="35318"/>
                      <a:pt x="174566" y="46653"/>
                      <a:pt x="170142" y="50970"/>
                    </a:cubicBezTo>
                    <a:cubicBezTo>
                      <a:pt x="167929" y="53129"/>
                      <a:pt x="166823" y="56368"/>
                      <a:pt x="164611" y="57987"/>
                    </a:cubicBezTo>
                    <a:cubicBezTo>
                      <a:pt x="157974" y="62844"/>
                      <a:pt x="148571" y="65543"/>
                      <a:pt x="141934" y="70940"/>
                    </a:cubicBezTo>
                    <a:cubicBezTo>
                      <a:pt x="134191" y="76337"/>
                      <a:pt x="128107" y="83894"/>
                      <a:pt x="120363" y="89830"/>
                    </a:cubicBezTo>
                    <a:cubicBezTo>
                      <a:pt x="113726" y="94688"/>
                      <a:pt x="105983" y="99006"/>
                      <a:pt x="98793" y="102784"/>
                    </a:cubicBezTo>
                    <a:cubicBezTo>
                      <a:pt x="92709" y="105482"/>
                      <a:pt x="86072" y="106562"/>
                      <a:pt x="80541" y="109800"/>
                    </a:cubicBezTo>
                    <a:cubicBezTo>
                      <a:pt x="72244" y="114118"/>
                      <a:pt x="48461" y="126532"/>
                      <a:pt x="42377" y="131389"/>
                    </a:cubicBezTo>
                    <a:cubicBezTo>
                      <a:pt x="37953" y="135167"/>
                      <a:pt x="35740" y="151359"/>
                      <a:pt x="31869" y="156216"/>
                    </a:cubicBezTo>
                    <a:cubicBezTo>
                      <a:pt x="30762" y="157296"/>
                      <a:pt x="27997" y="156756"/>
                      <a:pt x="27444" y="157296"/>
                    </a:cubicBezTo>
                    <a:cubicBezTo>
                      <a:pt x="26338" y="157836"/>
                      <a:pt x="25785" y="159994"/>
                      <a:pt x="25231" y="160534"/>
                    </a:cubicBezTo>
                    <a:cubicBezTo>
                      <a:pt x="24678" y="162693"/>
                      <a:pt x="23572" y="167011"/>
                      <a:pt x="23572" y="168630"/>
                    </a:cubicBezTo>
                    <a:cubicBezTo>
                      <a:pt x="24125" y="175646"/>
                      <a:pt x="29656" y="177805"/>
                      <a:pt x="26338" y="186441"/>
                    </a:cubicBezTo>
                    <a:cubicBezTo>
                      <a:pt x="13617" y="182663"/>
                      <a:pt x="18594" y="171329"/>
                      <a:pt x="-764" y="171868"/>
                    </a:cubicBezTo>
                    <a:lnTo>
                      <a:pt x="-764" y="178885"/>
                    </a:lnTo>
                    <a:lnTo>
                      <a:pt x="11404" y="218285"/>
                    </a:lnTo>
                    <a:lnTo>
                      <a:pt x="14723" y="229079"/>
                    </a:lnTo>
                    <a:lnTo>
                      <a:pt x="11404" y="251747"/>
                    </a:lnTo>
                    <a:cubicBezTo>
                      <a:pt x="7533" y="257145"/>
                      <a:pt x="-211" y="259843"/>
                      <a:pt x="-764" y="266860"/>
                    </a:cubicBezTo>
                    <a:cubicBezTo>
                      <a:pt x="-764" y="268479"/>
                      <a:pt x="342" y="269558"/>
                      <a:pt x="895" y="271177"/>
                    </a:cubicBezTo>
                    <a:cubicBezTo>
                      <a:pt x="1448" y="273336"/>
                      <a:pt x="895" y="275495"/>
                      <a:pt x="1448" y="277654"/>
                    </a:cubicBezTo>
                    <a:cubicBezTo>
                      <a:pt x="4214" y="284131"/>
                      <a:pt x="36846" y="293846"/>
                      <a:pt x="39612" y="303021"/>
                    </a:cubicBezTo>
                    <a:cubicBezTo>
                      <a:pt x="43483" y="313276"/>
                      <a:pt x="36293" y="325690"/>
                      <a:pt x="39612" y="335944"/>
                    </a:cubicBezTo>
                    <a:cubicBezTo>
                      <a:pt x="41271" y="340802"/>
                      <a:pt x="50121" y="342961"/>
                      <a:pt x="52333" y="346739"/>
                    </a:cubicBezTo>
                    <a:cubicBezTo>
                      <a:pt x="54545" y="351057"/>
                      <a:pt x="47908" y="357533"/>
                      <a:pt x="55098" y="360232"/>
                    </a:cubicBezTo>
                    <a:lnTo>
                      <a:pt x="48461" y="396933"/>
                    </a:lnTo>
                    <a:lnTo>
                      <a:pt x="60076" y="414204"/>
                    </a:lnTo>
                    <a:lnTo>
                      <a:pt x="58970" y="423919"/>
                    </a:lnTo>
                    <a:lnTo>
                      <a:pt x="78328" y="437412"/>
                    </a:lnTo>
                    <a:lnTo>
                      <a:pt x="84965" y="470335"/>
                    </a:lnTo>
                    <a:lnTo>
                      <a:pt x="75563" y="502719"/>
                    </a:lnTo>
                    <a:lnTo>
                      <a:pt x="86625" y="501639"/>
                    </a:lnTo>
                    <a:lnTo>
                      <a:pt x="88284" y="488146"/>
                    </a:lnTo>
                    <a:lnTo>
                      <a:pt x="103217" y="483828"/>
                    </a:lnTo>
                    <a:lnTo>
                      <a:pt x="109855" y="501639"/>
                    </a:lnTo>
                    <a:lnTo>
                      <a:pt x="119810" y="511354"/>
                    </a:lnTo>
                    <a:lnTo>
                      <a:pt x="181203" y="519450"/>
                    </a:lnTo>
                    <a:lnTo>
                      <a:pt x="193925" y="513513"/>
                    </a:lnTo>
                    <a:lnTo>
                      <a:pt x="201115" y="523228"/>
                    </a:lnTo>
                    <a:lnTo>
                      <a:pt x="188947" y="539420"/>
                    </a:lnTo>
                    <a:lnTo>
                      <a:pt x="187841" y="547516"/>
                    </a:lnTo>
                    <a:lnTo>
                      <a:pt x="200009" y="549675"/>
                    </a:lnTo>
                    <a:lnTo>
                      <a:pt x="223791" y="572343"/>
                    </a:lnTo>
                    <a:lnTo>
                      <a:pt x="232641" y="574502"/>
                    </a:lnTo>
                    <a:lnTo>
                      <a:pt x="238172" y="564247"/>
                    </a:lnTo>
                    <a:lnTo>
                      <a:pt x="247574" y="557231"/>
                    </a:lnTo>
                    <a:lnTo>
                      <a:pt x="247574" y="552373"/>
                    </a:lnTo>
                    <a:lnTo>
                      <a:pt x="234853" y="546436"/>
                    </a:lnTo>
                    <a:lnTo>
                      <a:pt x="238172" y="538341"/>
                    </a:lnTo>
                    <a:lnTo>
                      <a:pt x="259742" y="541039"/>
                    </a:lnTo>
                    <a:lnTo>
                      <a:pt x="274123" y="549675"/>
                    </a:lnTo>
                    <a:lnTo>
                      <a:pt x="290716" y="553453"/>
                    </a:lnTo>
                    <a:lnTo>
                      <a:pt x="303990" y="545357"/>
                    </a:lnTo>
                    <a:lnTo>
                      <a:pt x="307308" y="556151"/>
                    </a:lnTo>
                    <a:lnTo>
                      <a:pt x="301224" y="564247"/>
                    </a:lnTo>
                    <a:lnTo>
                      <a:pt x="316711" y="576661"/>
                    </a:lnTo>
                    <a:lnTo>
                      <a:pt x="326667" y="578820"/>
                    </a:lnTo>
                    <a:lnTo>
                      <a:pt x="336622" y="572343"/>
                    </a:lnTo>
                    <a:lnTo>
                      <a:pt x="351556" y="581518"/>
                    </a:lnTo>
                    <a:lnTo>
                      <a:pt x="375339" y="579899"/>
                    </a:lnTo>
                    <a:lnTo>
                      <a:pt x="376998" y="587455"/>
                    </a:lnTo>
                    <a:lnTo>
                      <a:pt x="383635" y="600409"/>
                    </a:lnTo>
                    <a:lnTo>
                      <a:pt x="400781" y="611203"/>
                    </a:lnTo>
                    <a:lnTo>
                      <a:pt x="406865" y="621998"/>
                    </a:lnTo>
                    <a:lnTo>
                      <a:pt x="414055" y="627395"/>
                    </a:lnTo>
                    <a:lnTo>
                      <a:pt x="415714" y="637110"/>
                    </a:lnTo>
                    <a:lnTo>
                      <a:pt x="430648" y="631173"/>
                    </a:lnTo>
                    <a:lnTo>
                      <a:pt x="432860" y="616600"/>
                    </a:lnTo>
                    <a:lnTo>
                      <a:pt x="448347" y="604187"/>
                    </a:lnTo>
                    <a:lnTo>
                      <a:pt x="465493" y="623077"/>
                    </a:lnTo>
                    <a:lnTo>
                      <a:pt x="478767" y="626315"/>
                    </a:lnTo>
                    <a:lnTo>
                      <a:pt x="483192" y="633872"/>
                    </a:lnTo>
                    <a:lnTo>
                      <a:pt x="484851" y="647365"/>
                    </a:lnTo>
                    <a:lnTo>
                      <a:pt x="502550" y="645745"/>
                    </a:lnTo>
                    <a:lnTo>
                      <a:pt x="512506" y="627395"/>
                    </a:lnTo>
                    <a:lnTo>
                      <a:pt x="523567" y="619299"/>
                    </a:lnTo>
                    <a:lnTo>
                      <a:pt x="537395" y="619839"/>
                    </a:lnTo>
                    <a:lnTo>
                      <a:pt x="552328" y="612283"/>
                    </a:lnTo>
                    <a:lnTo>
                      <a:pt x="570027" y="619839"/>
                    </a:lnTo>
                    <a:lnTo>
                      <a:pt x="579430" y="607425"/>
                    </a:lnTo>
                    <a:lnTo>
                      <a:pt x="615934" y="597710"/>
                    </a:lnTo>
                    <a:lnTo>
                      <a:pt x="645801" y="601488"/>
                    </a:lnTo>
                    <a:lnTo>
                      <a:pt x="657969" y="617680"/>
                    </a:lnTo>
                    <a:lnTo>
                      <a:pt x="698898" y="625776"/>
                    </a:lnTo>
                    <a:lnTo>
                      <a:pt x="721574" y="626855"/>
                    </a:lnTo>
                    <a:lnTo>
                      <a:pt x="724340" y="620918"/>
                    </a:lnTo>
                    <a:lnTo>
                      <a:pt x="709959" y="611203"/>
                    </a:lnTo>
                    <a:lnTo>
                      <a:pt x="709406" y="598790"/>
                    </a:lnTo>
                    <a:lnTo>
                      <a:pt x="698344" y="566406"/>
                    </a:lnTo>
                    <a:lnTo>
                      <a:pt x="699451" y="555072"/>
                    </a:lnTo>
                    <a:lnTo>
                      <a:pt x="755866" y="449286"/>
                    </a:lnTo>
                    <a:lnTo>
                      <a:pt x="770800" y="441730"/>
                    </a:lnTo>
                    <a:lnTo>
                      <a:pt x="776884" y="434714"/>
                    </a:lnTo>
                    <a:lnTo>
                      <a:pt x="778543" y="424999"/>
                    </a:lnTo>
                    <a:lnTo>
                      <a:pt x="777437" y="414744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29" name="Freeform 1061">
                <a:extLst>
                  <a:ext uri="{FF2B5EF4-FFF2-40B4-BE49-F238E27FC236}">
                    <a16:creationId xmlns:a16="http://schemas.microsoft.com/office/drawing/2014/main" id="{8B6E29F6-3375-4578-9C74-9F263C3F1443}"/>
                  </a:ext>
                </a:extLst>
              </p:cNvPr>
              <p:cNvSpPr/>
              <p:nvPr/>
            </p:nvSpPr>
            <p:spPr>
              <a:xfrm>
                <a:off x="6019126" y="1335878"/>
                <a:ext cx="1128860" cy="1642641"/>
              </a:xfrm>
              <a:custGeom>
                <a:avLst/>
                <a:gdLst>
                  <a:gd name="connsiteX0" fmla="*/ 13121 w 1128860"/>
                  <a:gd name="connsiteY0" fmla="*/ 1439325 h 1642641"/>
                  <a:gd name="connsiteX1" fmla="*/ 10909 w 1128860"/>
                  <a:gd name="connsiteY1" fmla="*/ 1444723 h 1642641"/>
                  <a:gd name="connsiteX2" fmla="*/ 7590 w 1128860"/>
                  <a:gd name="connsiteY2" fmla="*/ 1449580 h 1642641"/>
                  <a:gd name="connsiteX3" fmla="*/ 4272 w 1128860"/>
                  <a:gd name="connsiteY3" fmla="*/ 1449040 h 1642641"/>
                  <a:gd name="connsiteX4" fmla="*/ 4272 w 1128860"/>
                  <a:gd name="connsiteY4" fmla="*/ 1439325 h 1642641"/>
                  <a:gd name="connsiteX5" fmla="*/ -706 w 1128860"/>
                  <a:gd name="connsiteY5" fmla="*/ 1431769 h 1642641"/>
                  <a:gd name="connsiteX6" fmla="*/ 1506 w 1128860"/>
                  <a:gd name="connsiteY6" fmla="*/ 1425293 h 1642641"/>
                  <a:gd name="connsiteX7" fmla="*/ 5378 w 1128860"/>
                  <a:gd name="connsiteY7" fmla="*/ 1424753 h 1642641"/>
                  <a:gd name="connsiteX8" fmla="*/ 9249 w 1128860"/>
                  <a:gd name="connsiteY8" fmla="*/ 1431769 h 1642641"/>
                  <a:gd name="connsiteX9" fmla="*/ 14780 w 1128860"/>
                  <a:gd name="connsiteY9" fmla="*/ 1435547 h 1642641"/>
                  <a:gd name="connsiteX10" fmla="*/ 16993 w 1128860"/>
                  <a:gd name="connsiteY10" fmla="*/ 1436087 h 1642641"/>
                  <a:gd name="connsiteX11" fmla="*/ 15333 w 1128860"/>
                  <a:gd name="connsiteY11" fmla="*/ 1437706 h 1642641"/>
                  <a:gd name="connsiteX12" fmla="*/ 13121 w 1128860"/>
                  <a:gd name="connsiteY12" fmla="*/ 1439325 h 1642641"/>
                  <a:gd name="connsiteX13" fmla="*/ 1110456 w 1128860"/>
                  <a:gd name="connsiteY13" fmla="*/ 130496 h 1642641"/>
                  <a:gd name="connsiteX14" fmla="*/ 1097735 w 1128860"/>
                  <a:gd name="connsiteY14" fmla="*/ 155324 h 1642641"/>
                  <a:gd name="connsiteX15" fmla="*/ 1081695 w 1128860"/>
                  <a:gd name="connsiteY15" fmla="*/ 166658 h 1642641"/>
                  <a:gd name="connsiteX16" fmla="*/ 1080036 w 1128860"/>
                  <a:gd name="connsiteY16" fmla="*/ 176912 h 1642641"/>
                  <a:gd name="connsiteX17" fmla="*/ 1082801 w 1128860"/>
                  <a:gd name="connsiteY17" fmla="*/ 182849 h 1642641"/>
                  <a:gd name="connsiteX18" fmla="*/ 1075611 w 1128860"/>
                  <a:gd name="connsiteY18" fmla="*/ 214693 h 1642641"/>
                  <a:gd name="connsiteX19" fmla="*/ 1060124 w 1128860"/>
                  <a:gd name="connsiteY19" fmla="*/ 186627 h 1642641"/>
                  <a:gd name="connsiteX20" fmla="*/ 1067315 w 1128860"/>
                  <a:gd name="connsiteY20" fmla="*/ 157482 h 1642641"/>
                  <a:gd name="connsiteX21" fmla="*/ 1056806 w 1128860"/>
                  <a:gd name="connsiteY21" fmla="*/ 141830 h 1642641"/>
                  <a:gd name="connsiteX22" fmla="*/ 1051828 w 1128860"/>
                  <a:gd name="connsiteY22" fmla="*/ 137513 h 1642641"/>
                  <a:gd name="connsiteX23" fmla="*/ 1013111 w 1128860"/>
                  <a:gd name="connsiteY23" fmla="*/ 127258 h 1642641"/>
                  <a:gd name="connsiteX24" fmla="*/ 994859 w 1128860"/>
                  <a:gd name="connsiteY24" fmla="*/ 113225 h 1642641"/>
                  <a:gd name="connsiteX25" fmla="*/ 981032 w 1128860"/>
                  <a:gd name="connsiteY25" fmla="*/ 134274 h 1642641"/>
                  <a:gd name="connsiteX26" fmla="*/ 955037 w 1128860"/>
                  <a:gd name="connsiteY26" fmla="*/ 150466 h 1642641"/>
                  <a:gd name="connsiteX27" fmla="*/ 942869 w 1128860"/>
                  <a:gd name="connsiteY27" fmla="*/ 174754 h 1642641"/>
                  <a:gd name="connsiteX28" fmla="*/ 939550 w 1128860"/>
                  <a:gd name="connsiteY28" fmla="*/ 183389 h 1642641"/>
                  <a:gd name="connsiteX29" fmla="*/ 938444 w 1128860"/>
                  <a:gd name="connsiteY29" fmla="*/ 195803 h 1642641"/>
                  <a:gd name="connsiteX30" fmla="*/ 941209 w 1128860"/>
                  <a:gd name="connsiteY30" fmla="*/ 228186 h 1642641"/>
                  <a:gd name="connsiteX31" fmla="*/ 948953 w 1128860"/>
                  <a:gd name="connsiteY31" fmla="*/ 237361 h 1642641"/>
                  <a:gd name="connsiteX32" fmla="*/ 945081 w 1128860"/>
                  <a:gd name="connsiteY32" fmla="*/ 257871 h 1642641"/>
                  <a:gd name="connsiteX33" fmla="*/ 939550 w 1128860"/>
                  <a:gd name="connsiteY33" fmla="*/ 267586 h 1642641"/>
                  <a:gd name="connsiteX34" fmla="*/ 936232 w 1128860"/>
                  <a:gd name="connsiteY34" fmla="*/ 280539 h 1642641"/>
                  <a:gd name="connsiteX35" fmla="*/ 932360 w 1128860"/>
                  <a:gd name="connsiteY35" fmla="*/ 313462 h 1642641"/>
                  <a:gd name="connsiteX36" fmla="*/ 914661 w 1128860"/>
                  <a:gd name="connsiteY36" fmla="*/ 309684 h 1642641"/>
                  <a:gd name="connsiteX37" fmla="*/ 909130 w 1128860"/>
                  <a:gd name="connsiteY37" fmla="*/ 305367 h 1642641"/>
                  <a:gd name="connsiteX38" fmla="*/ 884794 w 1128860"/>
                  <a:gd name="connsiteY38" fmla="*/ 299969 h 1642641"/>
                  <a:gd name="connsiteX39" fmla="*/ 870967 w 1128860"/>
                  <a:gd name="connsiteY39" fmla="*/ 289175 h 1642641"/>
                  <a:gd name="connsiteX40" fmla="*/ 864883 w 1128860"/>
                  <a:gd name="connsiteY40" fmla="*/ 295112 h 1642641"/>
                  <a:gd name="connsiteX41" fmla="*/ 863777 w 1128860"/>
                  <a:gd name="connsiteY41" fmla="*/ 305906 h 1642641"/>
                  <a:gd name="connsiteX42" fmla="*/ 847184 w 1128860"/>
                  <a:gd name="connsiteY42" fmla="*/ 319939 h 1642641"/>
                  <a:gd name="connsiteX43" fmla="*/ 836122 w 1128860"/>
                  <a:gd name="connsiteY43" fmla="*/ 316701 h 1642641"/>
                  <a:gd name="connsiteX44" fmla="*/ 804043 w 1128860"/>
                  <a:gd name="connsiteY44" fmla="*/ 317241 h 1642641"/>
                  <a:gd name="connsiteX45" fmla="*/ 799618 w 1128860"/>
                  <a:gd name="connsiteY45" fmla="*/ 304287 h 1642641"/>
                  <a:gd name="connsiteX46" fmla="*/ 769751 w 1128860"/>
                  <a:gd name="connsiteY46" fmla="*/ 263268 h 1642641"/>
                  <a:gd name="connsiteX47" fmla="*/ 744862 w 1128860"/>
                  <a:gd name="connsiteY47" fmla="*/ 260570 h 1642641"/>
                  <a:gd name="connsiteX48" fmla="*/ 734906 w 1128860"/>
                  <a:gd name="connsiteY48" fmla="*/ 275682 h 1642641"/>
                  <a:gd name="connsiteX49" fmla="*/ 739884 w 1128860"/>
                  <a:gd name="connsiteY49" fmla="*/ 292953 h 1642641"/>
                  <a:gd name="connsiteX50" fmla="*/ 737119 w 1128860"/>
                  <a:gd name="connsiteY50" fmla="*/ 296731 h 1642641"/>
                  <a:gd name="connsiteX51" fmla="*/ 720526 w 1128860"/>
                  <a:gd name="connsiteY51" fmla="*/ 295112 h 1642641"/>
                  <a:gd name="connsiteX52" fmla="*/ 704486 w 1128860"/>
                  <a:gd name="connsiteY52" fmla="*/ 302668 h 1642641"/>
                  <a:gd name="connsiteX53" fmla="*/ 717207 w 1128860"/>
                  <a:gd name="connsiteY53" fmla="*/ 337750 h 1642641"/>
                  <a:gd name="connsiteX54" fmla="*/ 709464 w 1128860"/>
                  <a:gd name="connsiteY54" fmla="*/ 365816 h 1642641"/>
                  <a:gd name="connsiteX55" fmla="*/ 714442 w 1128860"/>
                  <a:gd name="connsiteY55" fmla="*/ 368514 h 1642641"/>
                  <a:gd name="connsiteX56" fmla="*/ 711123 w 1128860"/>
                  <a:gd name="connsiteY56" fmla="*/ 379309 h 1642641"/>
                  <a:gd name="connsiteX57" fmla="*/ 658579 w 1128860"/>
                  <a:gd name="connsiteY57" fmla="*/ 369594 h 1642641"/>
                  <a:gd name="connsiteX58" fmla="*/ 624841 w 1128860"/>
                  <a:gd name="connsiteY58" fmla="*/ 377150 h 1642641"/>
                  <a:gd name="connsiteX59" fmla="*/ 621522 w 1128860"/>
                  <a:gd name="connsiteY59" fmla="*/ 388484 h 1642641"/>
                  <a:gd name="connsiteX60" fmla="*/ 629266 w 1128860"/>
                  <a:gd name="connsiteY60" fmla="*/ 415470 h 1642641"/>
                  <a:gd name="connsiteX61" fmla="*/ 633137 w 1128860"/>
                  <a:gd name="connsiteY61" fmla="*/ 420867 h 1642641"/>
                  <a:gd name="connsiteX62" fmla="*/ 625947 w 1128860"/>
                  <a:gd name="connsiteY62" fmla="*/ 440297 h 1642641"/>
                  <a:gd name="connsiteX63" fmla="*/ 617651 w 1128860"/>
                  <a:gd name="connsiteY63" fmla="*/ 440837 h 1642641"/>
                  <a:gd name="connsiteX64" fmla="*/ 593868 w 1128860"/>
                  <a:gd name="connsiteY64" fmla="*/ 435440 h 1642641"/>
                  <a:gd name="connsiteX65" fmla="*/ 572850 w 1128860"/>
                  <a:gd name="connsiteY65" fmla="*/ 458108 h 1642641"/>
                  <a:gd name="connsiteX66" fmla="*/ 562895 w 1128860"/>
                  <a:gd name="connsiteY66" fmla="*/ 500746 h 1642641"/>
                  <a:gd name="connsiteX67" fmla="*/ 552386 w 1128860"/>
                  <a:gd name="connsiteY67" fmla="*/ 516398 h 1642641"/>
                  <a:gd name="connsiteX68" fmla="*/ 567319 w 1128860"/>
                  <a:gd name="connsiteY68" fmla="*/ 536908 h 1642641"/>
                  <a:gd name="connsiteX69" fmla="*/ 570638 w 1128860"/>
                  <a:gd name="connsiteY69" fmla="*/ 567672 h 1642641"/>
                  <a:gd name="connsiteX70" fmla="*/ 529156 w 1128860"/>
                  <a:gd name="connsiteY70" fmla="*/ 630280 h 1642641"/>
                  <a:gd name="connsiteX71" fmla="*/ 541324 w 1128860"/>
                  <a:gd name="connsiteY71" fmla="*/ 649710 h 1642641"/>
                  <a:gd name="connsiteX72" fmla="*/ 518094 w 1128860"/>
                  <a:gd name="connsiteY72" fmla="*/ 668600 h 1642641"/>
                  <a:gd name="connsiteX73" fmla="*/ 498183 w 1128860"/>
                  <a:gd name="connsiteY73" fmla="*/ 678315 h 1642641"/>
                  <a:gd name="connsiteX74" fmla="*/ 507032 w 1128860"/>
                  <a:gd name="connsiteY74" fmla="*/ 711778 h 1642641"/>
                  <a:gd name="connsiteX75" fmla="*/ 505926 w 1128860"/>
                  <a:gd name="connsiteY75" fmla="*/ 756036 h 1642641"/>
                  <a:gd name="connsiteX76" fmla="*/ 498736 w 1128860"/>
                  <a:gd name="connsiteY76" fmla="*/ 790578 h 1642641"/>
                  <a:gd name="connsiteX77" fmla="*/ 472741 w 1128860"/>
                  <a:gd name="connsiteY77" fmla="*/ 854265 h 1642641"/>
                  <a:gd name="connsiteX78" fmla="*/ 497630 w 1128860"/>
                  <a:gd name="connsiteY78" fmla="*/ 872076 h 1642641"/>
                  <a:gd name="connsiteX79" fmla="*/ 500395 w 1128860"/>
                  <a:gd name="connsiteY79" fmla="*/ 902840 h 1642641"/>
                  <a:gd name="connsiteX80" fmla="*/ 495417 w 1128860"/>
                  <a:gd name="connsiteY80" fmla="*/ 920651 h 1642641"/>
                  <a:gd name="connsiteX81" fmla="*/ 452276 w 1128860"/>
                  <a:gd name="connsiteY81" fmla="*/ 917953 h 1642641"/>
                  <a:gd name="connsiteX82" fmla="*/ 426834 w 1128860"/>
                  <a:gd name="connsiteY82" fmla="*/ 933065 h 1642641"/>
                  <a:gd name="connsiteX83" fmla="*/ 406369 w 1128860"/>
                  <a:gd name="connsiteY83" fmla="*/ 964909 h 1642641"/>
                  <a:gd name="connsiteX84" fmla="*/ 401392 w 1128860"/>
                  <a:gd name="connsiteY84" fmla="*/ 978941 h 1642641"/>
                  <a:gd name="connsiteX85" fmla="*/ 405263 w 1128860"/>
                  <a:gd name="connsiteY85" fmla="*/ 990276 h 1642641"/>
                  <a:gd name="connsiteX86" fmla="*/ 395861 w 1128860"/>
                  <a:gd name="connsiteY86" fmla="*/ 1015642 h 1642641"/>
                  <a:gd name="connsiteX87" fmla="*/ 408029 w 1128860"/>
                  <a:gd name="connsiteY87" fmla="*/ 1047486 h 1642641"/>
                  <a:gd name="connsiteX88" fmla="*/ 401392 w 1128860"/>
                  <a:gd name="connsiteY88" fmla="*/ 1059360 h 1642641"/>
                  <a:gd name="connsiteX89" fmla="*/ 401945 w 1128860"/>
                  <a:gd name="connsiteY89" fmla="*/ 1091204 h 1642641"/>
                  <a:gd name="connsiteX90" fmla="*/ 420197 w 1128860"/>
                  <a:gd name="connsiteY90" fmla="*/ 1128984 h 1642641"/>
                  <a:gd name="connsiteX91" fmla="*/ 422962 w 1128860"/>
                  <a:gd name="connsiteY91" fmla="*/ 1136001 h 1642641"/>
                  <a:gd name="connsiteX92" fmla="*/ 417984 w 1128860"/>
                  <a:gd name="connsiteY92" fmla="*/ 1198069 h 1642641"/>
                  <a:gd name="connsiteX93" fmla="*/ 457254 w 1128860"/>
                  <a:gd name="connsiteY93" fmla="*/ 1230992 h 1642641"/>
                  <a:gd name="connsiteX94" fmla="*/ 460019 w 1128860"/>
                  <a:gd name="connsiteY94" fmla="*/ 1244485 h 1642641"/>
                  <a:gd name="connsiteX95" fmla="*/ 448958 w 1128860"/>
                  <a:gd name="connsiteY95" fmla="*/ 1276329 h 1642641"/>
                  <a:gd name="connsiteX96" fmla="*/ 438449 w 1128860"/>
                  <a:gd name="connsiteY96" fmla="*/ 1276329 h 1642641"/>
                  <a:gd name="connsiteX97" fmla="*/ 429046 w 1128860"/>
                  <a:gd name="connsiteY97" fmla="*/ 1284964 h 1642641"/>
                  <a:gd name="connsiteX98" fmla="*/ 457254 w 1128860"/>
                  <a:gd name="connsiteY98" fmla="*/ 1344334 h 1642641"/>
                  <a:gd name="connsiteX99" fmla="*/ 450617 w 1128860"/>
                  <a:gd name="connsiteY99" fmla="*/ 1367542 h 1642641"/>
                  <a:gd name="connsiteX100" fmla="*/ 449511 w 1128860"/>
                  <a:gd name="connsiteY100" fmla="*/ 1392909 h 1642641"/>
                  <a:gd name="connsiteX101" fmla="*/ 436790 w 1128860"/>
                  <a:gd name="connsiteY101" fmla="*/ 1412339 h 1642641"/>
                  <a:gd name="connsiteX102" fmla="*/ 417431 w 1128860"/>
                  <a:gd name="connsiteY102" fmla="*/ 1417197 h 1642641"/>
                  <a:gd name="connsiteX103" fmla="*/ 420197 w 1128860"/>
                  <a:gd name="connsiteY103" fmla="*/ 1437706 h 1642641"/>
                  <a:gd name="connsiteX104" fmla="*/ 409688 w 1128860"/>
                  <a:gd name="connsiteY104" fmla="*/ 1447421 h 1642641"/>
                  <a:gd name="connsiteX105" fmla="*/ 418538 w 1128860"/>
                  <a:gd name="connsiteY105" fmla="*/ 1486821 h 1642641"/>
                  <a:gd name="connsiteX106" fmla="*/ 406369 w 1128860"/>
                  <a:gd name="connsiteY106" fmla="*/ 1531618 h 1642641"/>
                  <a:gd name="connsiteX107" fmla="*/ 400285 w 1128860"/>
                  <a:gd name="connsiteY107" fmla="*/ 1533237 h 1642641"/>
                  <a:gd name="connsiteX108" fmla="*/ 393648 w 1128860"/>
                  <a:gd name="connsiteY108" fmla="*/ 1531618 h 1642641"/>
                  <a:gd name="connsiteX109" fmla="*/ 392542 w 1128860"/>
                  <a:gd name="connsiteY109" fmla="*/ 1509489 h 1642641"/>
                  <a:gd name="connsiteX110" fmla="*/ 384799 w 1128860"/>
                  <a:gd name="connsiteY110" fmla="*/ 1506791 h 1642641"/>
                  <a:gd name="connsiteX111" fmla="*/ 363781 w 1128860"/>
                  <a:gd name="connsiteY111" fmla="*/ 1499774 h 1642641"/>
                  <a:gd name="connsiteX112" fmla="*/ 349954 w 1128860"/>
                  <a:gd name="connsiteY112" fmla="*/ 1480344 h 1642641"/>
                  <a:gd name="connsiteX113" fmla="*/ 347742 w 1128860"/>
                  <a:gd name="connsiteY113" fmla="*/ 1448501 h 1642641"/>
                  <a:gd name="connsiteX114" fmla="*/ 342764 w 1128860"/>
                  <a:gd name="connsiteY114" fmla="*/ 1437166 h 1642641"/>
                  <a:gd name="connsiteX115" fmla="*/ 343317 w 1128860"/>
                  <a:gd name="connsiteY115" fmla="*/ 1435008 h 1642641"/>
                  <a:gd name="connsiteX116" fmla="*/ 346082 w 1128860"/>
                  <a:gd name="connsiteY116" fmla="*/ 1434468 h 1642641"/>
                  <a:gd name="connsiteX117" fmla="*/ 347189 w 1128860"/>
                  <a:gd name="connsiteY117" fmla="*/ 1436087 h 1642641"/>
                  <a:gd name="connsiteX118" fmla="*/ 348848 w 1128860"/>
                  <a:gd name="connsiteY118" fmla="*/ 1435008 h 1642641"/>
                  <a:gd name="connsiteX119" fmla="*/ 347189 w 1128860"/>
                  <a:gd name="connsiteY119" fmla="*/ 1417736 h 1642641"/>
                  <a:gd name="connsiteX120" fmla="*/ 339998 w 1128860"/>
                  <a:gd name="connsiteY120" fmla="*/ 1418816 h 1642641"/>
                  <a:gd name="connsiteX121" fmla="*/ 332808 w 1128860"/>
                  <a:gd name="connsiteY121" fmla="*/ 1430690 h 1642641"/>
                  <a:gd name="connsiteX122" fmla="*/ 336680 w 1128860"/>
                  <a:gd name="connsiteY122" fmla="*/ 1435547 h 1642641"/>
                  <a:gd name="connsiteX123" fmla="*/ 338339 w 1128860"/>
                  <a:gd name="connsiteY123" fmla="*/ 1450660 h 1642641"/>
                  <a:gd name="connsiteX124" fmla="*/ 336680 w 1128860"/>
                  <a:gd name="connsiteY124" fmla="*/ 1457136 h 1642641"/>
                  <a:gd name="connsiteX125" fmla="*/ 324512 w 1128860"/>
                  <a:gd name="connsiteY125" fmla="*/ 1456057 h 1642641"/>
                  <a:gd name="connsiteX126" fmla="*/ 323959 w 1128860"/>
                  <a:gd name="connsiteY126" fmla="*/ 1460914 h 1642641"/>
                  <a:gd name="connsiteX127" fmla="*/ 334468 w 1128860"/>
                  <a:gd name="connsiteY127" fmla="*/ 1472788 h 1642641"/>
                  <a:gd name="connsiteX128" fmla="*/ 337233 w 1128860"/>
                  <a:gd name="connsiteY128" fmla="*/ 1486821 h 1642641"/>
                  <a:gd name="connsiteX129" fmla="*/ 335574 w 1128860"/>
                  <a:gd name="connsiteY129" fmla="*/ 1492218 h 1642641"/>
                  <a:gd name="connsiteX130" fmla="*/ 328384 w 1128860"/>
                  <a:gd name="connsiteY130" fmla="*/ 1497076 h 1642641"/>
                  <a:gd name="connsiteX131" fmla="*/ 322853 w 1128860"/>
                  <a:gd name="connsiteY131" fmla="*/ 1514347 h 1642641"/>
                  <a:gd name="connsiteX132" fmla="*/ 310131 w 1128860"/>
                  <a:gd name="connsiteY132" fmla="*/ 1522443 h 1642641"/>
                  <a:gd name="connsiteX133" fmla="*/ 304601 w 1128860"/>
                  <a:gd name="connsiteY133" fmla="*/ 1527300 h 1642641"/>
                  <a:gd name="connsiteX134" fmla="*/ 297410 w 1128860"/>
                  <a:gd name="connsiteY134" fmla="*/ 1521363 h 1642641"/>
                  <a:gd name="connsiteX135" fmla="*/ 293539 w 1128860"/>
                  <a:gd name="connsiteY135" fmla="*/ 1521363 h 1642641"/>
                  <a:gd name="connsiteX136" fmla="*/ 289114 w 1128860"/>
                  <a:gd name="connsiteY136" fmla="*/ 1529999 h 1642641"/>
                  <a:gd name="connsiteX137" fmla="*/ 264778 w 1128860"/>
                  <a:gd name="connsiteY137" fmla="*/ 1540793 h 1642641"/>
                  <a:gd name="connsiteX138" fmla="*/ 264225 w 1128860"/>
                  <a:gd name="connsiteY138" fmla="*/ 1543492 h 1642641"/>
                  <a:gd name="connsiteX139" fmla="*/ 270309 w 1128860"/>
                  <a:gd name="connsiteY139" fmla="*/ 1544571 h 1642641"/>
                  <a:gd name="connsiteX140" fmla="*/ 265331 w 1128860"/>
                  <a:gd name="connsiteY140" fmla="*/ 1555906 h 1642641"/>
                  <a:gd name="connsiteX141" fmla="*/ 253716 w 1128860"/>
                  <a:gd name="connsiteY141" fmla="*/ 1562922 h 1642641"/>
                  <a:gd name="connsiteX142" fmla="*/ 249291 w 1128860"/>
                  <a:gd name="connsiteY142" fmla="*/ 1572097 h 1642641"/>
                  <a:gd name="connsiteX143" fmla="*/ 239336 w 1128860"/>
                  <a:gd name="connsiteY143" fmla="*/ 1579114 h 1642641"/>
                  <a:gd name="connsiteX144" fmla="*/ 212234 w 1128860"/>
                  <a:gd name="connsiteY144" fmla="*/ 1616894 h 1642641"/>
                  <a:gd name="connsiteX145" fmla="*/ 199513 w 1128860"/>
                  <a:gd name="connsiteY145" fmla="*/ 1623911 h 1642641"/>
                  <a:gd name="connsiteX146" fmla="*/ 194535 w 1128860"/>
                  <a:gd name="connsiteY146" fmla="*/ 1629848 h 1642641"/>
                  <a:gd name="connsiteX147" fmla="*/ 174071 w 1128860"/>
                  <a:gd name="connsiteY147" fmla="*/ 1634705 h 1642641"/>
                  <a:gd name="connsiteX148" fmla="*/ 163009 w 1128860"/>
                  <a:gd name="connsiteY148" fmla="*/ 1641722 h 1642641"/>
                  <a:gd name="connsiteX149" fmla="*/ 125399 w 1128860"/>
                  <a:gd name="connsiteY149" fmla="*/ 1639563 h 1642641"/>
                  <a:gd name="connsiteX150" fmla="*/ 109912 w 1128860"/>
                  <a:gd name="connsiteY150" fmla="*/ 1625530 h 1642641"/>
                  <a:gd name="connsiteX151" fmla="*/ 104381 w 1128860"/>
                  <a:gd name="connsiteY151" fmla="*/ 1626609 h 1642641"/>
                  <a:gd name="connsiteX152" fmla="*/ 103828 w 1128860"/>
                  <a:gd name="connsiteY152" fmla="*/ 1637404 h 1642641"/>
                  <a:gd name="connsiteX153" fmla="*/ 101616 w 1128860"/>
                  <a:gd name="connsiteY153" fmla="*/ 1638483 h 1642641"/>
                  <a:gd name="connsiteX154" fmla="*/ 91107 w 1128860"/>
                  <a:gd name="connsiteY154" fmla="*/ 1628768 h 1642641"/>
                  <a:gd name="connsiteX155" fmla="*/ 96085 w 1128860"/>
                  <a:gd name="connsiteY155" fmla="*/ 1620133 h 1642641"/>
                  <a:gd name="connsiteX156" fmla="*/ 95532 w 1128860"/>
                  <a:gd name="connsiteY156" fmla="*/ 1617434 h 1642641"/>
                  <a:gd name="connsiteX157" fmla="*/ 57922 w 1128860"/>
                  <a:gd name="connsiteY157" fmla="*/ 1596925 h 1642641"/>
                  <a:gd name="connsiteX158" fmla="*/ 52944 w 1128860"/>
                  <a:gd name="connsiteY158" fmla="*/ 1588829 h 1642641"/>
                  <a:gd name="connsiteX159" fmla="*/ 36351 w 1128860"/>
                  <a:gd name="connsiteY159" fmla="*/ 1574796 h 1642641"/>
                  <a:gd name="connsiteX160" fmla="*/ 28608 w 1128860"/>
                  <a:gd name="connsiteY160" fmla="*/ 1560763 h 1642641"/>
                  <a:gd name="connsiteX161" fmla="*/ 30820 w 1128860"/>
                  <a:gd name="connsiteY161" fmla="*/ 1526221 h 1642641"/>
                  <a:gd name="connsiteX162" fmla="*/ 33585 w 1128860"/>
                  <a:gd name="connsiteY162" fmla="*/ 1525681 h 1642641"/>
                  <a:gd name="connsiteX163" fmla="*/ 40776 w 1128860"/>
                  <a:gd name="connsiteY163" fmla="*/ 1537555 h 1642641"/>
                  <a:gd name="connsiteX164" fmla="*/ 43541 w 1128860"/>
                  <a:gd name="connsiteY164" fmla="*/ 1538095 h 1642641"/>
                  <a:gd name="connsiteX165" fmla="*/ 57922 w 1128860"/>
                  <a:gd name="connsiteY165" fmla="*/ 1538634 h 1642641"/>
                  <a:gd name="connsiteX166" fmla="*/ 55709 w 1128860"/>
                  <a:gd name="connsiteY166" fmla="*/ 1517585 h 1642641"/>
                  <a:gd name="connsiteX167" fmla="*/ 61793 w 1128860"/>
                  <a:gd name="connsiteY167" fmla="*/ 1513267 h 1642641"/>
                  <a:gd name="connsiteX168" fmla="*/ 70643 w 1128860"/>
                  <a:gd name="connsiteY168" fmla="*/ 1494917 h 1642641"/>
                  <a:gd name="connsiteX169" fmla="*/ 64006 w 1128860"/>
                  <a:gd name="connsiteY169" fmla="*/ 1486821 h 1642641"/>
                  <a:gd name="connsiteX170" fmla="*/ 65112 w 1128860"/>
                  <a:gd name="connsiteY170" fmla="*/ 1481963 h 1642641"/>
                  <a:gd name="connsiteX171" fmla="*/ 66771 w 1128860"/>
                  <a:gd name="connsiteY171" fmla="*/ 1473868 h 1642641"/>
                  <a:gd name="connsiteX172" fmla="*/ 60134 w 1128860"/>
                  <a:gd name="connsiteY172" fmla="*/ 1479805 h 1642641"/>
                  <a:gd name="connsiteX173" fmla="*/ 57368 w 1128860"/>
                  <a:gd name="connsiteY173" fmla="*/ 1479265 h 1642641"/>
                  <a:gd name="connsiteX174" fmla="*/ 56815 w 1128860"/>
                  <a:gd name="connsiteY174" fmla="*/ 1478185 h 1642641"/>
                  <a:gd name="connsiteX175" fmla="*/ 55709 w 1128860"/>
                  <a:gd name="connsiteY175" fmla="*/ 1466851 h 1642641"/>
                  <a:gd name="connsiteX176" fmla="*/ 49072 w 1128860"/>
                  <a:gd name="connsiteY176" fmla="*/ 1466851 h 1642641"/>
                  <a:gd name="connsiteX177" fmla="*/ 42435 w 1128860"/>
                  <a:gd name="connsiteY177" fmla="*/ 1488980 h 1642641"/>
                  <a:gd name="connsiteX178" fmla="*/ 36904 w 1128860"/>
                  <a:gd name="connsiteY178" fmla="*/ 1482503 h 1642641"/>
                  <a:gd name="connsiteX179" fmla="*/ 34692 w 1128860"/>
                  <a:gd name="connsiteY179" fmla="*/ 1482503 h 1642641"/>
                  <a:gd name="connsiteX180" fmla="*/ 30267 w 1128860"/>
                  <a:gd name="connsiteY180" fmla="*/ 1488440 h 1642641"/>
                  <a:gd name="connsiteX181" fmla="*/ 28055 w 1128860"/>
                  <a:gd name="connsiteY181" fmla="*/ 1487361 h 1642641"/>
                  <a:gd name="connsiteX182" fmla="*/ 26948 w 1128860"/>
                  <a:gd name="connsiteY182" fmla="*/ 1484122 h 1642641"/>
                  <a:gd name="connsiteX183" fmla="*/ 24736 w 1128860"/>
                  <a:gd name="connsiteY183" fmla="*/ 1480344 h 1642641"/>
                  <a:gd name="connsiteX184" fmla="*/ 18099 w 1128860"/>
                  <a:gd name="connsiteY184" fmla="*/ 1482503 h 1642641"/>
                  <a:gd name="connsiteX185" fmla="*/ 14227 w 1128860"/>
                  <a:gd name="connsiteY185" fmla="*/ 1505711 h 1642641"/>
                  <a:gd name="connsiteX186" fmla="*/ 13121 w 1128860"/>
                  <a:gd name="connsiteY186" fmla="*/ 1506791 h 1642641"/>
                  <a:gd name="connsiteX187" fmla="*/ 11462 w 1128860"/>
                  <a:gd name="connsiteY187" fmla="*/ 1475487 h 1642641"/>
                  <a:gd name="connsiteX188" fmla="*/ 12015 w 1128860"/>
                  <a:gd name="connsiteY188" fmla="*/ 1459835 h 1642641"/>
                  <a:gd name="connsiteX189" fmla="*/ 25842 w 1128860"/>
                  <a:gd name="connsiteY189" fmla="*/ 1446342 h 1642641"/>
                  <a:gd name="connsiteX190" fmla="*/ 28055 w 1128860"/>
                  <a:gd name="connsiteY190" fmla="*/ 1446881 h 1642641"/>
                  <a:gd name="connsiteX191" fmla="*/ 29161 w 1128860"/>
                  <a:gd name="connsiteY191" fmla="*/ 1449580 h 1642641"/>
                  <a:gd name="connsiteX192" fmla="*/ 24183 w 1128860"/>
                  <a:gd name="connsiteY192" fmla="*/ 1463073 h 1642641"/>
                  <a:gd name="connsiteX193" fmla="*/ 33032 w 1128860"/>
                  <a:gd name="connsiteY193" fmla="*/ 1454977 h 1642641"/>
                  <a:gd name="connsiteX194" fmla="*/ 37457 w 1128860"/>
                  <a:gd name="connsiteY194" fmla="*/ 1446881 h 1642641"/>
                  <a:gd name="connsiteX195" fmla="*/ 47966 w 1128860"/>
                  <a:gd name="connsiteY195" fmla="*/ 1451199 h 1642641"/>
                  <a:gd name="connsiteX196" fmla="*/ 55156 w 1128860"/>
                  <a:gd name="connsiteY196" fmla="*/ 1440944 h 1642641"/>
                  <a:gd name="connsiteX197" fmla="*/ 68983 w 1128860"/>
                  <a:gd name="connsiteY197" fmla="*/ 1432849 h 1642641"/>
                  <a:gd name="connsiteX198" fmla="*/ 62346 w 1128860"/>
                  <a:gd name="connsiteY198" fmla="*/ 1433388 h 1642641"/>
                  <a:gd name="connsiteX199" fmla="*/ 52944 w 1128860"/>
                  <a:gd name="connsiteY199" fmla="*/ 1431229 h 1642641"/>
                  <a:gd name="connsiteX200" fmla="*/ 45753 w 1128860"/>
                  <a:gd name="connsiteY200" fmla="*/ 1436087 h 1642641"/>
                  <a:gd name="connsiteX201" fmla="*/ 43541 w 1128860"/>
                  <a:gd name="connsiteY201" fmla="*/ 1435547 h 1642641"/>
                  <a:gd name="connsiteX202" fmla="*/ 60687 w 1128860"/>
                  <a:gd name="connsiteY202" fmla="*/ 1411799 h 1642641"/>
                  <a:gd name="connsiteX203" fmla="*/ 67877 w 1128860"/>
                  <a:gd name="connsiteY203" fmla="*/ 1398846 h 1642641"/>
                  <a:gd name="connsiteX204" fmla="*/ 70643 w 1128860"/>
                  <a:gd name="connsiteY204" fmla="*/ 1396147 h 1642641"/>
                  <a:gd name="connsiteX205" fmla="*/ 68430 w 1128860"/>
                  <a:gd name="connsiteY205" fmla="*/ 1383734 h 1642641"/>
                  <a:gd name="connsiteX206" fmla="*/ 53497 w 1128860"/>
                  <a:gd name="connsiteY206" fmla="*/ 1386972 h 1642641"/>
                  <a:gd name="connsiteX207" fmla="*/ 49625 w 1128860"/>
                  <a:gd name="connsiteY207" fmla="*/ 1403164 h 1642641"/>
                  <a:gd name="connsiteX208" fmla="*/ 45200 w 1128860"/>
                  <a:gd name="connsiteY208" fmla="*/ 1393989 h 1642641"/>
                  <a:gd name="connsiteX209" fmla="*/ 43541 w 1128860"/>
                  <a:gd name="connsiteY209" fmla="*/ 1388591 h 1642641"/>
                  <a:gd name="connsiteX210" fmla="*/ 36904 w 1128860"/>
                  <a:gd name="connsiteY210" fmla="*/ 1386432 h 1642641"/>
                  <a:gd name="connsiteX211" fmla="*/ 43541 w 1128860"/>
                  <a:gd name="connsiteY211" fmla="*/ 1365383 h 1642641"/>
                  <a:gd name="connsiteX212" fmla="*/ 41329 w 1128860"/>
                  <a:gd name="connsiteY212" fmla="*/ 1363764 h 1642641"/>
                  <a:gd name="connsiteX213" fmla="*/ 25289 w 1128860"/>
                  <a:gd name="connsiteY213" fmla="*/ 1386432 h 1642641"/>
                  <a:gd name="connsiteX214" fmla="*/ 18652 w 1128860"/>
                  <a:gd name="connsiteY214" fmla="*/ 1385353 h 1642641"/>
                  <a:gd name="connsiteX215" fmla="*/ 14780 w 1128860"/>
                  <a:gd name="connsiteY215" fmla="*/ 1356748 h 1642641"/>
                  <a:gd name="connsiteX216" fmla="*/ 20311 w 1128860"/>
                  <a:gd name="connsiteY216" fmla="*/ 1350271 h 1642641"/>
                  <a:gd name="connsiteX217" fmla="*/ 23077 w 1128860"/>
                  <a:gd name="connsiteY217" fmla="*/ 1350271 h 1642641"/>
                  <a:gd name="connsiteX218" fmla="*/ 26395 w 1128860"/>
                  <a:gd name="connsiteY218" fmla="*/ 1356208 h 1642641"/>
                  <a:gd name="connsiteX219" fmla="*/ 38563 w 1128860"/>
                  <a:gd name="connsiteY219" fmla="*/ 1356748 h 1642641"/>
                  <a:gd name="connsiteX220" fmla="*/ 46860 w 1128860"/>
                  <a:gd name="connsiteY220" fmla="*/ 1343794 h 1642641"/>
                  <a:gd name="connsiteX221" fmla="*/ 47966 w 1128860"/>
                  <a:gd name="connsiteY221" fmla="*/ 1327063 h 1642641"/>
                  <a:gd name="connsiteX222" fmla="*/ 46860 w 1128860"/>
                  <a:gd name="connsiteY222" fmla="*/ 1323825 h 1642641"/>
                  <a:gd name="connsiteX223" fmla="*/ 21971 w 1128860"/>
                  <a:gd name="connsiteY223" fmla="*/ 1337318 h 1642641"/>
                  <a:gd name="connsiteX224" fmla="*/ 14780 w 1128860"/>
                  <a:gd name="connsiteY224" fmla="*/ 1336778 h 1642641"/>
                  <a:gd name="connsiteX225" fmla="*/ 10356 w 1128860"/>
                  <a:gd name="connsiteY225" fmla="*/ 1335698 h 1642641"/>
                  <a:gd name="connsiteX226" fmla="*/ 7590 w 1128860"/>
                  <a:gd name="connsiteY226" fmla="*/ 1327603 h 1642641"/>
                  <a:gd name="connsiteX227" fmla="*/ 400 w 1128860"/>
                  <a:gd name="connsiteY227" fmla="*/ 1317348 h 1642641"/>
                  <a:gd name="connsiteX228" fmla="*/ 1506 w 1128860"/>
                  <a:gd name="connsiteY228" fmla="*/ 1315729 h 1642641"/>
                  <a:gd name="connsiteX229" fmla="*/ 7037 w 1128860"/>
                  <a:gd name="connsiteY229" fmla="*/ 1318427 h 1642641"/>
                  <a:gd name="connsiteX230" fmla="*/ 14227 w 1128860"/>
                  <a:gd name="connsiteY230" fmla="*/ 1320046 h 1642641"/>
                  <a:gd name="connsiteX231" fmla="*/ 20864 w 1128860"/>
                  <a:gd name="connsiteY231" fmla="*/ 1326523 h 1642641"/>
                  <a:gd name="connsiteX232" fmla="*/ 19205 w 1128860"/>
                  <a:gd name="connsiteY232" fmla="*/ 1317888 h 1642641"/>
                  <a:gd name="connsiteX233" fmla="*/ 20864 w 1128860"/>
                  <a:gd name="connsiteY233" fmla="*/ 1311411 h 1642641"/>
                  <a:gd name="connsiteX234" fmla="*/ 16993 w 1128860"/>
                  <a:gd name="connsiteY234" fmla="*/ 1310871 h 1642641"/>
                  <a:gd name="connsiteX235" fmla="*/ 6484 w 1128860"/>
                  <a:gd name="connsiteY235" fmla="*/ 1306553 h 1642641"/>
                  <a:gd name="connsiteX236" fmla="*/ 5931 w 1128860"/>
                  <a:gd name="connsiteY236" fmla="*/ 1296299 h 1642641"/>
                  <a:gd name="connsiteX237" fmla="*/ 4272 w 1128860"/>
                  <a:gd name="connsiteY237" fmla="*/ 1284964 h 1642641"/>
                  <a:gd name="connsiteX238" fmla="*/ 8696 w 1128860"/>
                  <a:gd name="connsiteY238" fmla="*/ 1281726 h 1642641"/>
                  <a:gd name="connsiteX239" fmla="*/ 35245 w 1128860"/>
                  <a:gd name="connsiteY239" fmla="*/ 1289822 h 1642641"/>
                  <a:gd name="connsiteX240" fmla="*/ 48519 w 1128860"/>
                  <a:gd name="connsiteY240" fmla="*/ 1284964 h 1642641"/>
                  <a:gd name="connsiteX241" fmla="*/ 68983 w 1128860"/>
                  <a:gd name="connsiteY241" fmla="*/ 1281726 h 1642641"/>
                  <a:gd name="connsiteX242" fmla="*/ 86129 w 1128860"/>
                  <a:gd name="connsiteY242" fmla="*/ 1283885 h 1642641"/>
                  <a:gd name="connsiteX243" fmla="*/ 101616 w 1128860"/>
                  <a:gd name="connsiteY243" fmla="*/ 1274710 h 1642641"/>
                  <a:gd name="connsiteX244" fmla="*/ 107700 w 1128860"/>
                  <a:gd name="connsiteY244" fmla="*/ 1276869 h 1642641"/>
                  <a:gd name="connsiteX245" fmla="*/ 114890 w 1128860"/>
                  <a:gd name="connsiteY245" fmla="*/ 1282806 h 1642641"/>
                  <a:gd name="connsiteX246" fmla="*/ 117655 w 1128860"/>
                  <a:gd name="connsiteY246" fmla="*/ 1295219 h 1642641"/>
                  <a:gd name="connsiteX247" fmla="*/ 119868 w 1128860"/>
                  <a:gd name="connsiteY247" fmla="*/ 1296838 h 1642641"/>
                  <a:gd name="connsiteX248" fmla="*/ 129270 w 1128860"/>
                  <a:gd name="connsiteY248" fmla="*/ 1304394 h 1642641"/>
                  <a:gd name="connsiteX249" fmla="*/ 130377 w 1128860"/>
                  <a:gd name="connsiteY249" fmla="*/ 1299537 h 1642641"/>
                  <a:gd name="connsiteX250" fmla="*/ 128164 w 1128860"/>
                  <a:gd name="connsiteY250" fmla="*/ 1297918 h 1642641"/>
                  <a:gd name="connsiteX251" fmla="*/ 125952 w 1128860"/>
                  <a:gd name="connsiteY251" fmla="*/ 1283885 h 1642641"/>
                  <a:gd name="connsiteX252" fmla="*/ 148629 w 1128860"/>
                  <a:gd name="connsiteY252" fmla="*/ 1273630 h 1642641"/>
                  <a:gd name="connsiteX253" fmla="*/ 148629 w 1128860"/>
                  <a:gd name="connsiteY253" fmla="*/ 1270392 h 1642641"/>
                  <a:gd name="connsiteX254" fmla="*/ 132036 w 1128860"/>
                  <a:gd name="connsiteY254" fmla="*/ 1272551 h 1642641"/>
                  <a:gd name="connsiteX255" fmla="*/ 122633 w 1128860"/>
                  <a:gd name="connsiteY255" fmla="*/ 1267693 h 1642641"/>
                  <a:gd name="connsiteX256" fmla="*/ 97744 w 1128860"/>
                  <a:gd name="connsiteY256" fmla="*/ 1262296 h 1642641"/>
                  <a:gd name="connsiteX257" fmla="*/ 90001 w 1128860"/>
                  <a:gd name="connsiteY257" fmla="*/ 1265534 h 1642641"/>
                  <a:gd name="connsiteX258" fmla="*/ 85023 w 1128860"/>
                  <a:gd name="connsiteY258" fmla="*/ 1273630 h 1642641"/>
                  <a:gd name="connsiteX259" fmla="*/ 65112 w 1128860"/>
                  <a:gd name="connsiteY259" fmla="*/ 1269312 h 1642641"/>
                  <a:gd name="connsiteX260" fmla="*/ 59028 w 1128860"/>
                  <a:gd name="connsiteY260" fmla="*/ 1272011 h 1642641"/>
                  <a:gd name="connsiteX261" fmla="*/ 49625 w 1128860"/>
                  <a:gd name="connsiteY261" fmla="*/ 1272551 h 1642641"/>
                  <a:gd name="connsiteX262" fmla="*/ 18652 w 1128860"/>
                  <a:gd name="connsiteY262" fmla="*/ 1275789 h 1642641"/>
                  <a:gd name="connsiteX263" fmla="*/ 16440 w 1128860"/>
                  <a:gd name="connsiteY263" fmla="*/ 1271471 h 1642641"/>
                  <a:gd name="connsiteX264" fmla="*/ 9249 w 1128860"/>
                  <a:gd name="connsiteY264" fmla="*/ 1262836 h 1642641"/>
                  <a:gd name="connsiteX265" fmla="*/ 12015 w 1128860"/>
                  <a:gd name="connsiteY265" fmla="*/ 1254740 h 1642641"/>
                  <a:gd name="connsiteX266" fmla="*/ 8143 w 1128860"/>
                  <a:gd name="connsiteY266" fmla="*/ 1245565 h 1642641"/>
                  <a:gd name="connsiteX267" fmla="*/ 26395 w 1128860"/>
                  <a:gd name="connsiteY267" fmla="*/ 1238548 h 1642641"/>
                  <a:gd name="connsiteX268" fmla="*/ 27501 w 1128860"/>
                  <a:gd name="connsiteY268" fmla="*/ 1235310 h 1642641"/>
                  <a:gd name="connsiteX269" fmla="*/ 18099 w 1128860"/>
                  <a:gd name="connsiteY269" fmla="*/ 1232072 h 1642641"/>
                  <a:gd name="connsiteX270" fmla="*/ 21417 w 1128860"/>
                  <a:gd name="connsiteY270" fmla="*/ 1224515 h 1642641"/>
                  <a:gd name="connsiteX271" fmla="*/ 18652 w 1128860"/>
                  <a:gd name="connsiteY271" fmla="*/ 1216959 h 1642641"/>
                  <a:gd name="connsiteX272" fmla="*/ 7590 w 1128860"/>
                  <a:gd name="connsiteY272" fmla="*/ 1213721 h 1642641"/>
                  <a:gd name="connsiteX273" fmla="*/ 7037 w 1128860"/>
                  <a:gd name="connsiteY273" fmla="*/ 1209403 h 1642641"/>
                  <a:gd name="connsiteX274" fmla="*/ 16440 w 1128860"/>
                  <a:gd name="connsiteY274" fmla="*/ 1204546 h 1642641"/>
                  <a:gd name="connsiteX275" fmla="*/ 21971 w 1128860"/>
                  <a:gd name="connsiteY275" fmla="*/ 1190513 h 1642641"/>
                  <a:gd name="connsiteX276" fmla="*/ 30267 w 1128860"/>
                  <a:gd name="connsiteY276" fmla="*/ 1184036 h 1642641"/>
                  <a:gd name="connsiteX277" fmla="*/ 36351 w 1128860"/>
                  <a:gd name="connsiteY277" fmla="*/ 1184036 h 1642641"/>
                  <a:gd name="connsiteX278" fmla="*/ 49625 w 1128860"/>
                  <a:gd name="connsiteY278" fmla="*/ 1193751 h 1642641"/>
                  <a:gd name="connsiteX279" fmla="*/ 73408 w 1128860"/>
                  <a:gd name="connsiteY279" fmla="*/ 1194831 h 1642641"/>
                  <a:gd name="connsiteX280" fmla="*/ 73961 w 1128860"/>
                  <a:gd name="connsiteY280" fmla="*/ 1193211 h 1642641"/>
                  <a:gd name="connsiteX281" fmla="*/ 61240 w 1128860"/>
                  <a:gd name="connsiteY281" fmla="*/ 1186195 h 1642641"/>
                  <a:gd name="connsiteX282" fmla="*/ 54050 w 1128860"/>
                  <a:gd name="connsiteY282" fmla="*/ 1178099 h 1642641"/>
                  <a:gd name="connsiteX283" fmla="*/ 41882 w 1128860"/>
                  <a:gd name="connsiteY283" fmla="*/ 1175940 h 1642641"/>
                  <a:gd name="connsiteX284" fmla="*/ 20311 w 1128860"/>
                  <a:gd name="connsiteY284" fmla="*/ 1178639 h 1642641"/>
                  <a:gd name="connsiteX285" fmla="*/ 25289 w 1128860"/>
                  <a:gd name="connsiteY285" fmla="*/ 1168384 h 1642641"/>
                  <a:gd name="connsiteX286" fmla="*/ 17546 w 1128860"/>
                  <a:gd name="connsiteY286" fmla="*/ 1162447 h 1642641"/>
                  <a:gd name="connsiteX287" fmla="*/ 16993 w 1128860"/>
                  <a:gd name="connsiteY287" fmla="*/ 1157050 h 1642641"/>
                  <a:gd name="connsiteX288" fmla="*/ 16440 w 1128860"/>
                  <a:gd name="connsiteY288" fmla="*/ 1153272 h 1642641"/>
                  <a:gd name="connsiteX289" fmla="*/ 35245 w 1128860"/>
                  <a:gd name="connsiteY289" fmla="*/ 1168384 h 1642641"/>
                  <a:gd name="connsiteX290" fmla="*/ 33032 w 1128860"/>
                  <a:gd name="connsiteY290" fmla="*/ 1152732 h 1642641"/>
                  <a:gd name="connsiteX291" fmla="*/ 34692 w 1128860"/>
                  <a:gd name="connsiteY291" fmla="*/ 1152732 h 1642641"/>
                  <a:gd name="connsiteX292" fmla="*/ 46307 w 1128860"/>
                  <a:gd name="connsiteY292" fmla="*/ 1160288 h 1642641"/>
                  <a:gd name="connsiteX293" fmla="*/ 52944 w 1128860"/>
                  <a:gd name="connsiteY293" fmla="*/ 1153272 h 1642641"/>
                  <a:gd name="connsiteX294" fmla="*/ 66218 w 1128860"/>
                  <a:gd name="connsiteY294" fmla="*/ 1162447 h 1642641"/>
                  <a:gd name="connsiteX295" fmla="*/ 75067 w 1128860"/>
                  <a:gd name="connsiteY295" fmla="*/ 1164066 h 1642641"/>
                  <a:gd name="connsiteX296" fmla="*/ 76174 w 1128860"/>
                  <a:gd name="connsiteY296" fmla="*/ 1161368 h 1642641"/>
                  <a:gd name="connsiteX297" fmla="*/ 65112 w 1128860"/>
                  <a:gd name="connsiteY297" fmla="*/ 1146795 h 1642641"/>
                  <a:gd name="connsiteX298" fmla="*/ 82811 w 1128860"/>
                  <a:gd name="connsiteY298" fmla="*/ 1136541 h 1642641"/>
                  <a:gd name="connsiteX299" fmla="*/ 86129 w 1128860"/>
                  <a:gd name="connsiteY299" fmla="*/ 1140858 h 1642641"/>
                  <a:gd name="connsiteX300" fmla="*/ 92213 w 1128860"/>
                  <a:gd name="connsiteY300" fmla="*/ 1155431 h 1642641"/>
                  <a:gd name="connsiteX301" fmla="*/ 94979 w 1128860"/>
                  <a:gd name="connsiteY301" fmla="*/ 1148954 h 1642641"/>
                  <a:gd name="connsiteX302" fmla="*/ 92766 w 1128860"/>
                  <a:gd name="connsiteY302" fmla="*/ 1144636 h 1642641"/>
                  <a:gd name="connsiteX303" fmla="*/ 92766 w 1128860"/>
                  <a:gd name="connsiteY303" fmla="*/ 1130604 h 1642641"/>
                  <a:gd name="connsiteX304" fmla="*/ 95532 w 1128860"/>
                  <a:gd name="connsiteY304" fmla="*/ 1127365 h 1642641"/>
                  <a:gd name="connsiteX305" fmla="*/ 107147 w 1128860"/>
                  <a:gd name="connsiteY305" fmla="*/ 1124667 h 1642641"/>
                  <a:gd name="connsiteX306" fmla="*/ 120974 w 1128860"/>
                  <a:gd name="connsiteY306" fmla="*/ 1132762 h 1642641"/>
                  <a:gd name="connsiteX307" fmla="*/ 117102 w 1128860"/>
                  <a:gd name="connsiteY307" fmla="*/ 1122508 h 1642641"/>
                  <a:gd name="connsiteX308" fmla="*/ 112678 w 1128860"/>
                  <a:gd name="connsiteY308" fmla="*/ 1119809 h 1642641"/>
                  <a:gd name="connsiteX309" fmla="*/ 108806 w 1128860"/>
                  <a:gd name="connsiteY309" fmla="*/ 1118190 h 1642641"/>
                  <a:gd name="connsiteX310" fmla="*/ 86682 w 1128860"/>
                  <a:gd name="connsiteY310" fmla="*/ 1121428 h 1642641"/>
                  <a:gd name="connsiteX311" fmla="*/ 84470 w 1128860"/>
                  <a:gd name="connsiteY311" fmla="*/ 1118730 h 1642641"/>
                  <a:gd name="connsiteX312" fmla="*/ 85576 w 1128860"/>
                  <a:gd name="connsiteY312" fmla="*/ 1113872 h 1642641"/>
                  <a:gd name="connsiteX313" fmla="*/ 83364 w 1128860"/>
                  <a:gd name="connsiteY313" fmla="*/ 1107395 h 1642641"/>
                  <a:gd name="connsiteX314" fmla="*/ 86682 w 1128860"/>
                  <a:gd name="connsiteY314" fmla="*/ 1104157 h 1642641"/>
                  <a:gd name="connsiteX315" fmla="*/ 101063 w 1128860"/>
                  <a:gd name="connsiteY315" fmla="*/ 1105237 h 1642641"/>
                  <a:gd name="connsiteX316" fmla="*/ 122633 w 1128860"/>
                  <a:gd name="connsiteY316" fmla="*/ 1101459 h 1642641"/>
                  <a:gd name="connsiteX317" fmla="*/ 132589 w 1128860"/>
                  <a:gd name="connsiteY317" fmla="*/ 1104157 h 1642641"/>
                  <a:gd name="connsiteX318" fmla="*/ 134248 w 1128860"/>
                  <a:gd name="connsiteY318" fmla="*/ 1106856 h 1642641"/>
                  <a:gd name="connsiteX319" fmla="*/ 141438 w 1128860"/>
                  <a:gd name="connsiteY319" fmla="*/ 1108475 h 1642641"/>
                  <a:gd name="connsiteX320" fmla="*/ 149735 w 1128860"/>
                  <a:gd name="connsiteY320" fmla="*/ 1112253 h 1642641"/>
                  <a:gd name="connsiteX321" fmla="*/ 153053 w 1128860"/>
                  <a:gd name="connsiteY321" fmla="*/ 1112253 h 1642641"/>
                  <a:gd name="connsiteX322" fmla="*/ 150841 w 1128860"/>
                  <a:gd name="connsiteY322" fmla="*/ 1100379 h 1642641"/>
                  <a:gd name="connsiteX323" fmla="*/ 172412 w 1128860"/>
                  <a:gd name="connsiteY323" fmla="*/ 1088505 h 1642641"/>
                  <a:gd name="connsiteX324" fmla="*/ 145310 w 1128860"/>
                  <a:gd name="connsiteY324" fmla="*/ 1090664 h 1642641"/>
                  <a:gd name="connsiteX325" fmla="*/ 145863 w 1128860"/>
                  <a:gd name="connsiteY325" fmla="*/ 1089045 h 1642641"/>
                  <a:gd name="connsiteX326" fmla="*/ 154160 w 1128860"/>
                  <a:gd name="connsiteY326" fmla="*/ 1083108 h 1642641"/>
                  <a:gd name="connsiteX327" fmla="*/ 152500 w 1128860"/>
                  <a:gd name="connsiteY327" fmla="*/ 1082028 h 1642641"/>
                  <a:gd name="connsiteX328" fmla="*/ 146969 w 1128860"/>
                  <a:gd name="connsiteY328" fmla="*/ 1082568 h 1642641"/>
                  <a:gd name="connsiteX329" fmla="*/ 140332 w 1128860"/>
                  <a:gd name="connsiteY329" fmla="*/ 1085807 h 1642641"/>
                  <a:gd name="connsiteX330" fmla="*/ 122080 w 1128860"/>
                  <a:gd name="connsiteY330" fmla="*/ 1086886 h 1642641"/>
                  <a:gd name="connsiteX331" fmla="*/ 125952 w 1128860"/>
                  <a:gd name="connsiteY331" fmla="*/ 1074472 h 1642641"/>
                  <a:gd name="connsiteX332" fmla="*/ 120974 w 1128860"/>
                  <a:gd name="connsiteY332" fmla="*/ 1069615 h 1642641"/>
                  <a:gd name="connsiteX333" fmla="*/ 120974 w 1128860"/>
                  <a:gd name="connsiteY333" fmla="*/ 1067456 h 1642641"/>
                  <a:gd name="connsiteX334" fmla="*/ 123739 w 1128860"/>
                  <a:gd name="connsiteY334" fmla="*/ 1064218 h 1642641"/>
                  <a:gd name="connsiteX335" fmla="*/ 130930 w 1128860"/>
                  <a:gd name="connsiteY335" fmla="*/ 1062598 h 1642641"/>
                  <a:gd name="connsiteX336" fmla="*/ 148076 w 1128860"/>
                  <a:gd name="connsiteY336" fmla="*/ 1067456 h 1642641"/>
                  <a:gd name="connsiteX337" fmla="*/ 156372 w 1128860"/>
                  <a:gd name="connsiteY337" fmla="*/ 1064757 h 1642641"/>
                  <a:gd name="connsiteX338" fmla="*/ 163562 w 1128860"/>
                  <a:gd name="connsiteY338" fmla="*/ 1065297 h 1642641"/>
                  <a:gd name="connsiteX339" fmla="*/ 175730 w 1128860"/>
                  <a:gd name="connsiteY339" fmla="*/ 1063138 h 1642641"/>
                  <a:gd name="connsiteX340" fmla="*/ 180155 w 1128860"/>
                  <a:gd name="connsiteY340" fmla="*/ 1063678 h 1642641"/>
                  <a:gd name="connsiteX341" fmla="*/ 187345 w 1128860"/>
                  <a:gd name="connsiteY341" fmla="*/ 1080409 h 1642641"/>
                  <a:gd name="connsiteX342" fmla="*/ 200066 w 1128860"/>
                  <a:gd name="connsiteY342" fmla="*/ 1087965 h 1642641"/>
                  <a:gd name="connsiteX343" fmla="*/ 206150 w 1128860"/>
                  <a:gd name="connsiteY343" fmla="*/ 1093902 h 1642641"/>
                  <a:gd name="connsiteX344" fmla="*/ 208916 w 1128860"/>
                  <a:gd name="connsiteY344" fmla="*/ 1094982 h 1642641"/>
                  <a:gd name="connsiteX345" fmla="*/ 205044 w 1128860"/>
                  <a:gd name="connsiteY345" fmla="*/ 1085267 h 1642641"/>
                  <a:gd name="connsiteX346" fmla="*/ 192876 w 1128860"/>
                  <a:gd name="connsiteY346" fmla="*/ 1072313 h 1642641"/>
                  <a:gd name="connsiteX347" fmla="*/ 187345 w 1128860"/>
                  <a:gd name="connsiteY347" fmla="*/ 1060979 h 1642641"/>
                  <a:gd name="connsiteX348" fmla="*/ 184026 w 1128860"/>
                  <a:gd name="connsiteY348" fmla="*/ 1056661 h 1642641"/>
                  <a:gd name="connsiteX349" fmla="*/ 179602 w 1128860"/>
                  <a:gd name="connsiteY349" fmla="*/ 1053423 h 1642641"/>
                  <a:gd name="connsiteX350" fmla="*/ 180708 w 1128860"/>
                  <a:gd name="connsiteY350" fmla="*/ 1049105 h 1642641"/>
                  <a:gd name="connsiteX351" fmla="*/ 201725 w 1128860"/>
                  <a:gd name="connsiteY351" fmla="*/ 1071234 h 1642641"/>
                  <a:gd name="connsiteX352" fmla="*/ 207256 w 1128860"/>
                  <a:gd name="connsiteY352" fmla="*/ 1071774 h 1642641"/>
                  <a:gd name="connsiteX353" fmla="*/ 210022 w 1128860"/>
                  <a:gd name="connsiteY353" fmla="*/ 1062059 h 1642641"/>
                  <a:gd name="connsiteX354" fmla="*/ 213340 w 1128860"/>
                  <a:gd name="connsiteY354" fmla="*/ 1058820 h 1642641"/>
                  <a:gd name="connsiteX355" fmla="*/ 214447 w 1128860"/>
                  <a:gd name="connsiteY355" fmla="*/ 1056122 h 1642641"/>
                  <a:gd name="connsiteX356" fmla="*/ 212787 w 1128860"/>
                  <a:gd name="connsiteY356" fmla="*/ 1053963 h 1642641"/>
                  <a:gd name="connsiteX357" fmla="*/ 204491 w 1128860"/>
                  <a:gd name="connsiteY357" fmla="*/ 1054503 h 1642641"/>
                  <a:gd name="connsiteX358" fmla="*/ 192323 w 1128860"/>
                  <a:gd name="connsiteY358" fmla="*/ 1046407 h 1642641"/>
                  <a:gd name="connsiteX359" fmla="*/ 192323 w 1128860"/>
                  <a:gd name="connsiteY359" fmla="*/ 1043708 h 1642641"/>
                  <a:gd name="connsiteX360" fmla="*/ 213340 w 1128860"/>
                  <a:gd name="connsiteY360" fmla="*/ 1042629 h 1642641"/>
                  <a:gd name="connsiteX361" fmla="*/ 209469 w 1128860"/>
                  <a:gd name="connsiteY361" fmla="*/ 1028056 h 1642641"/>
                  <a:gd name="connsiteX362" fmla="*/ 219977 w 1128860"/>
                  <a:gd name="connsiteY362" fmla="*/ 1015642 h 1642641"/>
                  <a:gd name="connsiteX363" fmla="*/ 223296 w 1128860"/>
                  <a:gd name="connsiteY363" fmla="*/ 1010245 h 1642641"/>
                  <a:gd name="connsiteX364" fmla="*/ 236017 w 1128860"/>
                  <a:gd name="connsiteY364" fmla="*/ 1006467 h 1642641"/>
                  <a:gd name="connsiteX365" fmla="*/ 237676 w 1128860"/>
                  <a:gd name="connsiteY365" fmla="*/ 1022119 h 1642641"/>
                  <a:gd name="connsiteX366" fmla="*/ 242101 w 1128860"/>
                  <a:gd name="connsiteY366" fmla="*/ 1023199 h 1642641"/>
                  <a:gd name="connsiteX367" fmla="*/ 255928 w 1128860"/>
                  <a:gd name="connsiteY367" fmla="*/ 1011325 h 1642641"/>
                  <a:gd name="connsiteX368" fmla="*/ 247079 w 1128860"/>
                  <a:gd name="connsiteY368" fmla="*/ 1008626 h 1642641"/>
                  <a:gd name="connsiteX369" fmla="*/ 250951 w 1128860"/>
                  <a:gd name="connsiteY369" fmla="*/ 999991 h 1642641"/>
                  <a:gd name="connsiteX370" fmla="*/ 248738 w 1128860"/>
                  <a:gd name="connsiteY370" fmla="*/ 994593 h 1642641"/>
                  <a:gd name="connsiteX371" fmla="*/ 253163 w 1128860"/>
                  <a:gd name="connsiteY371" fmla="*/ 993514 h 1642641"/>
                  <a:gd name="connsiteX372" fmla="*/ 272521 w 1128860"/>
                  <a:gd name="connsiteY372" fmla="*/ 984878 h 1642641"/>
                  <a:gd name="connsiteX373" fmla="*/ 272521 w 1128860"/>
                  <a:gd name="connsiteY373" fmla="*/ 987577 h 1642641"/>
                  <a:gd name="connsiteX374" fmla="*/ 274180 w 1128860"/>
                  <a:gd name="connsiteY374" fmla="*/ 989196 h 1642641"/>
                  <a:gd name="connsiteX375" fmla="*/ 279711 w 1128860"/>
                  <a:gd name="connsiteY375" fmla="*/ 1000530 h 1642641"/>
                  <a:gd name="connsiteX376" fmla="*/ 278605 w 1128860"/>
                  <a:gd name="connsiteY376" fmla="*/ 1010785 h 1642641"/>
                  <a:gd name="connsiteX377" fmla="*/ 292986 w 1128860"/>
                  <a:gd name="connsiteY377" fmla="*/ 1009166 h 1642641"/>
                  <a:gd name="connsiteX378" fmla="*/ 296304 w 1128860"/>
                  <a:gd name="connsiteY378" fmla="*/ 1002149 h 1642641"/>
                  <a:gd name="connsiteX379" fmla="*/ 330043 w 1128860"/>
                  <a:gd name="connsiteY379" fmla="*/ 999991 h 1642641"/>
                  <a:gd name="connsiteX380" fmla="*/ 332255 w 1128860"/>
                  <a:gd name="connsiteY380" fmla="*/ 998911 h 1642641"/>
                  <a:gd name="connsiteX381" fmla="*/ 328937 w 1128860"/>
                  <a:gd name="connsiteY381" fmla="*/ 989736 h 1642641"/>
                  <a:gd name="connsiteX382" fmla="*/ 329490 w 1128860"/>
                  <a:gd name="connsiteY382" fmla="*/ 984339 h 1642641"/>
                  <a:gd name="connsiteX383" fmla="*/ 363228 w 1128860"/>
                  <a:gd name="connsiteY383" fmla="*/ 953035 h 1642641"/>
                  <a:gd name="connsiteX384" fmla="*/ 351060 w 1128860"/>
                  <a:gd name="connsiteY384" fmla="*/ 952495 h 1642641"/>
                  <a:gd name="connsiteX385" fmla="*/ 349401 w 1128860"/>
                  <a:gd name="connsiteY385" fmla="*/ 950336 h 1642641"/>
                  <a:gd name="connsiteX386" fmla="*/ 359910 w 1128860"/>
                  <a:gd name="connsiteY386" fmla="*/ 939002 h 1642641"/>
                  <a:gd name="connsiteX387" fmla="*/ 347189 w 1128860"/>
                  <a:gd name="connsiteY387" fmla="*/ 923890 h 1642641"/>
                  <a:gd name="connsiteX388" fmla="*/ 337233 w 1128860"/>
                  <a:gd name="connsiteY388" fmla="*/ 938462 h 1642641"/>
                  <a:gd name="connsiteX389" fmla="*/ 321746 w 1128860"/>
                  <a:gd name="connsiteY389" fmla="*/ 949257 h 1642641"/>
                  <a:gd name="connsiteX390" fmla="*/ 315662 w 1128860"/>
                  <a:gd name="connsiteY390" fmla="*/ 955733 h 1642641"/>
                  <a:gd name="connsiteX391" fmla="*/ 333914 w 1128860"/>
                  <a:gd name="connsiteY391" fmla="*/ 951415 h 1642641"/>
                  <a:gd name="connsiteX392" fmla="*/ 335021 w 1128860"/>
                  <a:gd name="connsiteY392" fmla="*/ 951955 h 1642641"/>
                  <a:gd name="connsiteX393" fmla="*/ 328384 w 1128860"/>
                  <a:gd name="connsiteY393" fmla="*/ 967607 h 1642641"/>
                  <a:gd name="connsiteX394" fmla="*/ 322853 w 1128860"/>
                  <a:gd name="connsiteY394" fmla="*/ 969766 h 1642641"/>
                  <a:gd name="connsiteX395" fmla="*/ 289667 w 1128860"/>
                  <a:gd name="connsiteY395" fmla="*/ 990815 h 1642641"/>
                  <a:gd name="connsiteX396" fmla="*/ 284136 w 1128860"/>
                  <a:gd name="connsiteY396" fmla="*/ 990276 h 1642641"/>
                  <a:gd name="connsiteX397" fmla="*/ 280818 w 1128860"/>
                  <a:gd name="connsiteY397" fmla="*/ 976243 h 1642641"/>
                  <a:gd name="connsiteX398" fmla="*/ 285795 w 1128860"/>
                  <a:gd name="connsiteY398" fmla="*/ 971385 h 1642641"/>
                  <a:gd name="connsiteX399" fmla="*/ 283583 w 1128860"/>
                  <a:gd name="connsiteY399" fmla="*/ 963829 h 1642641"/>
                  <a:gd name="connsiteX400" fmla="*/ 278052 w 1128860"/>
                  <a:gd name="connsiteY400" fmla="*/ 963289 h 1642641"/>
                  <a:gd name="connsiteX401" fmla="*/ 266437 w 1128860"/>
                  <a:gd name="connsiteY401" fmla="*/ 973004 h 1642641"/>
                  <a:gd name="connsiteX402" fmla="*/ 272521 w 1128860"/>
                  <a:gd name="connsiteY402" fmla="*/ 954654 h 1642641"/>
                  <a:gd name="connsiteX403" fmla="*/ 289667 w 1128860"/>
                  <a:gd name="connsiteY403" fmla="*/ 947098 h 1642641"/>
                  <a:gd name="connsiteX404" fmla="*/ 284136 w 1128860"/>
                  <a:gd name="connsiteY404" fmla="*/ 941161 h 1642641"/>
                  <a:gd name="connsiteX405" fmla="*/ 288561 w 1128860"/>
                  <a:gd name="connsiteY405" fmla="*/ 926588 h 1642641"/>
                  <a:gd name="connsiteX406" fmla="*/ 297410 w 1128860"/>
                  <a:gd name="connsiteY406" fmla="*/ 919032 h 1642641"/>
                  <a:gd name="connsiteX407" fmla="*/ 300729 w 1128860"/>
                  <a:gd name="connsiteY407" fmla="*/ 901761 h 1642641"/>
                  <a:gd name="connsiteX408" fmla="*/ 312344 w 1128860"/>
                  <a:gd name="connsiteY408" fmla="*/ 893665 h 1642641"/>
                  <a:gd name="connsiteX409" fmla="*/ 317875 w 1128860"/>
                  <a:gd name="connsiteY409" fmla="*/ 885029 h 1642641"/>
                  <a:gd name="connsiteX410" fmla="*/ 330043 w 1128860"/>
                  <a:gd name="connsiteY410" fmla="*/ 876394 h 1642641"/>
                  <a:gd name="connsiteX411" fmla="*/ 332255 w 1128860"/>
                  <a:gd name="connsiteY411" fmla="*/ 868838 h 1642641"/>
                  <a:gd name="connsiteX412" fmla="*/ 335021 w 1128860"/>
                  <a:gd name="connsiteY412" fmla="*/ 867219 h 1642641"/>
                  <a:gd name="connsiteX413" fmla="*/ 343317 w 1128860"/>
                  <a:gd name="connsiteY413" fmla="*/ 882331 h 1642641"/>
                  <a:gd name="connsiteX414" fmla="*/ 348848 w 1128860"/>
                  <a:gd name="connsiteY414" fmla="*/ 885569 h 1642641"/>
                  <a:gd name="connsiteX415" fmla="*/ 346636 w 1128860"/>
                  <a:gd name="connsiteY415" fmla="*/ 890966 h 1642641"/>
                  <a:gd name="connsiteX416" fmla="*/ 351613 w 1128860"/>
                  <a:gd name="connsiteY416" fmla="*/ 889887 h 1642641"/>
                  <a:gd name="connsiteX417" fmla="*/ 362675 w 1128860"/>
                  <a:gd name="connsiteY417" fmla="*/ 874775 h 1642641"/>
                  <a:gd name="connsiteX418" fmla="*/ 358250 w 1128860"/>
                  <a:gd name="connsiteY418" fmla="*/ 854805 h 1642641"/>
                  <a:gd name="connsiteX419" fmla="*/ 362675 w 1128860"/>
                  <a:gd name="connsiteY419" fmla="*/ 854265 h 1642641"/>
                  <a:gd name="connsiteX420" fmla="*/ 367100 w 1128860"/>
                  <a:gd name="connsiteY420" fmla="*/ 842391 h 1642641"/>
                  <a:gd name="connsiteX421" fmla="*/ 365994 w 1128860"/>
                  <a:gd name="connsiteY421" fmla="*/ 831597 h 1642641"/>
                  <a:gd name="connsiteX422" fmla="*/ 358804 w 1128860"/>
                  <a:gd name="connsiteY422" fmla="*/ 834295 h 1642641"/>
                  <a:gd name="connsiteX423" fmla="*/ 352720 w 1128860"/>
                  <a:gd name="connsiteY423" fmla="*/ 839693 h 1642641"/>
                  <a:gd name="connsiteX424" fmla="*/ 350507 w 1128860"/>
                  <a:gd name="connsiteY424" fmla="*/ 838613 h 1642641"/>
                  <a:gd name="connsiteX425" fmla="*/ 351060 w 1128860"/>
                  <a:gd name="connsiteY425" fmla="*/ 831597 h 1642641"/>
                  <a:gd name="connsiteX426" fmla="*/ 356038 w 1128860"/>
                  <a:gd name="connsiteY426" fmla="*/ 829438 h 1642641"/>
                  <a:gd name="connsiteX427" fmla="*/ 363781 w 1128860"/>
                  <a:gd name="connsiteY427" fmla="*/ 819183 h 1642641"/>
                  <a:gd name="connsiteX428" fmla="*/ 372078 w 1128860"/>
                  <a:gd name="connsiteY428" fmla="*/ 814865 h 1642641"/>
                  <a:gd name="connsiteX429" fmla="*/ 377056 w 1128860"/>
                  <a:gd name="connsiteY429" fmla="*/ 810008 h 1642641"/>
                  <a:gd name="connsiteX430" fmla="*/ 389777 w 1128860"/>
                  <a:gd name="connsiteY430" fmla="*/ 811087 h 1642641"/>
                  <a:gd name="connsiteX431" fmla="*/ 412454 w 1128860"/>
                  <a:gd name="connsiteY431" fmla="*/ 800833 h 1642641"/>
                  <a:gd name="connsiteX432" fmla="*/ 428493 w 1128860"/>
                  <a:gd name="connsiteY432" fmla="*/ 782482 h 1642641"/>
                  <a:gd name="connsiteX433" fmla="*/ 425728 w 1128860"/>
                  <a:gd name="connsiteY433" fmla="*/ 778164 h 1642641"/>
                  <a:gd name="connsiteX434" fmla="*/ 417431 w 1128860"/>
                  <a:gd name="connsiteY434" fmla="*/ 788419 h 1642641"/>
                  <a:gd name="connsiteX435" fmla="*/ 414666 w 1128860"/>
                  <a:gd name="connsiteY435" fmla="*/ 790038 h 1642641"/>
                  <a:gd name="connsiteX436" fmla="*/ 409135 w 1128860"/>
                  <a:gd name="connsiteY436" fmla="*/ 797594 h 1642641"/>
                  <a:gd name="connsiteX437" fmla="*/ 405816 w 1128860"/>
                  <a:gd name="connsiteY437" fmla="*/ 797055 h 1642641"/>
                  <a:gd name="connsiteX438" fmla="*/ 409688 w 1128860"/>
                  <a:gd name="connsiteY438" fmla="*/ 788419 h 1642641"/>
                  <a:gd name="connsiteX439" fmla="*/ 404157 w 1128860"/>
                  <a:gd name="connsiteY439" fmla="*/ 772227 h 1642641"/>
                  <a:gd name="connsiteX440" fmla="*/ 413560 w 1128860"/>
                  <a:gd name="connsiteY440" fmla="*/ 760893 h 1642641"/>
                  <a:gd name="connsiteX441" fmla="*/ 411900 w 1128860"/>
                  <a:gd name="connsiteY441" fmla="*/ 755496 h 1642641"/>
                  <a:gd name="connsiteX442" fmla="*/ 398626 w 1128860"/>
                  <a:gd name="connsiteY442" fmla="*/ 742543 h 1642641"/>
                  <a:gd name="connsiteX443" fmla="*/ 399732 w 1128860"/>
                  <a:gd name="connsiteY443" fmla="*/ 735526 h 1642641"/>
                  <a:gd name="connsiteX444" fmla="*/ 407476 w 1128860"/>
                  <a:gd name="connsiteY444" fmla="*/ 726891 h 1642641"/>
                  <a:gd name="connsiteX445" fmla="*/ 416325 w 1128860"/>
                  <a:gd name="connsiteY445" fmla="*/ 706921 h 1642641"/>
                  <a:gd name="connsiteX446" fmla="*/ 425175 w 1128860"/>
                  <a:gd name="connsiteY446" fmla="*/ 704222 h 1642641"/>
                  <a:gd name="connsiteX447" fmla="*/ 421856 w 1128860"/>
                  <a:gd name="connsiteY447" fmla="*/ 696126 h 1642641"/>
                  <a:gd name="connsiteX448" fmla="*/ 423515 w 1128860"/>
                  <a:gd name="connsiteY448" fmla="*/ 686951 h 1642641"/>
                  <a:gd name="connsiteX449" fmla="*/ 414666 w 1128860"/>
                  <a:gd name="connsiteY449" fmla="*/ 688570 h 1642641"/>
                  <a:gd name="connsiteX450" fmla="*/ 409135 w 1128860"/>
                  <a:gd name="connsiteY450" fmla="*/ 683713 h 1642641"/>
                  <a:gd name="connsiteX451" fmla="*/ 411900 w 1128860"/>
                  <a:gd name="connsiteY451" fmla="*/ 678855 h 1642641"/>
                  <a:gd name="connsiteX452" fmla="*/ 427940 w 1128860"/>
                  <a:gd name="connsiteY452" fmla="*/ 678855 h 1642641"/>
                  <a:gd name="connsiteX453" fmla="*/ 438449 w 1128860"/>
                  <a:gd name="connsiteY453" fmla="*/ 669680 h 1642641"/>
                  <a:gd name="connsiteX454" fmla="*/ 446745 w 1128860"/>
                  <a:gd name="connsiteY454" fmla="*/ 662663 h 1642641"/>
                  <a:gd name="connsiteX455" fmla="*/ 445639 w 1128860"/>
                  <a:gd name="connsiteY455" fmla="*/ 660505 h 1642641"/>
                  <a:gd name="connsiteX456" fmla="*/ 438449 w 1128860"/>
                  <a:gd name="connsiteY456" fmla="*/ 663203 h 1642641"/>
                  <a:gd name="connsiteX457" fmla="*/ 437343 w 1128860"/>
                  <a:gd name="connsiteY457" fmla="*/ 661584 h 1642641"/>
                  <a:gd name="connsiteX458" fmla="*/ 443427 w 1128860"/>
                  <a:gd name="connsiteY458" fmla="*/ 656727 h 1642641"/>
                  <a:gd name="connsiteX459" fmla="*/ 440661 w 1128860"/>
                  <a:gd name="connsiteY459" fmla="*/ 652409 h 1642641"/>
                  <a:gd name="connsiteX460" fmla="*/ 425728 w 1128860"/>
                  <a:gd name="connsiteY460" fmla="*/ 651869 h 1642641"/>
                  <a:gd name="connsiteX461" fmla="*/ 429599 w 1128860"/>
                  <a:gd name="connsiteY461" fmla="*/ 641614 h 1642641"/>
                  <a:gd name="connsiteX462" fmla="*/ 429046 w 1128860"/>
                  <a:gd name="connsiteY462" fmla="*/ 637836 h 1642641"/>
                  <a:gd name="connsiteX463" fmla="*/ 432365 w 1128860"/>
                  <a:gd name="connsiteY463" fmla="*/ 638376 h 1642641"/>
                  <a:gd name="connsiteX464" fmla="*/ 440661 w 1128860"/>
                  <a:gd name="connsiteY464" fmla="*/ 629740 h 1642641"/>
                  <a:gd name="connsiteX465" fmla="*/ 435130 w 1128860"/>
                  <a:gd name="connsiteY465" fmla="*/ 627042 h 1642641"/>
                  <a:gd name="connsiteX466" fmla="*/ 438449 w 1128860"/>
                  <a:gd name="connsiteY466" fmla="*/ 611390 h 1642641"/>
                  <a:gd name="connsiteX467" fmla="*/ 448958 w 1128860"/>
                  <a:gd name="connsiteY467" fmla="*/ 609231 h 1642641"/>
                  <a:gd name="connsiteX468" fmla="*/ 447851 w 1128860"/>
                  <a:gd name="connsiteY468" fmla="*/ 602754 h 1642641"/>
                  <a:gd name="connsiteX469" fmla="*/ 456148 w 1128860"/>
                  <a:gd name="connsiteY469" fmla="*/ 597357 h 1642641"/>
                  <a:gd name="connsiteX470" fmla="*/ 448958 w 1128860"/>
                  <a:gd name="connsiteY470" fmla="*/ 592499 h 1642641"/>
                  <a:gd name="connsiteX471" fmla="*/ 448958 w 1128860"/>
                  <a:gd name="connsiteY471" fmla="*/ 587642 h 1642641"/>
                  <a:gd name="connsiteX472" fmla="*/ 472741 w 1128860"/>
                  <a:gd name="connsiteY472" fmla="*/ 574149 h 1642641"/>
                  <a:gd name="connsiteX473" fmla="*/ 480484 w 1128860"/>
                  <a:gd name="connsiteY473" fmla="*/ 558497 h 1642641"/>
                  <a:gd name="connsiteX474" fmla="*/ 499289 w 1128860"/>
                  <a:gd name="connsiteY474" fmla="*/ 548242 h 1642641"/>
                  <a:gd name="connsiteX475" fmla="*/ 519200 w 1128860"/>
                  <a:gd name="connsiteY475" fmla="*/ 550401 h 1642641"/>
                  <a:gd name="connsiteX476" fmla="*/ 528050 w 1128860"/>
                  <a:gd name="connsiteY476" fmla="*/ 556338 h 1642641"/>
                  <a:gd name="connsiteX477" fmla="*/ 526390 w 1128860"/>
                  <a:gd name="connsiteY477" fmla="*/ 543385 h 1642641"/>
                  <a:gd name="connsiteX478" fmla="*/ 523625 w 1128860"/>
                  <a:gd name="connsiteY478" fmla="*/ 540686 h 1642641"/>
                  <a:gd name="connsiteX479" fmla="*/ 482143 w 1128860"/>
                  <a:gd name="connsiteY479" fmla="*/ 540146 h 1642641"/>
                  <a:gd name="connsiteX480" fmla="*/ 486015 w 1128860"/>
                  <a:gd name="connsiteY480" fmla="*/ 525034 h 1642641"/>
                  <a:gd name="connsiteX481" fmla="*/ 495970 w 1128860"/>
                  <a:gd name="connsiteY481" fmla="*/ 524494 h 1642641"/>
                  <a:gd name="connsiteX482" fmla="*/ 508138 w 1128860"/>
                  <a:gd name="connsiteY482" fmla="*/ 517478 h 1642641"/>
                  <a:gd name="connsiteX483" fmla="*/ 519753 w 1128860"/>
                  <a:gd name="connsiteY483" fmla="*/ 518018 h 1642641"/>
                  <a:gd name="connsiteX484" fmla="*/ 526944 w 1128860"/>
                  <a:gd name="connsiteY484" fmla="*/ 530431 h 1642641"/>
                  <a:gd name="connsiteX485" fmla="*/ 528603 w 1128860"/>
                  <a:gd name="connsiteY485" fmla="*/ 533670 h 1642641"/>
                  <a:gd name="connsiteX486" fmla="*/ 531368 w 1128860"/>
                  <a:gd name="connsiteY486" fmla="*/ 534209 h 1642641"/>
                  <a:gd name="connsiteX487" fmla="*/ 532474 w 1128860"/>
                  <a:gd name="connsiteY487" fmla="*/ 531511 h 1642641"/>
                  <a:gd name="connsiteX488" fmla="*/ 530815 w 1128860"/>
                  <a:gd name="connsiteY488" fmla="*/ 526113 h 1642641"/>
                  <a:gd name="connsiteX489" fmla="*/ 529156 w 1128860"/>
                  <a:gd name="connsiteY489" fmla="*/ 517478 h 1642641"/>
                  <a:gd name="connsiteX490" fmla="*/ 539112 w 1128860"/>
                  <a:gd name="connsiteY490" fmla="*/ 501286 h 1642641"/>
                  <a:gd name="connsiteX491" fmla="*/ 538558 w 1128860"/>
                  <a:gd name="connsiteY491" fmla="*/ 499667 h 1642641"/>
                  <a:gd name="connsiteX492" fmla="*/ 517541 w 1128860"/>
                  <a:gd name="connsiteY492" fmla="*/ 505604 h 1642641"/>
                  <a:gd name="connsiteX493" fmla="*/ 515882 w 1128860"/>
                  <a:gd name="connsiteY493" fmla="*/ 503445 h 1642641"/>
                  <a:gd name="connsiteX494" fmla="*/ 516435 w 1128860"/>
                  <a:gd name="connsiteY494" fmla="*/ 489952 h 1642641"/>
                  <a:gd name="connsiteX495" fmla="*/ 529156 w 1128860"/>
                  <a:gd name="connsiteY495" fmla="*/ 475919 h 1642641"/>
                  <a:gd name="connsiteX496" fmla="*/ 524178 w 1128860"/>
                  <a:gd name="connsiteY496" fmla="*/ 472681 h 1642641"/>
                  <a:gd name="connsiteX497" fmla="*/ 500948 w 1128860"/>
                  <a:gd name="connsiteY497" fmla="*/ 488873 h 1642641"/>
                  <a:gd name="connsiteX498" fmla="*/ 495970 w 1128860"/>
                  <a:gd name="connsiteY498" fmla="*/ 491571 h 1642641"/>
                  <a:gd name="connsiteX499" fmla="*/ 493205 w 1128860"/>
                  <a:gd name="connsiteY499" fmla="*/ 490492 h 1642641"/>
                  <a:gd name="connsiteX500" fmla="*/ 494864 w 1128860"/>
                  <a:gd name="connsiteY500" fmla="*/ 470522 h 1642641"/>
                  <a:gd name="connsiteX501" fmla="*/ 509245 w 1128860"/>
                  <a:gd name="connsiteY501" fmla="*/ 467823 h 1642641"/>
                  <a:gd name="connsiteX502" fmla="*/ 519753 w 1128860"/>
                  <a:gd name="connsiteY502" fmla="*/ 461886 h 1642641"/>
                  <a:gd name="connsiteX503" fmla="*/ 529156 w 1128860"/>
                  <a:gd name="connsiteY503" fmla="*/ 461886 h 1642641"/>
                  <a:gd name="connsiteX504" fmla="*/ 540771 w 1128860"/>
                  <a:gd name="connsiteY504" fmla="*/ 452171 h 1642641"/>
                  <a:gd name="connsiteX505" fmla="*/ 554045 w 1128860"/>
                  <a:gd name="connsiteY505" fmla="*/ 457569 h 1642641"/>
                  <a:gd name="connsiteX506" fmla="*/ 555151 w 1128860"/>
                  <a:gd name="connsiteY506" fmla="*/ 448933 h 1642641"/>
                  <a:gd name="connsiteX507" fmla="*/ 561235 w 1128860"/>
                  <a:gd name="connsiteY507" fmla="*/ 437059 h 1642641"/>
                  <a:gd name="connsiteX508" fmla="*/ 554045 w 1128860"/>
                  <a:gd name="connsiteY508" fmla="*/ 435440 h 1642641"/>
                  <a:gd name="connsiteX509" fmla="*/ 552386 w 1128860"/>
                  <a:gd name="connsiteY509" fmla="*/ 424645 h 1642641"/>
                  <a:gd name="connsiteX510" fmla="*/ 545749 w 1128860"/>
                  <a:gd name="connsiteY510" fmla="*/ 415470 h 1642641"/>
                  <a:gd name="connsiteX511" fmla="*/ 547961 w 1128860"/>
                  <a:gd name="connsiteY511" fmla="*/ 406835 h 1642641"/>
                  <a:gd name="connsiteX512" fmla="*/ 549067 w 1128860"/>
                  <a:gd name="connsiteY512" fmla="*/ 405755 h 1642641"/>
                  <a:gd name="connsiteX513" fmla="*/ 559023 w 1128860"/>
                  <a:gd name="connsiteY513" fmla="*/ 402517 h 1642641"/>
                  <a:gd name="connsiteX514" fmla="*/ 573956 w 1128860"/>
                  <a:gd name="connsiteY514" fmla="*/ 405215 h 1642641"/>
                  <a:gd name="connsiteX515" fmla="*/ 586678 w 1128860"/>
                  <a:gd name="connsiteY515" fmla="*/ 404676 h 1642641"/>
                  <a:gd name="connsiteX516" fmla="*/ 587231 w 1128860"/>
                  <a:gd name="connsiteY516" fmla="*/ 405755 h 1642641"/>
                  <a:gd name="connsiteX517" fmla="*/ 589443 w 1128860"/>
                  <a:gd name="connsiteY517" fmla="*/ 411152 h 1642641"/>
                  <a:gd name="connsiteX518" fmla="*/ 593315 w 1128860"/>
                  <a:gd name="connsiteY518" fmla="*/ 408454 h 1642641"/>
                  <a:gd name="connsiteX519" fmla="*/ 591655 w 1128860"/>
                  <a:gd name="connsiteY519" fmla="*/ 398199 h 1642641"/>
                  <a:gd name="connsiteX520" fmla="*/ 597739 w 1128860"/>
                  <a:gd name="connsiteY520" fmla="*/ 398199 h 1642641"/>
                  <a:gd name="connsiteX521" fmla="*/ 600505 w 1128860"/>
                  <a:gd name="connsiteY521" fmla="*/ 393342 h 1642641"/>
                  <a:gd name="connsiteX522" fmla="*/ 603823 w 1128860"/>
                  <a:gd name="connsiteY522" fmla="*/ 392262 h 1642641"/>
                  <a:gd name="connsiteX523" fmla="*/ 604376 w 1128860"/>
                  <a:gd name="connsiteY523" fmla="*/ 390643 h 1642641"/>
                  <a:gd name="connsiteX524" fmla="*/ 601058 w 1128860"/>
                  <a:gd name="connsiteY524" fmla="*/ 387405 h 1642641"/>
                  <a:gd name="connsiteX525" fmla="*/ 600505 w 1128860"/>
                  <a:gd name="connsiteY525" fmla="*/ 378229 h 1642641"/>
                  <a:gd name="connsiteX526" fmla="*/ 598292 w 1128860"/>
                  <a:gd name="connsiteY526" fmla="*/ 377150 h 1642641"/>
                  <a:gd name="connsiteX527" fmla="*/ 584465 w 1128860"/>
                  <a:gd name="connsiteY527" fmla="*/ 389024 h 1642641"/>
                  <a:gd name="connsiteX528" fmla="*/ 577828 w 1128860"/>
                  <a:gd name="connsiteY528" fmla="*/ 385785 h 1642641"/>
                  <a:gd name="connsiteX529" fmla="*/ 562895 w 1128860"/>
                  <a:gd name="connsiteY529" fmla="*/ 392802 h 1642641"/>
                  <a:gd name="connsiteX530" fmla="*/ 556257 w 1128860"/>
                  <a:gd name="connsiteY530" fmla="*/ 390643 h 1642641"/>
                  <a:gd name="connsiteX531" fmla="*/ 553492 w 1128860"/>
                  <a:gd name="connsiteY531" fmla="*/ 389563 h 1642641"/>
                  <a:gd name="connsiteX532" fmla="*/ 554045 w 1128860"/>
                  <a:gd name="connsiteY532" fmla="*/ 386325 h 1642641"/>
                  <a:gd name="connsiteX533" fmla="*/ 556811 w 1128860"/>
                  <a:gd name="connsiteY533" fmla="*/ 374451 h 1642641"/>
                  <a:gd name="connsiteX534" fmla="*/ 568425 w 1128860"/>
                  <a:gd name="connsiteY534" fmla="*/ 365816 h 1642641"/>
                  <a:gd name="connsiteX535" fmla="*/ 578381 w 1128860"/>
                  <a:gd name="connsiteY535" fmla="*/ 368514 h 1642641"/>
                  <a:gd name="connsiteX536" fmla="*/ 583912 w 1128860"/>
                  <a:gd name="connsiteY536" fmla="*/ 364196 h 1642641"/>
                  <a:gd name="connsiteX537" fmla="*/ 591655 w 1128860"/>
                  <a:gd name="connsiteY537" fmla="*/ 361498 h 1642641"/>
                  <a:gd name="connsiteX538" fmla="*/ 596080 w 1128860"/>
                  <a:gd name="connsiteY538" fmla="*/ 361498 h 1642641"/>
                  <a:gd name="connsiteX539" fmla="*/ 585571 w 1128860"/>
                  <a:gd name="connsiteY539" fmla="*/ 355021 h 1642641"/>
                  <a:gd name="connsiteX540" fmla="*/ 586124 w 1128860"/>
                  <a:gd name="connsiteY540" fmla="*/ 352862 h 1642641"/>
                  <a:gd name="connsiteX541" fmla="*/ 603823 w 1128860"/>
                  <a:gd name="connsiteY541" fmla="*/ 349084 h 1642641"/>
                  <a:gd name="connsiteX542" fmla="*/ 594421 w 1128860"/>
                  <a:gd name="connsiteY542" fmla="*/ 345846 h 1642641"/>
                  <a:gd name="connsiteX543" fmla="*/ 602717 w 1128860"/>
                  <a:gd name="connsiteY543" fmla="*/ 333972 h 1642641"/>
                  <a:gd name="connsiteX544" fmla="*/ 594974 w 1128860"/>
                  <a:gd name="connsiteY544" fmla="*/ 331813 h 1642641"/>
                  <a:gd name="connsiteX545" fmla="*/ 589443 w 1128860"/>
                  <a:gd name="connsiteY545" fmla="*/ 336671 h 1642641"/>
                  <a:gd name="connsiteX546" fmla="*/ 586678 w 1128860"/>
                  <a:gd name="connsiteY546" fmla="*/ 335051 h 1642641"/>
                  <a:gd name="connsiteX547" fmla="*/ 587231 w 1128860"/>
                  <a:gd name="connsiteY547" fmla="*/ 332353 h 1642641"/>
                  <a:gd name="connsiteX548" fmla="*/ 594421 w 1128860"/>
                  <a:gd name="connsiteY548" fmla="*/ 312923 h 1642641"/>
                  <a:gd name="connsiteX549" fmla="*/ 610460 w 1128860"/>
                  <a:gd name="connsiteY549" fmla="*/ 305367 h 1642641"/>
                  <a:gd name="connsiteX550" fmla="*/ 608801 w 1128860"/>
                  <a:gd name="connsiteY550" fmla="*/ 274063 h 1642641"/>
                  <a:gd name="connsiteX551" fmla="*/ 612120 w 1128860"/>
                  <a:gd name="connsiteY551" fmla="*/ 273523 h 1642641"/>
                  <a:gd name="connsiteX552" fmla="*/ 613779 w 1128860"/>
                  <a:gd name="connsiteY552" fmla="*/ 275682 h 1642641"/>
                  <a:gd name="connsiteX553" fmla="*/ 623182 w 1128860"/>
                  <a:gd name="connsiteY553" fmla="*/ 276761 h 1642641"/>
                  <a:gd name="connsiteX554" fmla="*/ 634797 w 1128860"/>
                  <a:gd name="connsiteY554" fmla="*/ 285397 h 1642641"/>
                  <a:gd name="connsiteX555" fmla="*/ 639221 w 1128860"/>
                  <a:gd name="connsiteY555" fmla="*/ 280539 h 1642641"/>
                  <a:gd name="connsiteX556" fmla="*/ 623182 w 1128860"/>
                  <a:gd name="connsiteY556" fmla="*/ 265427 h 1642641"/>
                  <a:gd name="connsiteX557" fmla="*/ 625947 w 1128860"/>
                  <a:gd name="connsiteY557" fmla="*/ 256792 h 1642641"/>
                  <a:gd name="connsiteX558" fmla="*/ 643093 w 1128860"/>
                  <a:gd name="connsiteY558" fmla="*/ 271364 h 1642641"/>
                  <a:gd name="connsiteX559" fmla="*/ 655814 w 1128860"/>
                  <a:gd name="connsiteY559" fmla="*/ 274602 h 1642641"/>
                  <a:gd name="connsiteX560" fmla="*/ 658579 w 1128860"/>
                  <a:gd name="connsiteY560" fmla="*/ 286476 h 1642641"/>
                  <a:gd name="connsiteX561" fmla="*/ 664110 w 1128860"/>
                  <a:gd name="connsiteY561" fmla="*/ 274602 h 1642641"/>
                  <a:gd name="connsiteX562" fmla="*/ 646411 w 1128860"/>
                  <a:gd name="connsiteY562" fmla="*/ 261649 h 1642641"/>
                  <a:gd name="connsiteX563" fmla="*/ 644752 w 1128860"/>
                  <a:gd name="connsiteY563" fmla="*/ 254093 h 1642641"/>
                  <a:gd name="connsiteX564" fmla="*/ 647518 w 1128860"/>
                  <a:gd name="connsiteY564" fmla="*/ 253013 h 1642641"/>
                  <a:gd name="connsiteX565" fmla="*/ 648071 w 1128860"/>
                  <a:gd name="connsiteY565" fmla="*/ 250855 h 1642641"/>
                  <a:gd name="connsiteX566" fmla="*/ 639774 w 1128860"/>
                  <a:gd name="connsiteY566" fmla="*/ 244378 h 1642641"/>
                  <a:gd name="connsiteX567" fmla="*/ 639221 w 1128860"/>
                  <a:gd name="connsiteY567" fmla="*/ 236282 h 1642641"/>
                  <a:gd name="connsiteX568" fmla="*/ 666323 w 1128860"/>
                  <a:gd name="connsiteY568" fmla="*/ 223329 h 1642641"/>
                  <a:gd name="connsiteX569" fmla="*/ 665770 w 1128860"/>
                  <a:gd name="connsiteY569" fmla="*/ 263268 h 1642641"/>
                  <a:gd name="connsiteX570" fmla="*/ 671301 w 1128860"/>
                  <a:gd name="connsiteY570" fmla="*/ 264887 h 1642641"/>
                  <a:gd name="connsiteX571" fmla="*/ 676278 w 1128860"/>
                  <a:gd name="connsiteY571" fmla="*/ 259490 h 1642641"/>
                  <a:gd name="connsiteX572" fmla="*/ 676278 w 1128860"/>
                  <a:gd name="connsiteY572" fmla="*/ 232504 h 1642641"/>
                  <a:gd name="connsiteX573" fmla="*/ 683469 w 1128860"/>
                  <a:gd name="connsiteY573" fmla="*/ 202819 h 1642641"/>
                  <a:gd name="connsiteX574" fmla="*/ 690659 w 1128860"/>
                  <a:gd name="connsiteY574" fmla="*/ 202279 h 1642641"/>
                  <a:gd name="connsiteX575" fmla="*/ 691212 w 1128860"/>
                  <a:gd name="connsiteY575" fmla="*/ 260570 h 1642641"/>
                  <a:gd name="connsiteX576" fmla="*/ 686787 w 1128860"/>
                  <a:gd name="connsiteY576" fmla="*/ 271364 h 1642641"/>
                  <a:gd name="connsiteX577" fmla="*/ 687340 w 1128860"/>
                  <a:gd name="connsiteY577" fmla="*/ 276222 h 1642641"/>
                  <a:gd name="connsiteX578" fmla="*/ 704486 w 1128860"/>
                  <a:gd name="connsiteY578" fmla="*/ 235203 h 1642641"/>
                  <a:gd name="connsiteX579" fmla="*/ 703380 w 1128860"/>
                  <a:gd name="connsiteY579" fmla="*/ 217392 h 1642641"/>
                  <a:gd name="connsiteX580" fmla="*/ 712229 w 1128860"/>
                  <a:gd name="connsiteY580" fmla="*/ 203899 h 1642641"/>
                  <a:gd name="connsiteX581" fmla="*/ 719973 w 1128860"/>
                  <a:gd name="connsiteY581" fmla="*/ 205518 h 1642641"/>
                  <a:gd name="connsiteX582" fmla="*/ 726610 w 1128860"/>
                  <a:gd name="connsiteY582" fmla="*/ 193104 h 1642641"/>
                  <a:gd name="connsiteX583" fmla="*/ 724951 w 1128860"/>
                  <a:gd name="connsiteY583" fmla="*/ 185548 h 1642641"/>
                  <a:gd name="connsiteX584" fmla="*/ 726610 w 1128860"/>
                  <a:gd name="connsiteY584" fmla="*/ 185008 h 1642641"/>
                  <a:gd name="connsiteX585" fmla="*/ 736565 w 1128860"/>
                  <a:gd name="connsiteY585" fmla="*/ 186088 h 1642641"/>
                  <a:gd name="connsiteX586" fmla="*/ 743203 w 1128860"/>
                  <a:gd name="connsiteY586" fmla="*/ 193644 h 1642641"/>
                  <a:gd name="connsiteX587" fmla="*/ 756477 w 1128860"/>
                  <a:gd name="connsiteY587" fmla="*/ 200121 h 1642641"/>
                  <a:gd name="connsiteX588" fmla="*/ 759242 w 1128860"/>
                  <a:gd name="connsiteY588" fmla="*/ 199041 h 1642641"/>
                  <a:gd name="connsiteX589" fmla="*/ 752052 w 1128860"/>
                  <a:gd name="connsiteY589" fmla="*/ 172595 h 1642641"/>
                  <a:gd name="connsiteX590" fmla="*/ 734906 w 1128860"/>
                  <a:gd name="connsiteY590" fmla="*/ 169896 h 1642641"/>
                  <a:gd name="connsiteX591" fmla="*/ 731035 w 1128860"/>
                  <a:gd name="connsiteY591" fmla="*/ 166118 h 1642641"/>
                  <a:gd name="connsiteX592" fmla="*/ 721079 w 1128860"/>
                  <a:gd name="connsiteY592" fmla="*/ 156403 h 1642641"/>
                  <a:gd name="connsiteX593" fmla="*/ 729375 w 1128860"/>
                  <a:gd name="connsiteY593" fmla="*/ 155324 h 1642641"/>
                  <a:gd name="connsiteX594" fmla="*/ 730481 w 1128860"/>
                  <a:gd name="connsiteY594" fmla="*/ 153165 h 1642641"/>
                  <a:gd name="connsiteX595" fmla="*/ 732141 w 1128860"/>
                  <a:gd name="connsiteY595" fmla="*/ 153704 h 1642641"/>
                  <a:gd name="connsiteX596" fmla="*/ 742096 w 1128860"/>
                  <a:gd name="connsiteY596" fmla="*/ 159641 h 1642641"/>
                  <a:gd name="connsiteX597" fmla="*/ 743203 w 1128860"/>
                  <a:gd name="connsiteY597" fmla="*/ 158562 h 1642641"/>
                  <a:gd name="connsiteX598" fmla="*/ 744309 w 1128860"/>
                  <a:gd name="connsiteY598" fmla="*/ 148307 h 1642641"/>
                  <a:gd name="connsiteX599" fmla="*/ 753158 w 1128860"/>
                  <a:gd name="connsiteY599" fmla="*/ 148847 h 1642641"/>
                  <a:gd name="connsiteX600" fmla="*/ 755371 w 1128860"/>
                  <a:gd name="connsiteY600" fmla="*/ 147228 h 1642641"/>
                  <a:gd name="connsiteX601" fmla="*/ 757030 w 1128860"/>
                  <a:gd name="connsiteY601" fmla="*/ 148847 h 1642641"/>
                  <a:gd name="connsiteX602" fmla="*/ 755924 w 1128860"/>
                  <a:gd name="connsiteY602" fmla="*/ 158562 h 1642641"/>
                  <a:gd name="connsiteX603" fmla="*/ 767539 w 1128860"/>
                  <a:gd name="connsiteY603" fmla="*/ 158562 h 1642641"/>
                  <a:gd name="connsiteX604" fmla="*/ 765879 w 1128860"/>
                  <a:gd name="connsiteY604" fmla="*/ 148847 h 1642641"/>
                  <a:gd name="connsiteX605" fmla="*/ 773070 w 1128860"/>
                  <a:gd name="connsiteY605" fmla="*/ 147228 h 1642641"/>
                  <a:gd name="connsiteX606" fmla="*/ 785791 w 1128860"/>
                  <a:gd name="connsiteY606" fmla="*/ 148847 h 1642641"/>
                  <a:gd name="connsiteX607" fmla="*/ 791875 w 1128860"/>
                  <a:gd name="connsiteY607" fmla="*/ 160721 h 1642641"/>
                  <a:gd name="connsiteX608" fmla="*/ 799065 w 1128860"/>
                  <a:gd name="connsiteY608" fmla="*/ 167737 h 1642641"/>
                  <a:gd name="connsiteX609" fmla="*/ 811786 w 1128860"/>
                  <a:gd name="connsiteY609" fmla="*/ 163419 h 1642641"/>
                  <a:gd name="connsiteX610" fmla="*/ 811786 w 1128860"/>
                  <a:gd name="connsiteY610" fmla="*/ 160721 h 1642641"/>
                  <a:gd name="connsiteX611" fmla="*/ 806255 w 1128860"/>
                  <a:gd name="connsiteY611" fmla="*/ 153704 h 1642641"/>
                  <a:gd name="connsiteX612" fmla="*/ 809020 w 1128860"/>
                  <a:gd name="connsiteY612" fmla="*/ 133735 h 1642641"/>
                  <a:gd name="connsiteX613" fmla="*/ 809020 w 1128860"/>
                  <a:gd name="connsiteY613" fmla="*/ 117003 h 1642641"/>
                  <a:gd name="connsiteX614" fmla="*/ 817870 w 1128860"/>
                  <a:gd name="connsiteY614" fmla="*/ 104050 h 1642641"/>
                  <a:gd name="connsiteX615" fmla="*/ 829485 w 1128860"/>
                  <a:gd name="connsiteY615" fmla="*/ 103510 h 1642641"/>
                  <a:gd name="connsiteX616" fmla="*/ 828932 w 1128860"/>
                  <a:gd name="connsiteY616" fmla="*/ 97033 h 1642641"/>
                  <a:gd name="connsiteX617" fmla="*/ 831697 w 1128860"/>
                  <a:gd name="connsiteY617" fmla="*/ 82461 h 1642641"/>
                  <a:gd name="connsiteX618" fmla="*/ 841653 w 1128860"/>
                  <a:gd name="connsiteY618" fmla="*/ 81381 h 1642641"/>
                  <a:gd name="connsiteX619" fmla="*/ 842206 w 1128860"/>
                  <a:gd name="connsiteY619" fmla="*/ 80302 h 1642641"/>
                  <a:gd name="connsiteX620" fmla="*/ 842206 w 1128860"/>
                  <a:gd name="connsiteY620" fmla="*/ 78143 h 1642641"/>
                  <a:gd name="connsiteX621" fmla="*/ 836122 w 1128860"/>
                  <a:gd name="connsiteY621" fmla="*/ 71127 h 1642641"/>
                  <a:gd name="connsiteX622" fmla="*/ 822848 w 1128860"/>
                  <a:gd name="connsiteY622" fmla="*/ 66269 h 1642641"/>
                  <a:gd name="connsiteX623" fmla="*/ 833357 w 1128860"/>
                  <a:gd name="connsiteY623" fmla="*/ 62491 h 1642641"/>
                  <a:gd name="connsiteX624" fmla="*/ 833910 w 1128860"/>
                  <a:gd name="connsiteY624" fmla="*/ 49538 h 1642641"/>
                  <a:gd name="connsiteX625" fmla="*/ 858799 w 1128860"/>
                  <a:gd name="connsiteY625" fmla="*/ 53856 h 1642641"/>
                  <a:gd name="connsiteX626" fmla="*/ 861011 w 1128860"/>
                  <a:gd name="connsiteY626" fmla="*/ 46839 h 1642641"/>
                  <a:gd name="connsiteX627" fmla="*/ 862670 w 1128860"/>
                  <a:gd name="connsiteY627" fmla="*/ 45760 h 1642641"/>
                  <a:gd name="connsiteX628" fmla="*/ 871520 w 1128860"/>
                  <a:gd name="connsiteY628" fmla="*/ 46839 h 1642641"/>
                  <a:gd name="connsiteX629" fmla="*/ 878157 w 1128860"/>
                  <a:gd name="connsiteY629" fmla="*/ 41982 h 1642641"/>
                  <a:gd name="connsiteX630" fmla="*/ 881476 w 1128860"/>
                  <a:gd name="connsiteY630" fmla="*/ 46839 h 1642641"/>
                  <a:gd name="connsiteX631" fmla="*/ 877051 w 1128860"/>
                  <a:gd name="connsiteY631" fmla="*/ 64110 h 1642641"/>
                  <a:gd name="connsiteX632" fmla="*/ 861564 w 1128860"/>
                  <a:gd name="connsiteY632" fmla="*/ 85160 h 1642641"/>
                  <a:gd name="connsiteX633" fmla="*/ 861564 w 1128860"/>
                  <a:gd name="connsiteY633" fmla="*/ 87858 h 1642641"/>
                  <a:gd name="connsiteX634" fmla="*/ 869308 w 1128860"/>
                  <a:gd name="connsiteY634" fmla="*/ 100811 h 1642641"/>
                  <a:gd name="connsiteX635" fmla="*/ 871520 w 1128860"/>
                  <a:gd name="connsiteY635" fmla="*/ 135894 h 1642641"/>
                  <a:gd name="connsiteX636" fmla="*/ 883135 w 1128860"/>
                  <a:gd name="connsiteY636" fmla="*/ 132655 h 1642641"/>
                  <a:gd name="connsiteX637" fmla="*/ 888666 w 1128860"/>
                  <a:gd name="connsiteY637" fmla="*/ 114305 h 1642641"/>
                  <a:gd name="connsiteX638" fmla="*/ 884241 w 1128860"/>
                  <a:gd name="connsiteY638" fmla="*/ 107288 h 1642641"/>
                  <a:gd name="connsiteX639" fmla="*/ 896409 w 1128860"/>
                  <a:gd name="connsiteY639" fmla="*/ 45760 h 1642641"/>
                  <a:gd name="connsiteX640" fmla="*/ 905812 w 1128860"/>
                  <a:gd name="connsiteY640" fmla="*/ 32267 h 1642641"/>
                  <a:gd name="connsiteX641" fmla="*/ 912449 w 1128860"/>
                  <a:gd name="connsiteY641" fmla="*/ 33886 h 1642641"/>
                  <a:gd name="connsiteX642" fmla="*/ 913555 w 1128860"/>
                  <a:gd name="connsiteY642" fmla="*/ 54395 h 1642641"/>
                  <a:gd name="connsiteX643" fmla="*/ 908577 w 1128860"/>
                  <a:gd name="connsiteY643" fmla="*/ 62491 h 1642641"/>
                  <a:gd name="connsiteX644" fmla="*/ 919639 w 1128860"/>
                  <a:gd name="connsiteY644" fmla="*/ 68428 h 1642641"/>
                  <a:gd name="connsiteX645" fmla="*/ 924617 w 1128860"/>
                  <a:gd name="connsiteY645" fmla="*/ 91096 h 1642641"/>
                  <a:gd name="connsiteX646" fmla="*/ 928488 w 1128860"/>
                  <a:gd name="connsiteY646" fmla="*/ 91096 h 1642641"/>
                  <a:gd name="connsiteX647" fmla="*/ 938997 w 1128860"/>
                  <a:gd name="connsiteY647" fmla="*/ 62491 h 1642641"/>
                  <a:gd name="connsiteX648" fmla="*/ 936785 w 1128860"/>
                  <a:gd name="connsiteY648" fmla="*/ 40362 h 1642641"/>
                  <a:gd name="connsiteX649" fmla="*/ 946187 w 1128860"/>
                  <a:gd name="connsiteY649" fmla="*/ 33886 h 1642641"/>
                  <a:gd name="connsiteX650" fmla="*/ 946740 w 1128860"/>
                  <a:gd name="connsiteY650" fmla="*/ 31727 h 1642641"/>
                  <a:gd name="connsiteX651" fmla="*/ 942316 w 1128860"/>
                  <a:gd name="connsiteY651" fmla="*/ 26869 h 1642641"/>
                  <a:gd name="connsiteX652" fmla="*/ 929595 w 1128860"/>
                  <a:gd name="connsiteY652" fmla="*/ 19853 h 1642641"/>
                  <a:gd name="connsiteX653" fmla="*/ 931254 w 1128860"/>
                  <a:gd name="connsiteY653" fmla="*/ 14995 h 1642641"/>
                  <a:gd name="connsiteX654" fmla="*/ 936232 w 1128860"/>
                  <a:gd name="connsiteY654" fmla="*/ 12837 h 1642641"/>
                  <a:gd name="connsiteX655" fmla="*/ 937891 w 1128860"/>
                  <a:gd name="connsiteY655" fmla="*/ 963 h 1642641"/>
                  <a:gd name="connsiteX656" fmla="*/ 940103 w 1128860"/>
                  <a:gd name="connsiteY656" fmla="*/ 423 h 1642641"/>
                  <a:gd name="connsiteX657" fmla="*/ 953378 w 1128860"/>
                  <a:gd name="connsiteY657" fmla="*/ 423 h 1642641"/>
                  <a:gd name="connsiteX658" fmla="*/ 958355 w 1128860"/>
                  <a:gd name="connsiteY658" fmla="*/ -117 h 1642641"/>
                  <a:gd name="connsiteX659" fmla="*/ 979373 w 1128860"/>
                  <a:gd name="connsiteY659" fmla="*/ 4201 h 1642641"/>
                  <a:gd name="connsiteX660" fmla="*/ 975501 w 1128860"/>
                  <a:gd name="connsiteY660" fmla="*/ 17694 h 1642641"/>
                  <a:gd name="connsiteX661" fmla="*/ 963886 w 1128860"/>
                  <a:gd name="connsiteY661" fmla="*/ 24171 h 1642641"/>
                  <a:gd name="connsiteX662" fmla="*/ 963886 w 1128860"/>
                  <a:gd name="connsiteY662" fmla="*/ 29568 h 1642641"/>
                  <a:gd name="connsiteX663" fmla="*/ 968311 w 1128860"/>
                  <a:gd name="connsiteY663" fmla="*/ 28489 h 1642641"/>
                  <a:gd name="connsiteX664" fmla="*/ 962780 w 1128860"/>
                  <a:gd name="connsiteY664" fmla="*/ 47379 h 1642641"/>
                  <a:gd name="connsiteX665" fmla="*/ 979373 w 1128860"/>
                  <a:gd name="connsiteY665" fmla="*/ 33346 h 1642641"/>
                  <a:gd name="connsiteX666" fmla="*/ 982691 w 1128860"/>
                  <a:gd name="connsiteY666" fmla="*/ 33886 h 1642641"/>
                  <a:gd name="connsiteX667" fmla="*/ 978820 w 1128860"/>
                  <a:gd name="connsiteY667" fmla="*/ 52236 h 1642641"/>
                  <a:gd name="connsiteX668" fmla="*/ 971630 w 1128860"/>
                  <a:gd name="connsiteY668" fmla="*/ 64650 h 1642641"/>
                  <a:gd name="connsiteX669" fmla="*/ 973289 w 1128860"/>
                  <a:gd name="connsiteY669" fmla="*/ 66269 h 1642641"/>
                  <a:gd name="connsiteX670" fmla="*/ 984351 w 1128860"/>
                  <a:gd name="connsiteY670" fmla="*/ 61412 h 1642641"/>
                  <a:gd name="connsiteX671" fmla="*/ 986563 w 1128860"/>
                  <a:gd name="connsiteY671" fmla="*/ 63031 h 1642641"/>
                  <a:gd name="connsiteX672" fmla="*/ 988222 w 1128860"/>
                  <a:gd name="connsiteY672" fmla="*/ 73286 h 1642641"/>
                  <a:gd name="connsiteX673" fmla="*/ 992094 w 1128860"/>
                  <a:gd name="connsiteY673" fmla="*/ 73825 h 1642641"/>
                  <a:gd name="connsiteX674" fmla="*/ 993200 w 1128860"/>
                  <a:gd name="connsiteY674" fmla="*/ 70047 h 1642641"/>
                  <a:gd name="connsiteX675" fmla="*/ 990988 w 1128860"/>
                  <a:gd name="connsiteY675" fmla="*/ 65190 h 1642641"/>
                  <a:gd name="connsiteX676" fmla="*/ 1002050 w 1128860"/>
                  <a:gd name="connsiteY676" fmla="*/ 56014 h 1642641"/>
                  <a:gd name="connsiteX677" fmla="*/ 990988 w 1128860"/>
                  <a:gd name="connsiteY677" fmla="*/ 33886 h 1642641"/>
                  <a:gd name="connsiteX678" fmla="*/ 993753 w 1128860"/>
                  <a:gd name="connsiteY678" fmla="*/ 14995 h 1642641"/>
                  <a:gd name="connsiteX679" fmla="*/ 998731 w 1128860"/>
                  <a:gd name="connsiteY679" fmla="*/ 7979 h 1642641"/>
                  <a:gd name="connsiteX680" fmla="*/ 1016983 w 1128860"/>
                  <a:gd name="connsiteY680" fmla="*/ 13376 h 1642641"/>
                  <a:gd name="connsiteX681" fmla="*/ 1021961 w 1128860"/>
                  <a:gd name="connsiteY681" fmla="*/ 24710 h 1642641"/>
                  <a:gd name="connsiteX682" fmla="*/ 1021408 w 1128860"/>
                  <a:gd name="connsiteY682" fmla="*/ 26330 h 1642641"/>
                  <a:gd name="connsiteX683" fmla="*/ 1022514 w 1128860"/>
                  <a:gd name="connsiteY683" fmla="*/ 27409 h 1642641"/>
                  <a:gd name="connsiteX684" fmla="*/ 1031917 w 1128860"/>
                  <a:gd name="connsiteY684" fmla="*/ 12837 h 1642641"/>
                  <a:gd name="connsiteX685" fmla="*/ 1036894 w 1128860"/>
                  <a:gd name="connsiteY685" fmla="*/ 25790 h 1642641"/>
                  <a:gd name="connsiteX686" fmla="*/ 1038554 w 1128860"/>
                  <a:gd name="connsiteY686" fmla="*/ 26330 h 1642641"/>
                  <a:gd name="connsiteX687" fmla="*/ 1052934 w 1128860"/>
                  <a:gd name="connsiteY687" fmla="*/ 10138 h 1642641"/>
                  <a:gd name="connsiteX688" fmla="*/ 1055700 w 1128860"/>
                  <a:gd name="connsiteY688" fmla="*/ 12837 h 1642641"/>
                  <a:gd name="connsiteX689" fmla="*/ 1054593 w 1128860"/>
                  <a:gd name="connsiteY689" fmla="*/ 14456 h 1642641"/>
                  <a:gd name="connsiteX690" fmla="*/ 1052381 w 1128860"/>
                  <a:gd name="connsiteY690" fmla="*/ 15535 h 1642641"/>
                  <a:gd name="connsiteX691" fmla="*/ 1051275 w 1128860"/>
                  <a:gd name="connsiteY691" fmla="*/ 17154 h 1642641"/>
                  <a:gd name="connsiteX692" fmla="*/ 1052381 w 1128860"/>
                  <a:gd name="connsiteY692" fmla="*/ 18774 h 1642641"/>
                  <a:gd name="connsiteX693" fmla="*/ 1061230 w 1128860"/>
                  <a:gd name="connsiteY693" fmla="*/ 17154 h 1642641"/>
                  <a:gd name="connsiteX694" fmla="*/ 1063443 w 1128860"/>
                  <a:gd name="connsiteY694" fmla="*/ 17694 h 1642641"/>
                  <a:gd name="connsiteX695" fmla="*/ 1063443 w 1128860"/>
                  <a:gd name="connsiteY695" fmla="*/ 19313 h 1642641"/>
                  <a:gd name="connsiteX696" fmla="*/ 1054040 w 1128860"/>
                  <a:gd name="connsiteY696" fmla="*/ 26869 h 1642641"/>
                  <a:gd name="connsiteX697" fmla="*/ 1054593 w 1128860"/>
                  <a:gd name="connsiteY697" fmla="*/ 27949 h 1642641"/>
                  <a:gd name="connsiteX698" fmla="*/ 1069527 w 1128860"/>
                  <a:gd name="connsiteY698" fmla="*/ 22552 h 1642641"/>
                  <a:gd name="connsiteX699" fmla="*/ 1077823 w 1128860"/>
                  <a:gd name="connsiteY699" fmla="*/ 23091 h 1642641"/>
                  <a:gd name="connsiteX700" fmla="*/ 1093863 w 1128860"/>
                  <a:gd name="connsiteY700" fmla="*/ 28489 h 1642641"/>
                  <a:gd name="connsiteX701" fmla="*/ 1103265 w 1128860"/>
                  <a:gd name="connsiteY701" fmla="*/ 38204 h 1642641"/>
                  <a:gd name="connsiteX702" fmla="*/ 1085567 w 1128860"/>
                  <a:gd name="connsiteY702" fmla="*/ 53316 h 1642641"/>
                  <a:gd name="connsiteX703" fmla="*/ 1073952 w 1128860"/>
                  <a:gd name="connsiteY703" fmla="*/ 76524 h 1642641"/>
                  <a:gd name="connsiteX704" fmla="*/ 1016430 w 1128860"/>
                  <a:gd name="connsiteY704" fmla="*/ 88398 h 1642641"/>
                  <a:gd name="connsiteX705" fmla="*/ 1015877 w 1128860"/>
                  <a:gd name="connsiteY705" fmla="*/ 90017 h 1642641"/>
                  <a:gd name="connsiteX706" fmla="*/ 1051275 w 1128860"/>
                  <a:gd name="connsiteY706" fmla="*/ 98653 h 1642641"/>
                  <a:gd name="connsiteX707" fmla="*/ 1065102 w 1128860"/>
                  <a:gd name="connsiteY707" fmla="*/ 95954 h 1642641"/>
                  <a:gd name="connsiteX708" fmla="*/ 1066761 w 1128860"/>
                  <a:gd name="connsiteY708" fmla="*/ 101891 h 1642641"/>
                  <a:gd name="connsiteX709" fmla="*/ 1071186 w 1128860"/>
                  <a:gd name="connsiteY709" fmla="*/ 108368 h 1642641"/>
                  <a:gd name="connsiteX710" fmla="*/ 1072845 w 1128860"/>
                  <a:gd name="connsiteY710" fmla="*/ 119162 h 1642641"/>
                  <a:gd name="connsiteX711" fmla="*/ 1072292 w 1128860"/>
                  <a:gd name="connsiteY711" fmla="*/ 122400 h 1642641"/>
                  <a:gd name="connsiteX712" fmla="*/ 1076164 w 1128860"/>
                  <a:gd name="connsiteY712" fmla="*/ 124020 h 1642641"/>
                  <a:gd name="connsiteX713" fmla="*/ 1083907 w 1128860"/>
                  <a:gd name="connsiteY713" fmla="*/ 120781 h 1642641"/>
                  <a:gd name="connsiteX714" fmla="*/ 1097181 w 1128860"/>
                  <a:gd name="connsiteY714" fmla="*/ 117003 h 1642641"/>
                  <a:gd name="connsiteX715" fmla="*/ 1093863 w 1128860"/>
                  <a:gd name="connsiteY715" fmla="*/ 100272 h 1642641"/>
                  <a:gd name="connsiteX716" fmla="*/ 1103819 w 1128860"/>
                  <a:gd name="connsiteY716" fmla="*/ 113765 h 1642641"/>
                  <a:gd name="connsiteX717" fmla="*/ 1107137 w 1128860"/>
                  <a:gd name="connsiteY717" fmla="*/ 114844 h 1642641"/>
                  <a:gd name="connsiteX718" fmla="*/ 1109903 w 1128860"/>
                  <a:gd name="connsiteY718" fmla="*/ 100272 h 1642641"/>
                  <a:gd name="connsiteX719" fmla="*/ 1118752 w 1128860"/>
                  <a:gd name="connsiteY719" fmla="*/ 102970 h 1642641"/>
                  <a:gd name="connsiteX720" fmla="*/ 1127048 w 1128860"/>
                  <a:gd name="connsiteY720" fmla="*/ 98653 h 1642641"/>
                  <a:gd name="connsiteX721" fmla="*/ 1128155 w 1128860"/>
                  <a:gd name="connsiteY721" fmla="*/ 118622 h 1642641"/>
                  <a:gd name="connsiteX722" fmla="*/ 1125942 w 1128860"/>
                  <a:gd name="connsiteY722" fmla="*/ 129417 h 1642641"/>
                  <a:gd name="connsiteX723" fmla="*/ 1119858 w 1128860"/>
                  <a:gd name="connsiteY723" fmla="*/ 132655 h 1642641"/>
                  <a:gd name="connsiteX724" fmla="*/ 1110456 w 1128860"/>
                  <a:gd name="connsiteY724" fmla="*/ 130496 h 1642641"/>
                  <a:gd name="connsiteX725" fmla="*/ 852715 w 1128860"/>
                  <a:gd name="connsiteY725" fmla="*/ 28489 h 1642641"/>
                  <a:gd name="connsiteX726" fmla="*/ 852162 w 1128860"/>
                  <a:gd name="connsiteY726" fmla="*/ 24171 h 1642641"/>
                  <a:gd name="connsiteX727" fmla="*/ 862117 w 1128860"/>
                  <a:gd name="connsiteY727" fmla="*/ 24171 h 1642641"/>
                  <a:gd name="connsiteX728" fmla="*/ 864883 w 1128860"/>
                  <a:gd name="connsiteY728" fmla="*/ 24171 h 1642641"/>
                  <a:gd name="connsiteX729" fmla="*/ 858246 w 1128860"/>
                  <a:gd name="connsiteY729" fmla="*/ 15535 h 1642641"/>
                  <a:gd name="connsiteX730" fmla="*/ 863777 w 1128860"/>
                  <a:gd name="connsiteY730" fmla="*/ 14456 h 1642641"/>
                  <a:gd name="connsiteX731" fmla="*/ 873179 w 1128860"/>
                  <a:gd name="connsiteY731" fmla="*/ 14995 h 1642641"/>
                  <a:gd name="connsiteX732" fmla="*/ 875945 w 1128860"/>
                  <a:gd name="connsiteY732" fmla="*/ 22012 h 1642641"/>
                  <a:gd name="connsiteX733" fmla="*/ 881476 w 1128860"/>
                  <a:gd name="connsiteY733" fmla="*/ 22552 h 1642641"/>
                  <a:gd name="connsiteX734" fmla="*/ 878710 w 1128860"/>
                  <a:gd name="connsiteY734" fmla="*/ 29028 h 1642641"/>
                  <a:gd name="connsiteX735" fmla="*/ 875945 w 1128860"/>
                  <a:gd name="connsiteY735" fmla="*/ 33346 h 1642641"/>
                  <a:gd name="connsiteX736" fmla="*/ 868754 w 1128860"/>
                  <a:gd name="connsiteY736" fmla="*/ 38204 h 1642641"/>
                  <a:gd name="connsiteX737" fmla="*/ 861011 w 1128860"/>
                  <a:gd name="connsiteY737" fmla="*/ 33346 h 1642641"/>
                  <a:gd name="connsiteX738" fmla="*/ 860458 w 1128860"/>
                  <a:gd name="connsiteY738" fmla="*/ 30647 h 1642641"/>
                  <a:gd name="connsiteX739" fmla="*/ 852715 w 1128860"/>
                  <a:gd name="connsiteY739" fmla="*/ 28489 h 1642641"/>
                  <a:gd name="connsiteX740" fmla="*/ 780813 w 1128860"/>
                  <a:gd name="connsiteY740" fmla="*/ 122400 h 1642641"/>
                  <a:gd name="connsiteX741" fmla="*/ 779707 w 1128860"/>
                  <a:gd name="connsiteY741" fmla="*/ 121321 h 1642641"/>
                  <a:gd name="connsiteX742" fmla="*/ 789662 w 1128860"/>
                  <a:gd name="connsiteY742" fmla="*/ 106209 h 1642641"/>
                  <a:gd name="connsiteX743" fmla="*/ 792981 w 1128860"/>
                  <a:gd name="connsiteY743" fmla="*/ 97573 h 1642641"/>
                  <a:gd name="connsiteX744" fmla="*/ 797959 w 1128860"/>
                  <a:gd name="connsiteY744" fmla="*/ 98653 h 1642641"/>
                  <a:gd name="connsiteX745" fmla="*/ 802383 w 1128860"/>
                  <a:gd name="connsiteY745" fmla="*/ 108907 h 1642641"/>
                  <a:gd name="connsiteX746" fmla="*/ 799065 w 1128860"/>
                  <a:gd name="connsiteY746" fmla="*/ 125639 h 1642641"/>
                  <a:gd name="connsiteX747" fmla="*/ 798512 w 1128860"/>
                  <a:gd name="connsiteY747" fmla="*/ 129417 h 1642641"/>
                  <a:gd name="connsiteX748" fmla="*/ 794640 w 1128860"/>
                  <a:gd name="connsiteY748" fmla="*/ 130496 h 1642641"/>
                  <a:gd name="connsiteX749" fmla="*/ 792981 w 1128860"/>
                  <a:gd name="connsiteY749" fmla="*/ 126718 h 1642641"/>
                  <a:gd name="connsiteX750" fmla="*/ 780813 w 1128860"/>
                  <a:gd name="connsiteY750" fmla="*/ 122400 h 1642641"/>
                  <a:gd name="connsiteX751" fmla="*/ 744862 w 1128860"/>
                  <a:gd name="connsiteY751" fmla="*/ 117543 h 1642641"/>
                  <a:gd name="connsiteX752" fmla="*/ 747074 w 1128860"/>
                  <a:gd name="connsiteY752" fmla="*/ 115384 h 1642641"/>
                  <a:gd name="connsiteX753" fmla="*/ 748180 w 1128860"/>
                  <a:gd name="connsiteY753" fmla="*/ 110527 h 1642641"/>
                  <a:gd name="connsiteX754" fmla="*/ 737672 w 1128860"/>
                  <a:gd name="connsiteY754" fmla="*/ 104590 h 1642641"/>
                  <a:gd name="connsiteX755" fmla="*/ 742649 w 1128860"/>
                  <a:gd name="connsiteY755" fmla="*/ 101351 h 1642641"/>
                  <a:gd name="connsiteX756" fmla="*/ 750393 w 1128860"/>
                  <a:gd name="connsiteY756" fmla="*/ 94875 h 1642641"/>
                  <a:gd name="connsiteX757" fmla="*/ 761455 w 1128860"/>
                  <a:gd name="connsiteY757" fmla="*/ 95414 h 1642641"/>
                  <a:gd name="connsiteX758" fmla="*/ 763114 w 1128860"/>
                  <a:gd name="connsiteY758" fmla="*/ 93795 h 1642641"/>
                  <a:gd name="connsiteX759" fmla="*/ 765879 w 1128860"/>
                  <a:gd name="connsiteY759" fmla="*/ 88938 h 1642641"/>
                  <a:gd name="connsiteX760" fmla="*/ 764773 w 1128860"/>
                  <a:gd name="connsiteY760" fmla="*/ 84080 h 1642641"/>
                  <a:gd name="connsiteX761" fmla="*/ 776388 w 1128860"/>
                  <a:gd name="connsiteY761" fmla="*/ 84620 h 1642641"/>
                  <a:gd name="connsiteX762" fmla="*/ 783025 w 1128860"/>
                  <a:gd name="connsiteY762" fmla="*/ 70587 h 1642641"/>
                  <a:gd name="connsiteX763" fmla="*/ 787450 w 1128860"/>
                  <a:gd name="connsiteY763" fmla="*/ 75444 h 1642641"/>
                  <a:gd name="connsiteX764" fmla="*/ 773623 w 1128860"/>
                  <a:gd name="connsiteY764" fmla="*/ 105669 h 1642641"/>
                  <a:gd name="connsiteX765" fmla="*/ 753711 w 1128860"/>
                  <a:gd name="connsiteY765" fmla="*/ 113765 h 1642641"/>
                  <a:gd name="connsiteX766" fmla="*/ 745968 w 1128860"/>
                  <a:gd name="connsiteY766" fmla="*/ 119162 h 1642641"/>
                  <a:gd name="connsiteX767" fmla="*/ 744862 w 1128860"/>
                  <a:gd name="connsiteY767" fmla="*/ 117543 h 1642641"/>
                  <a:gd name="connsiteX768" fmla="*/ 654708 w 1128860"/>
                  <a:gd name="connsiteY768" fmla="*/ 198501 h 1642641"/>
                  <a:gd name="connsiteX769" fmla="*/ 652495 w 1128860"/>
                  <a:gd name="connsiteY769" fmla="*/ 210375 h 1642641"/>
                  <a:gd name="connsiteX770" fmla="*/ 637562 w 1128860"/>
                  <a:gd name="connsiteY770" fmla="*/ 223329 h 1642641"/>
                  <a:gd name="connsiteX771" fmla="*/ 623735 w 1128860"/>
                  <a:gd name="connsiteY771" fmla="*/ 213074 h 1642641"/>
                  <a:gd name="connsiteX772" fmla="*/ 627606 w 1128860"/>
                  <a:gd name="connsiteY772" fmla="*/ 205518 h 1642641"/>
                  <a:gd name="connsiteX773" fmla="*/ 630925 w 1128860"/>
                  <a:gd name="connsiteY773" fmla="*/ 196343 h 1642641"/>
                  <a:gd name="connsiteX774" fmla="*/ 644752 w 1128860"/>
                  <a:gd name="connsiteY774" fmla="*/ 193104 h 1642641"/>
                  <a:gd name="connsiteX775" fmla="*/ 648071 w 1128860"/>
                  <a:gd name="connsiteY775" fmla="*/ 196343 h 1642641"/>
                  <a:gd name="connsiteX776" fmla="*/ 654708 w 1128860"/>
                  <a:gd name="connsiteY776" fmla="*/ 198501 h 1642641"/>
                  <a:gd name="connsiteX777" fmla="*/ 613779 w 1128860"/>
                  <a:gd name="connsiteY777" fmla="*/ 227107 h 1642641"/>
                  <a:gd name="connsiteX778" fmla="*/ 615991 w 1128860"/>
                  <a:gd name="connsiteY778" fmla="*/ 226567 h 1642641"/>
                  <a:gd name="connsiteX779" fmla="*/ 618204 w 1128860"/>
                  <a:gd name="connsiteY779" fmla="*/ 227107 h 1642641"/>
                  <a:gd name="connsiteX780" fmla="*/ 626500 w 1128860"/>
                  <a:gd name="connsiteY780" fmla="*/ 230345 h 1642641"/>
                  <a:gd name="connsiteX781" fmla="*/ 629819 w 1128860"/>
                  <a:gd name="connsiteY781" fmla="*/ 235203 h 1642641"/>
                  <a:gd name="connsiteX782" fmla="*/ 624288 w 1128860"/>
                  <a:gd name="connsiteY782" fmla="*/ 250315 h 1642641"/>
                  <a:gd name="connsiteX783" fmla="*/ 615438 w 1128860"/>
                  <a:gd name="connsiteY783" fmla="*/ 256252 h 1642641"/>
                  <a:gd name="connsiteX784" fmla="*/ 606036 w 1128860"/>
                  <a:gd name="connsiteY784" fmla="*/ 256792 h 1642641"/>
                  <a:gd name="connsiteX785" fmla="*/ 603823 w 1128860"/>
                  <a:gd name="connsiteY785" fmla="*/ 254633 h 1642641"/>
                  <a:gd name="connsiteX786" fmla="*/ 608801 w 1128860"/>
                  <a:gd name="connsiteY786" fmla="*/ 247077 h 1642641"/>
                  <a:gd name="connsiteX787" fmla="*/ 608801 w 1128860"/>
                  <a:gd name="connsiteY787" fmla="*/ 238981 h 1642641"/>
                  <a:gd name="connsiteX788" fmla="*/ 618204 w 1128860"/>
                  <a:gd name="connsiteY788" fmla="*/ 234663 h 1642641"/>
                  <a:gd name="connsiteX789" fmla="*/ 613779 w 1128860"/>
                  <a:gd name="connsiteY789" fmla="*/ 227107 h 1642641"/>
                  <a:gd name="connsiteX790" fmla="*/ 555151 w 1128860"/>
                  <a:gd name="connsiteY790" fmla="*/ 320479 h 1642641"/>
                  <a:gd name="connsiteX791" fmla="*/ 564001 w 1128860"/>
                  <a:gd name="connsiteY791" fmla="*/ 312383 h 1642641"/>
                  <a:gd name="connsiteX792" fmla="*/ 566213 w 1128860"/>
                  <a:gd name="connsiteY792" fmla="*/ 303747 h 1642641"/>
                  <a:gd name="connsiteX793" fmla="*/ 561235 w 1128860"/>
                  <a:gd name="connsiteY793" fmla="*/ 299969 h 1642641"/>
                  <a:gd name="connsiteX794" fmla="*/ 561235 w 1128860"/>
                  <a:gd name="connsiteY794" fmla="*/ 291874 h 1642641"/>
                  <a:gd name="connsiteX795" fmla="*/ 557364 w 1128860"/>
                  <a:gd name="connsiteY795" fmla="*/ 285937 h 1642641"/>
                  <a:gd name="connsiteX796" fmla="*/ 557917 w 1128860"/>
                  <a:gd name="connsiteY796" fmla="*/ 283778 h 1642641"/>
                  <a:gd name="connsiteX797" fmla="*/ 570085 w 1128860"/>
                  <a:gd name="connsiteY797" fmla="*/ 278380 h 1642641"/>
                  <a:gd name="connsiteX798" fmla="*/ 571744 w 1128860"/>
                  <a:gd name="connsiteY798" fmla="*/ 267586 h 1642641"/>
                  <a:gd name="connsiteX799" fmla="*/ 581700 w 1128860"/>
                  <a:gd name="connsiteY799" fmla="*/ 264887 h 1642641"/>
                  <a:gd name="connsiteX800" fmla="*/ 588337 w 1128860"/>
                  <a:gd name="connsiteY800" fmla="*/ 261109 h 1642641"/>
                  <a:gd name="connsiteX801" fmla="*/ 595527 w 1128860"/>
                  <a:gd name="connsiteY801" fmla="*/ 275142 h 1642641"/>
                  <a:gd name="connsiteX802" fmla="*/ 601058 w 1128860"/>
                  <a:gd name="connsiteY802" fmla="*/ 282159 h 1642641"/>
                  <a:gd name="connsiteX803" fmla="*/ 597186 w 1128860"/>
                  <a:gd name="connsiteY803" fmla="*/ 299430 h 1642641"/>
                  <a:gd name="connsiteX804" fmla="*/ 588890 w 1128860"/>
                  <a:gd name="connsiteY804" fmla="*/ 303747 h 1642641"/>
                  <a:gd name="connsiteX805" fmla="*/ 587231 w 1128860"/>
                  <a:gd name="connsiteY805" fmla="*/ 304827 h 1642641"/>
                  <a:gd name="connsiteX806" fmla="*/ 579487 w 1128860"/>
                  <a:gd name="connsiteY806" fmla="*/ 306986 h 1642641"/>
                  <a:gd name="connsiteX807" fmla="*/ 571191 w 1128860"/>
                  <a:gd name="connsiteY807" fmla="*/ 321558 h 1642641"/>
                  <a:gd name="connsiteX808" fmla="*/ 565107 w 1128860"/>
                  <a:gd name="connsiteY808" fmla="*/ 321558 h 1642641"/>
                  <a:gd name="connsiteX809" fmla="*/ 555151 w 1128860"/>
                  <a:gd name="connsiteY809" fmla="*/ 320479 h 1642641"/>
                  <a:gd name="connsiteX810" fmla="*/ 499289 w 1128860"/>
                  <a:gd name="connsiteY810" fmla="*/ 337210 h 1642641"/>
                  <a:gd name="connsiteX811" fmla="*/ 500395 w 1128860"/>
                  <a:gd name="connsiteY811" fmla="*/ 332353 h 1642641"/>
                  <a:gd name="connsiteX812" fmla="*/ 514222 w 1128860"/>
                  <a:gd name="connsiteY812" fmla="*/ 304287 h 1642641"/>
                  <a:gd name="connsiteX813" fmla="*/ 519753 w 1128860"/>
                  <a:gd name="connsiteY813" fmla="*/ 303747 h 1642641"/>
                  <a:gd name="connsiteX814" fmla="*/ 521413 w 1128860"/>
                  <a:gd name="connsiteY814" fmla="*/ 314002 h 1642641"/>
                  <a:gd name="connsiteX815" fmla="*/ 508692 w 1128860"/>
                  <a:gd name="connsiteY815" fmla="*/ 336131 h 1642641"/>
                  <a:gd name="connsiteX816" fmla="*/ 504820 w 1128860"/>
                  <a:gd name="connsiteY816" fmla="*/ 339369 h 1642641"/>
                  <a:gd name="connsiteX817" fmla="*/ 503161 w 1128860"/>
                  <a:gd name="connsiteY817" fmla="*/ 344766 h 1642641"/>
                  <a:gd name="connsiteX818" fmla="*/ 501501 w 1128860"/>
                  <a:gd name="connsiteY818" fmla="*/ 345846 h 1642641"/>
                  <a:gd name="connsiteX819" fmla="*/ 499289 w 1128860"/>
                  <a:gd name="connsiteY819" fmla="*/ 337210 h 1642641"/>
                  <a:gd name="connsiteX820" fmla="*/ 489886 w 1128860"/>
                  <a:gd name="connsiteY820" fmla="*/ 355021 h 1642641"/>
                  <a:gd name="connsiteX821" fmla="*/ 489886 w 1128860"/>
                  <a:gd name="connsiteY821" fmla="*/ 357720 h 1642641"/>
                  <a:gd name="connsiteX822" fmla="*/ 497630 w 1128860"/>
                  <a:gd name="connsiteY822" fmla="*/ 369054 h 1642641"/>
                  <a:gd name="connsiteX823" fmla="*/ 494311 w 1128860"/>
                  <a:gd name="connsiteY823" fmla="*/ 380388 h 1642641"/>
                  <a:gd name="connsiteX824" fmla="*/ 484355 w 1128860"/>
                  <a:gd name="connsiteY824" fmla="*/ 389024 h 1642641"/>
                  <a:gd name="connsiteX825" fmla="*/ 481037 w 1128860"/>
                  <a:gd name="connsiteY825" fmla="*/ 388484 h 1642641"/>
                  <a:gd name="connsiteX826" fmla="*/ 479378 w 1128860"/>
                  <a:gd name="connsiteY826" fmla="*/ 386865 h 1642641"/>
                  <a:gd name="connsiteX827" fmla="*/ 482143 w 1128860"/>
                  <a:gd name="connsiteY827" fmla="*/ 377690 h 1642641"/>
                  <a:gd name="connsiteX828" fmla="*/ 484909 w 1128860"/>
                  <a:gd name="connsiteY828" fmla="*/ 374991 h 1642641"/>
                  <a:gd name="connsiteX829" fmla="*/ 483249 w 1128860"/>
                  <a:gd name="connsiteY829" fmla="*/ 372292 h 1642641"/>
                  <a:gd name="connsiteX830" fmla="*/ 467210 w 1128860"/>
                  <a:gd name="connsiteY830" fmla="*/ 379848 h 1642641"/>
                  <a:gd name="connsiteX831" fmla="*/ 464997 w 1128860"/>
                  <a:gd name="connsiteY831" fmla="*/ 382007 h 1642641"/>
                  <a:gd name="connsiteX832" fmla="*/ 462232 w 1128860"/>
                  <a:gd name="connsiteY832" fmla="*/ 382007 h 1642641"/>
                  <a:gd name="connsiteX833" fmla="*/ 459466 w 1128860"/>
                  <a:gd name="connsiteY833" fmla="*/ 380928 h 1642641"/>
                  <a:gd name="connsiteX834" fmla="*/ 462785 w 1128860"/>
                  <a:gd name="connsiteY834" fmla="*/ 366355 h 1642641"/>
                  <a:gd name="connsiteX835" fmla="*/ 463338 w 1128860"/>
                  <a:gd name="connsiteY835" fmla="*/ 363117 h 1642641"/>
                  <a:gd name="connsiteX836" fmla="*/ 473294 w 1128860"/>
                  <a:gd name="connsiteY836" fmla="*/ 363117 h 1642641"/>
                  <a:gd name="connsiteX837" fmla="*/ 480484 w 1128860"/>
                  <a:gd name="connsiteY837" fmla="*/ 358260 h 1642641"/>
                  <a:gd name="connsiteX838" fmla="*/ 478825 w 1128860"/>
                  <a:gd name="connsiteY838" fmla="*/ 340988 h 1642641"/>
                  <a:gd name="connsiteX839" fmla="*/ 489886 w 1128860"/>
                  <a:gd name="connsiteY839" fmla="*/ 345846 h 1642641"/>
                  <a:gd name="connsiteX840" fmla="*/ 489886 w 1128860"/>
                  <a:gd name="connsiteY840" fmla="*/ 355021 h 1642641"/>
                  <a:gd name="connsiteX841" fmla="*/ 512010 w 1128860"/>
                  <a:gd name="connsiteY841" fmla="*/ 397120 h 1642641"/>
                  <a:gd name="connsiteX842" fmla="*/ 502608 w 1128860"/>
                  <a:gd name="connsiteY842" fmla="*/ 403596 h 1642641"/>
                  <a:gd name="connsiteX843" fmla="*/ 499842 w 1128860"/>
                  <a:gd name="connsiteY843" fmla="*/ 407914 h 1642641"/>
                  <a:gd name="connsiteX844" fmla="*/ 495417 w 1128860"/>
                  <a:gd name="connsiteY844" fmla="*/ 417089 h 1642641"/>
                  <a:gd name="connsiteX845" fmla="*/ 492652 w 1128860"/>
                  <a:gd name="connsiteY845" fmla="*/ 417629 h 1642641"/>
                  <a:gd name="connsiteX846" fmla="*/ 494311 w 1128860"/>
                  <a:gd name="connsiteY846" fmla="*/ 407914 h 1642641"/>
                  <a:gd name="connsiteX847" fmla="*/ 496523 w 1128860"/>
                  <a:gd name="connsiteY847" fmla="*/ 403596 h 1642641"/>
                  <a:gd name="connsiteX848" fmla="*/ 498183 w 1128860"/>
                  <a:gd name="connsiteY848" fmla="*/ 399278 h 1642641"/>
                  <a:gd name="connsiteX849" fmla="*/ 499289 w 1128860"/>
                  <a:gd name="connsiteY849" fmla="*/ 396580 h 1642641"/>
                  <a:gd name="connsiteX850" fmla="*/ 509798 w 1128860"/>
                  <a:gd name="connsiteY850" fmla="*/ 358260 h 1642641"/>
                  <a:gd name="connsiteX851" fmla="*/ 508138 w 1128860"/>
                  <a:gd name="connsiteY851" fmla="*/ 349084 h 1642641"/>
                  <a:gd name="connsiteX852" fmla="*/ 514776 w 1128860"/>
                  <a:gd name="connsiteY852" fmla="*/ 343687 h 1642641"/>
                  <a:gd name="connsiteX853" fmla="*/ 517541 w 1128860"/>
                  <a:gd name="connsiteY853" fmla="*/ 358260 h 1642641"/>
                  <a:gd name="connsiteX854" fmla="*/ 523072 w 1128860"/>
                  <a:gd name="connsiteY854" fmla="*/ 364196 h 1642641"/>
                  <a:gd name="connsiteX855" fmla="*/ 520860 w 1128860"/>
                  <a:gd name="connsiteY855" fmla="*/ 373372 h 1642641"/>
                  <a:gd name="connsiteX856" fmla="*/ 523072 w 1128860"/>
                  <a:gd name="connsiteY856" fmla="*/ 374991 h 1642641"/>
                  <a:gd name="connsiteX857" fmla="*/ 527497 w 1128860"/>
                  <a:gd name="connsiteY857" fmla="*/ 372832 h 1642641"/>
                  <a:gd name="connsiteX858" fmla="*/ 531921 w 1128860"/>
                  <a:gd name="connsiteY858" fmla="*/ 352862 h 1642641"/>
                  <a:gd name="connsiteX859" fmla="*/ 539112 w 1128860"/>
                  <a:gd name="connsiteY859" fmla="*/ 347465 h 1642641"/>
                  <a:gd name="connsiteX860" fmla="*/ 543536 w 1128860"/>
                  <a:gd name="connsiteY860" fmla="*/ 348544 h 1642641"/>
                  <a:gd name="connsiteX861" fmla="*/ 546855 w 1128860"/>
                  <a:gd name="connsiteY861" fmla="*/ 359339 h 1642641"/>
                  <a:gd name="connsiteX862" fmla="*/ 547408 w 1128860"/>
                  <a:gd name="connsiteY862" fmla="*/ 373372 h 1642641"/>
                  <a:gd name="connsiteX863" fmla="*/ 544643 w 1128860"/>
                  <a:gd name="connsiteY863" fmla="*/ 378229 h 1642641"/>
                  <a:gd name="connsiteX864" fmla="*/ 535793 w 1128860"/>
                  <a:gd name="connsiteY864" fmla="*/ 383627 h 1642641"/>
                  <a:gd name="connsiteX865" fmla="*/ 533028 w 1128860"/>
                  <a:gd name="connsiteY865" fmla="*/ 391183 h 1642641"/>
                  <a:gd name="connsiteX866" fmla="*/ 527497 w 1128860"/>
                  <a:gd name="connsiteY866" fmla="*/ 402517 h 1642641"/>
                  <a:gd name="connsiteX867" fmla="*/ 525284 w 1128860"/>
                  <a:gd name="connsiteY867" fmla="*/ 393342 h 1642641"/>
                  <a:gd name="connsiteX868" fmla="*/ 518094 w 1128860"/>
                  <a:gd name="connsiteY868" fmla="*/ 412772 h 1642641"/>
                  <a:gd name="connsiteX869" fmla="*/ 508138 w 1128860"/>
                  <a:gd name="connsiteY869" fmla="*/ 412232 h 1642641"/>
                  <a:gd name="connsiteX870" fmla="*/ 513669 w 1128860"/>
                  <a:gd name="connsiteY870" fmla="*/ 401437 h 1642641"/>
                  <a:gd name="connsiteX871" fmla="*/ 512010 w 1128860"/>
                  <a:gd name="connsiteY871" fmla="*/ 397120 h 1642641"/>
                  <a:gd name="connsiteX872" fmla="*/ 212787 w 1128860"/>
                  <a:gd name="connsiteY872" fmla="*/ 992974 h 1642641"/>
                  <a:gd name="connsiteX873" fmla="*/ 212787 w 1128860"/>
                  <a:gd name="connsiteY873" fmla="*/ 991895 h 1642641"/>
                  <a:gd name="connsiteX874" fmla="*/ 210575 w 1128860"/>
                  <a:gd name="connsiteY874" fmla="*/ 984878 h 1642641"/>
                  <a:gd name="connsiteX875" fmla="*/ 223296 w 1128860"/>
                  <a:gd name="connsiteY875" fmla="*/ 983259 h 1642641"/>
                  <a:gd name="connsiteX876" fmla="*/ 224955 w 1128860"/>
                  <a:gd name="connsiteY876" fmla="*/ 985418 h 1642641"/>
                  <a:gd name="connsiteX877" fmla="*/ 237676 w 1128860"/>
                  <a:gd name="connsiteY877" fmla="*/ 985958 h 1642641"/>
                  <a:gd name="connsiteX878" fmla="*/ 235464 w 1128860"/>
                  <a:gd name="connsiteY878" fmla="*/ 991895 h 1642641"/>
                  <a:gd name="connsiteX879" fmla="*/ 232145 w 1128860"/>
                  <a:gd name="connsiteY879" fmla="*/ 994054 h 1642641"/>
                  <a:gd name="connsiteX880" fmla="*/ 227168 w 1128860"/>
                  <a:gd name="connsiteY880" fmla="*/ 999451 h 1642641"/>
                  <a:gd name="connsiteX881" fmla="*/ 221637 w 1128860"/>
                  <a:gd name="connsiteY881" fmla="*/ 1001070 h 1642641"/>
                  <a:gd name="connsiteX882" fmla="*/ 206150 w 1128860"/>
                  <a:gd name="connsiteY882" fmla="*/ 1006467 h 1642641"/>
                  <a:gd name="connsiteX883" fmla="*/ 195088 w 1128860"/>
                  <a:gd name="connsiteY883" fmla="*/ 1003229 h 1642641"/>
                  <a:gd name="connsiteX884" fmla="*/ 195088 w 1128860"/>
                  <a:gd name="connsiteY884" fmla="*/ 1001070 h 1642641"/>
                  <a:gd name="connsiteX885" fmla="*/ 199513 w 1128860"/>
                  <a:gd name="connsiteY885" fmla="*/ 996752 h 1642641"/>
                  <a:gd name="connsiteX886" fmla="*/ 212787 w 1128860"/>
                  <a:gd name="connsiteY886" fmla="*/ 992974 h 1642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</a:cxnLst>
                <a:rect l="l" t="t" r="r" b="b"/>
                <a:pathLst>
                  <a:path w="1128860" h="1642641">
                    <a:moveTo>
                      <a:pt x="13121" y="1439325"/>
                    </a:moveTo>
                    <a:cubicBezTo>
                      <a:pt x="10356" y="1441484"/>
                      <a:pt x="11462" y="1442024"/>
                      <a:pt x="10909" y="1444723"/>
                    </a:cubicBezTo>
                    <a:cubicBezTo>
                      <a:pt x="10909" y="1445802"/>
                      <a:pt x="8696" y="1449580"/>
                      <a:pt x="7590" y="1449580"/>
                    </a:cubicBezTo>
                    <a:cubicBezTo>
                      <a:pt x="7037" y="1450120"/>
                      <a:pt x="4825" y="1449580"/>
                      <a:pt x="4272" y="1449040"/>
                    </a:cubicBezTo>
                    <a:cubicBezTo>
                      <a:pt x="2612" y="1447961"/>
                      <a:pt x="5378" y="1441484"/>
                      <a:pt x="4272" y="1439325"/>
                    </a:cubicBezTo>
                    <a:cubicBezTo>
                      <a:pt x="3165" y="1437166"/>
                      <a:pt x="-153" y="1433928"/>
                      <a:pt x="-706" y="1431769"/>
                    </a:cubicBezTo>
                    <a:cubicBezTo>
                      <a:pt x="-706" y="1430690"/>
                      <a:pt x="953" y="1426372"/>
                      <a:pt x="1506" y="1425293"/>
                    </a:cubicBezTo>
                    <a:cubicBezTo>
                      <a:pt x="2059" y="1424753"/>
                      <a:pt x="4272" y="1424213"/>
                      <a:pt x="5378" y="1424753"/>
                    </a:cubicBezTo>
                    <a:cubicBezTo>
                      <a:pt x="8696" y="1425293"/>
                      <a:pt x="8143" y="1429610"/>
                      <a:pt x="9249" y="1431769"/>
                    </a:cubicBezTo>
                    <a:cubicBezTo>
                      <a:pt x="10356" y="1432309"/>
                      <a:pt x="13674" y="1434468"/>
                      <a:pt x="14780" y="1435547"/>
                    </a:cubicBezTo>
                    <a:cubicBezTo>
                      <a:pt x="15333" y="1435547"/>
                      <a:pt x="16993" y="1436087"/>
                      <a:pt x="16993" y="1436087"/>
                    </a:cubicBezTo>
                    <a:cubicBezTo>
                      <a:pt x="16993" y="1437166"/>
                      <a:pt x="15887" y="1437166"/>
                      <a:pt x="15333" y="1437706"/>
                    </a:cubicBezTo>
                    <a:cubicBezTo>
                      <a:pt x="14780" y="1437706"/>
                      <a:pt x="13674" y="1438786"/>
                      <a:pt x="13121" y="1439325"/>
                    </a:cubicBezTo>
                    <a:close/>
                    <a:moveTo>
                      <a:pt x="1110456" y="130496"/>
                    </a:moveTo>
                    <a:cubicBezTo>
                      <a:pt x="1109349" y="138592"/>
                      <a:pt x="1104372" y="149926"/>
                      <a:pt x="1097735" y="155324"/>
                    </a:cubicBezTo>
                    <a:cubicBezTo>
                      <a:pt x="1093310" y="159102"/>
                      <a:pt x="1085013" y="162340"/>
                      <a:pt x="1081695" y="166658"/>
                    </a:cubicBezTo>
                    <a:cubicBezTo>
                      <a:pt x="1079483" y="169356"/>
                      <a:pt x="1079483" y="174214"/>
                      <a:pt x="1080036" y="176912"/>
                    </a:cubicBezTo>
                    <a:cubicBezTo>
                      <a:pt x="1080589" y="179071"/>
                      <a:pt x="1082248" y="181230"/>
                      <a:pt x="1082801" y="182849"/>
                    </a:cubicBezTo>
                    <a:cubicBezTo>
                      <a:pt x="1087779" y="194184"/>
                      <a:pt x="1088885" y="208216"/>
                      <a:pt x="1075611" y="214693"/>
                    </a:cubicBezTo>
                    <a:lnTo>
                      <a:pt x="1060124" y="186627"/>
                    </a:lnTo>
                    <a:lnTo>
                      <a:pt x="1067315" y="157482"/>
                    </a:lnTo>
                    <a:lnTo>
                      <a:pt x="1056806" y="141830"/>
                    </a:lnTo>
                    <a:lnTo>
                      <a:pt x="1051828" y="137513"/>
                    </a:lnTo>
                    <a:lnTo>
                      <a:pt x="1013111" y="127258"/>
                    </a:lnTo>
                    <a:lnTo>
                      <a:pt x="994859" y="113225"/>
                    </a:lnTo>
                    <a:cubicBezTo>
                      <a:pt x="984351" y="120781"/>
                      <a:pt x="987116" y="125099"/>
                      <a:pt x="981032" y="134274"/>
                    </a:cubicBezTo>
                    <a:cubicBezTo>
                      <a:pt x="973842" y="144529"/>
                      <a:pt x="965546" y="138052"/>
                      <a:pt x="955037" y="150466"/>
                    </a:cubicBezTo>
                    <a:cubicBezTo>
                      <a:pt x="945634" y="160721"/>
                      <a:pt x="947294" y="162880"/>
                      <a:pt x="942869" y="174754"/>
                    </a:cubicBezTo>
                    <a:cubicBezTo>
                      <a:pt x="941763" y="177452"/>
                      <a:pt x="940103" y="180151"/>
                      <a:pt x="939550" y="183389"/>
                    </a:cubicBezTo>
                    <a:cubicBezTo>
                      <a:pt x="938444" y="187167"/>
                      <a:pt x="938997" y="191485"/>
                      <a:pt x="938444" y="195803"/>
                    </a:cubicBezTo>
                    <a:cubicBezTo>
                      <a:pt x="937338" y="208216"/>
                      <a:pt x="931254" y="216852"/>
                      <a:pt x="941209" y="228186"/>
                    </a:cubicBezTo>
                    <a:cubicBezTo>
                      <a:pt x="943422" y="230885"/>
                      <a:pt x="947847" y="234123"/>
                      <a:pt x="948953" y="237361"/>
                    </a:cubicBezTo>
                    <a:cubicBezTo>
                      <a:pt x="950612" y="240060"/>
                      <a:pt x="946740" y="254633"/>
                      <a:pt x="945081" y="257871"/>
                    </a:cubicBezTo>
                    <a:cubicBezTo>
                      <a:pt x="943975" y="261109"/>
                      <a:pt x="941209" y="264348"/>
                      <a:pt x="939550" y="267586"/>
                    </a:cubicBezTo>
                    <a:lnTo>
                      <a:pt x="936232" y="280539"/>
                    </a:lnTo>
                    <a:cubicBezTo>
                      <a:pt x="934572" y="291334"/>
                      <a:pt x="934019" y="302668"/>
                      <a:pt x="932360" y="313462"/>
                    </a:cubicBezTo>
                    <a:lnTo>
                      <a:pt x="914661" y="309684"/>
                    </a:lnTo>
                    <a:lnTo>
                      <a:pt x="909130" y="305367"/>
                    </a:lnTo>
                    <a:lnTo>
                      <a:pt x="884794" y="299969"/>
                    </a:lnTo>
                    <a:lnTo>
                      <a:pt x="870967" y="289175"/>
                    </a:lnTo>
                    <a:lnTo>
                      <a:pt x="864883" y="295112"/>
                    </a:lnTo>
                    <a:lnTo>
                      <a:pt x="863777" y="305906"/>
                    </a:lnTo>
                    <a:lnTo>
                      <a:pt x="847184" y="319939"/>
                    </a:lnTo>
                    <a:lnTo>
                      <a:pt x="836122" y="316701"/>
                    </a:lnTo>
                    <a:lnTo>
                      <a:pt x="804043" y="317241"/>
                    </a:lnTo>
                    <a:lnTo>
                      <a:pt x="799618" y="304287"/>
                    </a:lnTo>
                    <a:lnTo>
                      <a:pt x="769751" y="263268"/>
                    </a:lnTo>
                    <a:lnTo>
                      <a:pt x="744862" y="260570"/>
                    </a:lnTo>
                    <a:lnTo>
                      <a:pt x="734906" y="275682"/>
                    </a:lnTo>
                    <a:lnTo>
                      <a:pt x="739884" y="292953"/>
                    </a:lnTo>
                    <a:lnTo>
                      <a:pt x="737119" y="296731"/>
                    </a:lnTo>
                    <a:lnTo>
                      <a:pt x="720526" y="295112"/>
                    </a:lnTo>
                    <a:lnTo>
                      <a:pt x="704486" y="302668"/>
                    </a:lnTo>
                    <a:lnTo>
                      <a:pt x="717207" y="337750"/>
                    </a:lnTo>
                    <a:lnTo>
                      <a:pt x="709464" y="365816"/>
                    </a:lnTo>
                    <a:lnTo>
                      <a:pt x="714442" y="368514"/>
                    </a:lnTo>
                    <a:lnTo>
                      <a:pt x="711123" y="379309"/>
                    </a:lnTo>
                    <a:lnTo>
                      <a:pt x="658579" y="369594"/>
                    </a:lnTo>
                    <a:lnTo>
                      <a:pt x="624841" y="377150"/>
                    </a:lnTo>
                    <a:lnTo>
                      <a:pt x="621522" y="388484"/>
                    </a:lnTo>
                    <a:lnTo>
                      <a:pt x="629266" y="415470"/>
                    </a:lnTo>
                    <a:lnTo>
                      <a:pt x="633137" y="420867"/>
                    </a:lnTo>
                    <a:lnTo>
                      <a:pt x="625947" y="440297"/>
                    </a:lnTo>
                    <a:lnTo>
                      <a:pt x="617651" y="440837"/>
                    </a:lnTo>
                    <a:lnTo>
                      <a:pt x="593868" y="435440"/>
                    </a:lnTo>
                    <a:lnTo>
                      <a:pt x="572850" y="458108"/>
                    </a:lnTo>
                    <a:lnTo>
                      <a:pt x="562895" y="500746"/>
                    </a:lnTo>
                    <a:lnTo>
                      <a:pt x="552386" y="516398"/>
                    </a:lnTo>
                    <a:lnTo>
                      <a:pt x="567319" y="536908"/>
                    </a:lnTo>
                    <a:lnTo>
                      <a:pt x="570638" y="567672"/>
                    </a:lnTo>
                    <a:lnTo>
                      <a:pt x="529156" y="630280"/>
                    </a:lnTo>
                    <a:lnTo>
                      <a:pt x="541324" y="649710"/>
                    </a:lnTo>
                    <a:lnTo>
                      <a:pt x="518094" y="668600"/>
                    </a:lnTo>
                    <a:lnTo>
                      <a:pt x="498183" y="678315"/>
                    </a:lnTo>
                    <a:lnTo>
                      <a:pt x="507032" y="711778"/>
                    </a:lnTo>
                    <a:lnTo>
                      <a:pt x="505926" y="756036"/>
                    </a:lnTo>
                    <a:lnTo>
                      <a:pt x="498736" y="790578"/>
                    </a:lnTo>
                    <a:lnTo>
                      <a:pt x="472741" y="854265"/>
                    </a:lnTo>
                    <a:lnTo>
                      <a:pt x="497630" y="872076"/>
                    </a:lnTo>
                    <a:lnTo>
                      <a:pt x="500395" y="902840"/>
                    </a:lnTo>
                    <a:lnTo>
                      <a:pt x="495417" y="920651"/>
                    </a:lnTo>
                    <a:lnTo>
                      <a:pt x="452276" y="917953"/>
                    </a:lnTo>
                    <a:lnTo>
                      <a:pt x="426834" y="933065"/>
                    </a:lnTo>
                    <a:lnTo>
                      <a:pt x="406369" y="964909"/>
                    </a:lnTo>
                    <a:lnTo>
                      <a:pt x="401392" y="978941"/>
                    </a:lnTo>
                    <a:lnTo>
                      <a:pt x="405263" y="990276"/>
                    </a:lnTo>
                    <a:lnTo>
                      <a:pt x="395861" y="1015642"/>
                    </a:lnTo>
                    <a:lnTo>
                      <a:pt x="408029" y="1047486"/>
                    </a:lnTo>
                    <a:lnTo>
                      <a:pt x="401392" y="1059360"/>
                    </a:lnTo>
                    <a:lnTo>
                      <a:pt x="401945" y="1091204"/>
                    </a:lnTo>
                    <a:lnTo>
                      <a:pt x="420197" y="1128984"/>
                    </a:lnTo>
                    <a:lnTo>
                      <a:pt x="422962" y="1136001"/>
                    </a:lnTo>
                    <a:lnTo>
                      <a:pt x="417984" y="1198069"/>
                    </a:lnTo>
                    <a:lnTo>
                      <a:pt x="457254" y="1230992"/>
                    </a:lnTo>
                    <a:lnTo>
                      <a:pt x="460019" y="1244485"/>
                    </a:lnTo>
                    <a:lnTo>
                      <a:pt x="448958" y="1276329"/>
                    </a:lnTo>
                    <a:lnTo>
                      <a:pt x="438449" y="1276329"/>
                    </a:lnTo>
                    <a:lnTo>
                      <a:pt x="429046" y="1284964"/>
                    </a:lnTo>
                    <a:lnTo>
                      <a:pt x="457254" y="1344334"/>
                    </a:lnTo>
                    <a:lnTo>
                      <a:pt x="450617" y="1367542"/>
                    </a:lnTo>
                    <a:lnTo>
                      <a:pt x="449511" y="1392909"/>
                    </a:lnTo>
                    <a:lnTo>
                      <a:pt x="436790" y="1412339"/>
                    </a:lnTo>
                    <a:lnTo>
                      <a:pt x="417431" y="1417197"/>
                    </a:lnTo>
                    <a:lnTo>
                      <a:pt x="420197" y="1437706"/>
                    </a:lnTo>
                    <a:lnTo>
                      <a:pt x="409688" y="1447421"/>
                    </a:lnTo>
                    <a:lnTo>
                      <a:pt x="418538" y="1486821"/>
                    </a:lnTo>
                    <a:lnTo>
                      <a:pt x="406369" y="1531618"/>
                    </a:lnTo>
                    <a:lnTo>
                      <a:pt x="400285" y="1533237"/>
                    </a:lnTo>
                    <a:lnTo>
                      <a:pt x="393648" y="1531618"/>
                    </a:lnTo>
                    <a:lnTo>
                      <a:pt x="392542" y="1509489"/>
                    </a:lnTo>
                    <a:lnTo>
                      <a:pt x="384799" y="1506791"/>
                    </a:lnTo>
                    <a:cubicBezTo>
                      <a:pt x="374843" y="1494917"/>
                      <a:pt x="365994" y="1501393"/>
                      <a:pt x="363781" y="1499774"/>
                    </a:cubicBezTo>
                    <a:cubicBezTo>
                      <a:pt x="362122" y="1498155"/>
                      <a:pt x="351060" y="1483043"/>
                      <a:pt x="349954" y="1480344"/>
                    </a:cubicBezTo>
                    <a:cubicBezTo>
                      <a:pt x="348295" y="1477646"/>
                      <a:pt x="348295" y="1453358"/>
                      <a:pt x="347742" y="1448501"/>
                    </a:cubicBezTo>
                    <a:cubicBezTo>
                      <a:pt x="347189" y="1447961"/>
                      <a:pt x="342764" y="1437166"/>
                      <a:pt x="342764" y="1437166"/>
                    </a:cubicBezTo>
                    <a:cubicBezTo>
                      <a:pt x="342764" y="1436087"/>
                      <a:pt x="342764" y="1435547"/>
                      <a:pt x="343317" y="1435008"/>
                    </a:cubicBezTo>
                    <a:lnTo>
                      <a:pt x="346082" y="1434468"/>
                    </a:lnTo>
                    <a:lnTo>
                      <a:pt x="347189" y="1436087"/>
                    </a:lnTo>
                    <a:lnTo>
                      <a:pt x="348848" y="1435008"/>
                    </a:lnTo>
                    <a:cubicBezTo>
                      <a:pt x="349401" y="1430690"/>
                      <a:pt x="350507" y="1420435"/>
                      <a:pt x="347189" y="1417736"/>
                    </a:cubicBezTo>
                    <a:cubicBezTo>
                      <a:pt x="345529" y="1417197"/>
                      <a:pt x="341658" y="1418276"/>
                      <a:pt x="339998" y="1418816"/>
                    </a:cubicBezTo>
                    <a:cubicBezTo>
                      <a:pt x="334468" y="1420975"/>
                      <a:pt x="331149" y="1424753"/>
                      <a:pt x="332808" y="1430690"/>
                    </a:cubicBezTo>
                    <a:cubicBezTo>
                      <a:pt x="333361" y="1432309"/>
                      <a:pt x="335574" y="1433928"/>
                      <a:pt x="336680" y="1435547"/>
                    </a:cubicBezTo>
                    <a:cubicBezTo>
                      <a:pt x="338339" y="1438786"/>
                      <a:pt x="338339" y="1446881"/>
                      <a:pt x="338339" y="1450660"/>
                    </a:cubicBezTo>
                    <a:cubicBezTo>
                      <a:pt x="338339" y="1452279"/>
                      <a:pt x="337786" y="1456596"/>
                      <a:pt x="336680" y="1457136"/>
                    </a:cubicBezTo>
                    <a:cubicBezTo>
                      <a:pt x="335021" y="1457676"/>
                      <a:pt x="330043" y="1454977"/>
                      <a:pt x="324512" y="1456057"/>
                    </a:cubicBezTo>
                    <a:cubicBezTo>
                      <a:pt x="323959" y="1457136"/>
                      <a:pt x="323406" y="1459835"/>
                      <a:pt x="323959" y="1460914"/>
                    </a:cubicBezTo>
                    <a:cubicBezTo>
                      <a:pt x="326171" y="1465232"/>
                      <a:pt x="331702" y="1468470"/>
                      <a:pt x="334468" y="1472788"/>
                    </a:cubicBezTo>
                    <a:cubicBezTo>
                      <a:pt x="335574" y="1475487"/>
                      <a:pt x="337233" y="1484122"/>
                      <a:pt x="337233" y="1486821"/>
                    </a:cubicBezTo>
                    <a:cubicBezTo>
                      <a:pt x="337233" y="1487900"/>
                      <a:pt x="336127" y="1491139"/>
                      <a:pt x="335574" y="1492218"/>
                    </a:cubicBezTo>
                    <a:cubicBezTo>
                      <a:pt x="333361" y="1494377"/>
                      <a:pt x="331149" y="1492758"/>
                      <a:pt x="328384" y="1497076"/>
                    </a:cubicBezTo>
                    <a:cubicBezTo>
                      <a:pt x="326171" y="1500854"/>
                      <a:pt x="325618" y="1509489"/>
                      <a:pt x="322853" y="1514347"/>
                    </a:cubicBezTo>
                    <a:cubicBezTo>
                      <a:pt x="320087" y="1520284"/>
                      <a:pt x="314556" y="1519744"/>
                      <a:pt x="310131" y="1522443"/>
                    </a:cubicBezTo>
                    <a:cubicBezTo>
                      <a:pt x="308472" y="1523522"/>
                      <a:pt x="305707" y="1526760"/>
                      <a:pt x="304601" y="1527300"/>
                    </a:cubicBezTo>
                    <a:cubicBezTo>
                      <a:pt x="300176" y="1528919"/>
                      <a:pt x="299623" y="1522982"/>
                      <a:pt x="297410" y="1521363"/>
                    </a:cubicBezTo>
                    <a:cubicBezTo>
                      <a:pt x="296857" y="1520824"/>
                      <a:pt x="294092" y="1520824"/>
                      <a:pt x="293539" y="1521363"/>
                    </a:cubicBezTo>
                    <a:cubicBezTo>
                      <a:pt x="290220" y="1523522"/>
                      <a:pt x="291326" y="1528380"/>
                      <a:pt x="289114" y="1529999"/>
                    </a:cubicBezTo>
                    <a:cubicBezTo>
                      <a:pt x="285242" y="1533237"/>
                      <a:pt x="266437" y="1538634"/>
                      <a:pt x="264778" y="1540793"/>
                    </a:cubicBezTo>
                    <a:cubicBezTo>
                      <a:pt x="264778" y="1540793"/>
                      <a:pt x="264225" y="1542952"/>
                      <a:pt x="264225" y="1543492"/>
                    </a:cubicBezTo>
                    <a:cubicBezTo>
                      <a:pt x="265331" y="1544032"/>
                      <a:pt x="269756" y="1543492"/>
                      <a:pt x="270309" y="1544571"/>
                    </a:cubicBezTo>
                    <a:cubicBezTo>
                      <a:pt x="270309" y="1546191"/>
                      <a:pt x="266437" y="1553747"/>
                      <a:pt x="265331" y="1555906"/>
                    </a:cubicBezTo>
                    <a:cubicBezTo>
                      <a:pt x="262566" y="1560223"/>
                      <a:pt x="257035" y="1559684"/>
                      <a:pt x="253716" y="1562922"/>
                    </a:cubicBezTo>
                    <a:cubicBezTo>
                      <a:pt x="251504" y="1565081"/>
                      <a:pt x="250951" y="1569938"/>
                      <a:pt x="249291" y="1572097"/>
                    </a:cubicBezTo>
                    <a:cubicBezTo>
                      <a:pt x="246526" y="1574796"/>
                      <a:pt x="242101" y="1576415"/>
                      <a:pt x="239336" y="1579114"/>
                    </a:cubicBezTo>
                    <a:cubicBezTo>
                      <a:pt x="229933" y="1590988"/>
                      <a:pt x="224402" y="1606640"/>
                      <a:pt x="212234" y="1616894"/>
                    </a:cubicBezTo>
                    <a:cubicBezTo>
                      <a:pt x="208916" y="1620133"/>
                      <a:pt x="203385" y="1621212"/>
                      <a:pt x="199513" y="1623911"/>
                    </a:cubicBezTo>
                    <a:cubicBezTo>
                      <a:pt x="197854" y="1624990"/>
                      <a:pt x="196195" y="1628768"/>
                      <a:pt x="194535" y="1629848"/>
                    </a:cubicBezTo>
                    <a:cubicBezTo>
                      <a:pt x="188451" y="1632546"/>
                      <a:pt x="180155" y="1632007"/>
                      <a:pt x="174071" y="1634705"/>
                    </a:cubicBezTo>
                    <a:cubicBezTo>
                      <a:pt x="170199" y="1636324"/>
                      <a:pt x="166881" y="1639563"/>
                      <a:pt x="163009" y="1641722"/>
                    </a:cubicBezTo>
                    <a:cubicBezTo>
                      <a:pt x="158031" y="1643880"/>
                      <a:pt x="131483" y="1641182"/>
                      <a:pt x="125399" y="1639563"/>
                    </a:cubicBezTo>
                    <a:cubicBezTo>
                      <a:pt x="117102" y="1637404"/>
                      <a:pt x="112125" y="1626609"/>
                      <a:pt x="109912" y="1625530"/>
                    </a:cubicBezTo>
                    <a:cubicBezTo>
                      <a:pt x="108253" y="1624450"/>
                      <a:pt x="105487" y="1625530"/>
                      <a:pt x="104381" y="1626609"/>
                    </a:cubicBezTo>
                    <a:cubicBezTo>
                      <a:pt x="103828" y="1630387"/>
                      <a:pt x="104381" y="1634165"/>
                      <a:pt x="103828" y="1637404"/>
                    </a:cubicBezTo>
                    <a:lnTo>
                      <a:pt x="101616" y="1638483"/>
                    </a:lnTo>
                    <a:cubicBezTo>
                      <a:pt x="96085" y="1637404"/>
                      <a:pt x="91660" y="1634165"/>
                      <a:pt x="91107" y="1628768"/>
                    </a:cubicBezTo>
                    <a:cubicBezTo>
                      <a:pt x="92213" y="1625530"/>
                      <a:pt x="94979" y="1622831"/>
                      <a:pt x="96085" y="1620133"/>
                    </a:cubicBezTo>
                    <a:lnTo>
                      <a:pt x="95532" y="1617434"/>
                    </a:lnTo>
                    <a:cubicBezTo>
                      <a:pt x="83364" y="1609878"/>
                      <a:pt x="69536" y="1605020"/>
                      <a:pt x="57922" y="1596925"/>
                    </a:cubicBezTo>
                    <a:cubicBezTo>
                      <a:pt x="55709" y="1595845"/>
                      <a:pt x="54603" y="1590988"/>
                      <a:pt x="52944" y="1588829"/>
                    </a:cubicBezTo>
                    <a:cubicBezTo>
                      <a:pt x="47966" y="1583971"/>
                      <a:pt x="40776" y="1580733"/>
                      <a:pt x="36351" y="1574796"/>
                    </a:cubicBezTo>
                    <a:cubicBezTo>
                      <a:pt x="34139" y="1572097"/>
                      <a:pt x="29714" y="1563462"/>
                      <a:pt x="28608" y="1560763"/>
                    </a:cubicBezTo>
                    <a:cubicBezTo>
                      <a:pt x="27501" y="1556985"/>
                      <a:pt x="30267" y="1529999"/>
                      <a:pt x="30820" y="1526221"/>
                    </a:cubicBezTo>
                    <a:lnTo>
                      <a:pt x="33585" y="1525681"/>
                    </a:lnTo>
                    <a:cubicBezTo>
                      <a:pt x="39116" y="1528380"/>
                      <a:pt x="38010" y="1533237"/>
                      <a:pt x="40776" y="1537555"/>
                    </a:cubicBezTo>
                    <a:lnTo>
                      <a:pt x="43541" y="1538095"/>
                    </a:lnTo>
                    <a:cubicBezTo>
                      <a:pt x="46860" y="1531078"/>
                      <a:pt x="57368" y="1539174"/>
                      <a:pt x="57922" y="1538634"/>
                    </a:cubicBezTo>
                    <a:cubicBezTo>
                      <a:pt x="61793" y="1536476"/>
                      <a:pt x="54603" y="1520824"/>
                      <a:pt x="55709" y="1517585"/>
                    </a:cubicBezTo>
                    <a:cubicBezTo>
                      <a:pt x="55709" y="1515966"/>
                      <a:pt x="60687" y="1514887"/>
                      <a:pt x="61793" y="1513267"/>
                    </a:cubicBezTo>
                    <a:cubicBezTo>
                      <a:pt x="64559" y="1510569"/>
                      <a:pt x="70643" y="1498155"/>
                      <a:pt x="70643" y="1494917"/>
                    </a:cubicBezTo>
                    <a:cubicBezTo>
                      <a:pt x="69536" y="1492758"/>
                      <a:pt x="64559" y="1488980"/>
                      <a:pt x="64006" y="1486821"/>
                    </a:cubicBezTo>
                    <a:cubicBezTo>
                      <a:pt x="64006" y="1486281"/>
                      <a:pt x="64559" y="1482503"/>
                      <a:pt x="65112" y="1481963"/>
                    </a:cubicBezTo>
                    <a:cubicBezTo>
                      <a:pt x="67877" y="1479265"/>
                      <a:pt x="73961" y="1469550"/>
                      <a:pt x="66771" y="1473868"/>
                    </a:cubicBezTo>
                    <a:cubicBezTo>
                      <a:pt x="64559" y="1475487"/>
                      <a:pt x="62346" y="1478185"/>
                      <a:pt x="60134" y="1479805"/>
                    </a:cubicBezTo>
                    <a:lnTo>
                      <a:pt x="57368" y="1479265"/>
                    </a:lnTo>
                    <a:lnTo>
                      <a:pt x="56815" y="1478185"/>
                    </a:lnTo>
                    <a:cubicBezTo>
                      <a:pt x="56815" y="1473328"/>
                      <a:pt x="61240" y="1469550"/>
                      <a:pt x="55709" y="1466851"/>
                    </a:cubicBezTo>
                    <a:cubicBezTo>
                      <a:pt x="53497" y="1465772"/>
                      <a:pt x="51284" y="1465772"/>
                      <a:pt x="49072" y="1466851"/>
                    </a:cubicBezTo>
                    <a:cubicBezTo>
                      <a:pt x="45753" y="1473328"/>
                      <a:pt x="51284" y="1484122"/>
                      <a:pt x="42435" y="1488980"/>
                    </a:cubicBezTo>
                    <a:cubicBezTo>
                      <a:pt x="37457" y="1487900"/>
                      <a:pt x="38563" y="1484662"/>
                      <a:pt x="36904" y="1482503"/>
                    </a:cubicBezTo>
                    <a:lnTo>
                      <a:pt x="34692" y="1482503"/>
                    </a:lnTo>
                    <a:cubicBezTo>
                      <a:pt x="33032" y="1484122"/>
                      <a:pt x="33585" y="1487361"/>
                      <a:pt x="30267" y="1488440"/>
                    </a:cubicBezTo>
                    <a:lnTo>
                      <a:pt x="28055" y="1487361"/>
                    </a:lnTo>
                    <a:cubicBezTo>
                      <a:pt x="28055" y="1487361"/>
                      <a:pt x="27501" y="1484662"/>
                      <a:pt x="26948" y="1484122"/>
                    </a:cubicBezTo>
                    <a:cubicBezTo>
                      <a:pt x="26948" y="1483043"/>
                      <a:pt x="25289" y="1480344"/>
                      <a:pt x="24736" y="1480344"/>
                    </a:cubicBezTo>
                    <a:cubicBezTo>
                      <a:pt x="22524" y="1478725"/>
                      <a:pt x="18652" y="1480344"/>
                      <a:pt x="18099" y="1482503"/>
                    </a:cubicBezTo>
                    <a:cubicBezTo>
                      <a:pt x="15887" y="1489520"/>
                      <a:pt x="15887" y="1498155"/>
                      <a:pt x="14227" y="1505711"/>
                    </a:cubicBezTo>
                    <a:lnTo>
                      <a:pt x="13121" y="1506791"/>
                    </a:lnTo>
                    <a:cubicBezTo>
                      <a:pt x="400" y="1508410"/>
                      <a:pt x="10356" y="1481424"/>
                      <a:pt x="11462" y="1475487"/>
                    </a:cubicBezTo>
                    <a:cubicBezTo>
                      <a:pt x="12015" y="1472248"/>
                      <a:pt x="9802" y="1463073"/>
                      <a:pt x="12015" y="1459835"/>
                    </a:cubicBezTo>
                    <a:cubicBezTo>
                      <a:pt x="12568" y="1458216"/>
                      <a:pt x="24183" y="1446881"/>
                      <a:pt x="25842" y="1446342"/>
                    </a:cubicBezTo>
                    <a:lnTo>
                      <a:pt x="28055" y="1446881"/>
                    </a:lnTo>
                    <a:lnTo>
                      <a:pt x="29161" y="1449580"/>
                    </a:lnTo>
                    <a:cubicBezTo>
                      <a:pt x="29161" y="1450120"/>
                      <a:pt x="23077" y="1457676"/>
                      <a:pt x="24183" y="1463073"/>
                    </a:cubicBezTo>
                    <a:cubicBezTo>
                      <a:pt x="29714" y="1467391"/>
                      <a:pt x="33032" y="1459295"/>
                      <a:pt x="33032" y="1454977"/>
                    </a:cubicBezTo>
                    <a:cubicBezTo>
                      <a:pt x="33032" y="1453898"/>
                      <a:pt x="36351" y="1447421"/>
                      <a:pt x="37457" y="1446881"/>
                    </a:cubicBezTo>
                    <a:cubicBezTo>
                      <a:pt x="42435" y="1443103"/>
                      <a:pt x="44094" y="1453358"/>
                      <a:pt x="47966" y="1451199"/>
                    </a:cubicBezTo>
                    <a:cubicBezTo>
                      <a:pt x="51837" y="1449040"/>
                      <a:pt x="51837" y="1444183"/>
                      <a:pt x="55156" y="1440944"/>
                    </a:cubicBezTo>
                    <a:cubicBezTo>
                      <a:pt x="58475" y="1437706"/>
                      <a:pt x="65665" y="1436627"/>
                      <a:pt x="68983" y="1432849"/>
                    </a:cubicBezTo>
                    <a:cubicBezTo>
                      <a:pt x="66218" y="1432309"/>
                      <a:pt x="64006" y="1433388"/>
                      <a:pt x="62346" y="1433388"/>
                    </a:cubicBezTo>
                    <a:cubicBezTo>
                      <a:pt x="59581" y="1433388"/>
                      <a:pt x="55709" y="1430690"/>
                      <a:pt x="52944" y="1431229"/>
                    </a:cubicBezTo>
                    <a:cubicBezTo>
                      <a:pt x="50731" y="1431229"/>
                      <a:pt x="47413" y="1435008"/>
                      <a:pt x="45753" y="1436087"/>
                    </a:cubicBezTo>
                    <a:lnTo>
                      <a:pt x="43541" y="1435547"/>
                    </a:lnTo>
                    <a:cubicBezTo>
                      <a:pt x="32479" y="1423673"/>
                      <a:pt x="55156" y="1417197"/>
                      <a:pt x="60687" y="1411799"/>
                    </a:cubicBezTo>
                    <a:cubicBezTo>
                      <a:pt x="64006" y="1408021"/>
                      <a:pt x="65112" y="1402624"/>
                      <a:pt x="67877" y="1398846"/>
                    </a:cubicBezTo>
                    <a:cubicBezTo>
                      <a:pt x="68430" y="1397767"/>
                      <a:pt x="70643" y="1397227"/>
                      <a:pt x="70643" y="1396147"/>
                    </a:cubicBezTo>
                    <a:cubicBezTo>
                      <a:pt x="71196" y="1394528"/>
                      <a:pt x="68983" y="1385353"/>
                      <a:pt x="68430" y="1383734"/>
                    </a:cubicBezTo>
                    <a:cubicBezTo>
                      <a:pt x="65665" y="1374559"/>
                      <a:pt x="55709" y="1381035"/>
                      <a:pt x="53497" y="1386972"/>
                    </a:cubicBezTo>
                    <a:cubicBezTo>
                      <a:pt x="52391" y="1389131"/>
                      <a:pt x="52944" y="1402624"/>
                      <a:pt x="49625" y="1403164"/>
                    </a:cubicBezTo>
                    <a:cubicBezTo>
                      <a:pt x="46860" y="1403164"/>
                      <a:pt x="45753" y="1395608"/>
                      <a:pt x="45200" y="1393989"/>
                    </a:cubicBezTo>
                    <a:cubicBezTo>
                      <a:pt x="45200" y="1392909"/>
                      <a:pt x="44094" y="1389131"/>
                      <a:pt x="43541" y="1388591"/>
                    </a:cubicBezTo>
                    <a:cubicBezTo>
                      <a:pt x="41882" y="1387512"/>
                      <a:pt x="37457" y="1388052"/>
                      <a:pt x="36904" y="1386432"/>
                    </a:cubicBezTo>
                    <a:cubicBezTo>
                      <a:pt x="35798" y="1382654"/>
                      <a:pt x="43541" y="1369701"/>
                      <a:pt x="43541" y="1365383"/>
                    </a:cubicBezTo>
                    <a:lnTo>
                      <a:pt x="41329" y="1363764"/>
                    </a:lnTo>
                    <a:cubicBezTo>
                      <a:pt x="38010" y="1367542"/>
                      <a:pt x="27501" y="1385893"/>
                      <a:pt x="25289" y="1386432"/>
                    </a:cubicBezTo>
                    <a:cubicBezTo>
                      <a:pt x="23630" y="1386432"/>
                      <a:pt x="19758" y="1385893"/>
                      <a:pt x="18652" y="1385353"/>
                    </a:cubicBezTo>
                    <a:cubicBezTo>
                      <a:pt x="12568" y="1382654"/>
                      <a:pt x="12568" y="1361605"/>
                      <a:pt x="14780" y="1356748"/>
                    </a:cubicBezTo>
                    <a:cubicBezTo>
                      <a:pt x="15333" y="1354589"/>
                      <a:pt x="18652" y="1351350"/>
                      <a:pt x="20311" y="1350271"/>
                    </a:cubicBezTo>
                    <a:lnTo>
                      <a:pt x="23077" y="1350271"/>
                    </a:lnTo>
                    <a:cubicBezTo>
                      <a:pt x="24183" y="1351890"/>
                      <a:pt x="25289" y="1355128"/>
                      <a:pt x="26395" y="1356208"/>
                    </a:cubicBezTo>
                    <a:cubicBezTo>
                      <a:pt x="29161" y="1357827"/>
                      <a:pt x="36351" y="1358907"/>
                      <a:pt x="38563" y="1356748"/>
                    </a:cubicBezTo>
                    <a:cubicBezTo>
                      <a:pt x="40223" y="1355128"/>
                      <a:pt x="45753" y="1345953"/>
                      <a:pt x="46860" y="1343794"/>
                    </a:cubicBezTo>
                    <a:cubicBezTo>
                      <a:pt x="49072" y="1337857"/>
                      <a:pt x="49072" y="1333000"/>
                      <a:pt x="47966" y="1327063"/>
                    </a:cubicBezTo>
                    <a:cubicBezTo>
                      <a:pt x="47966" y="1325983"/>
                      <a:pt x="47413" y="1324364"/>
                      <a:pt x="46860" y="1323825"/>
                    </a:cubicBezTo>
                    <a:cubicBezTo>
                      <a:pt x="40223" y="1317888"/>
                      <a:pt x="33585" y="1335159"/>
                      <a:pt x="21971" y="1337318"/>
                    </a:cubicBezTo>
                    <a:cubicBezTo>
                      <a:pt x="20311" y="1337857"/>
                      <a:pt x="16440" y="1337318"/>
                      <a:pt x="14780" y="1336778"/>
                    </a:cubicBezTo>
                    <a:cubicBezTo>
                      <a:pt x="13121" y="1336778"/>
                      <a:pt x="11462" y="1336238"/>
                      <a:pt x="10356" y="1335698"/>
                    </a:cubicBezTo>
                    <a:cubicBezTo>
                      <a:pt x="8143" y="1334079"/>
                      <a:pt x="8696" y="1330301"/>
                      <a:pt x="7590" y="1327603"/>
                    </a:cubicBezTo>
                    <a:cubicBezTo>
                      <a:pt x="5931" y="1324364"/>
                      <a:pt x="1506" y="1321126"/>
                      <a:pt x="400" y="1317348"/>
                    </a:cubicBezTo>
                    <a:lnTo>
                      <a:pt x="1506" y="1315729"/>
                    </a:lnTo>
                    <a:cubicBezTo>
                      <a:pt x="5931" y="1315729"/>
                      <a:pt x="4272" y="1316808"/>
                      <a:pt x="7037" y="1318427"/>
                    </a:cubicBezTo>
                    <a:cubicBezTo>
                      <a:pt x="9249" y="1319507"/>
                      <a:pt x="12015" y="1318967"/>
                      <a:pt x="14227" y="1320046"/>
                    </a:cubicBezTo>
                    <a:cubicBezTo>
                      <a:pt x="17546" y="1322205"/>
                      <a:pt x="16993" y="1326523"/>
                      <a:pt x="20864" y="1326523"/>
                    </a:cubicBezTo>
                    <a:cubicBezTo>
                      <a:pt x="25289" y="1323825"/>
                      <a:pt x="21417" y="1320586"/>
                      <a:pt x="19205" y="1317888"/>
                    </a:cubicBezTo>
                    <a:cubicBezTo>
                      <a:pt x="19205" y="1315729"/>
                      <a:pt x="20864" y="1313570"/>
                      <a:pt x="20864" y="1311411"/>
                    </a:cubicBezTo>
                    <a:cubicBezTo>
                      <a:pt x="19205" y="1310331"/>
                      <a:pt x="18099" y="1310871"/>
                      <a:pt x="16993" y="1310871"/>
                    </a:cubicBezTo>
                    <a:cubicBezTo>
                      <a:pt x="14227" y="1310331"/>
                      <a:pt x="8696" y="1308712"/>
                      <a:pt x="6484" y="1306553"/>
                    </a:cubicBezTo>
                    <a:cubicBezTo>
                      <a:pt x="5931" y="1304394"/>
                      <a:pt x="5378" y="1297918"/>
                      <a:pt x="5931" y="1296299"/>
                    </a:cubicBezTo>
                    <a:cubicBezTo>
                      <a:pt x="7037" y="1293060"/>
                      <a:pt x="16993" y="1290362"/>
                      <a:pt x="4272" y="1284964"/>
                    </a:cubicBezTo>
                    <a:cubicBezTo>
                      <a:pt x="5378" y="1282806"/>
                      <a:pt x="7037" y="1281726"/>
                      <a:pt x="8696" y="1281726"/>
                    </a:cubicBezTo>
                    <a:cubicBezTo>
                      <a:pt x="14780" y="1281726"/>
                      <a:pt x="28055" y="1290362"/>
                      <a:pt x="35245" y="1289822"/>
                    </a:cubicBezTo>
                    <a:cubicBezTo>
                      <a:pt x="38563" y="1289822"/>
                      <a:pt x="44647" y="1286044"/>
                      <a:pt x="48519" y="1284964"/>
                    </a:cubicBezTo>
                    <a:cubicBezTo>
                      <a:pt x="54603" y="1283345"/>
                      <a:pt x="62346" y="1282266"/>
                      <a:pt x="68983" y="1281726"/>
                    </a:cubicBezTo>
                    <a:cubicBezTo>
                      <a:pt x="73408" y="1281726"/>
                      <a:pt x="83364" y="1285504"/>
                      <a:pt x="86129" y="1283885"/>
                    </a:cubicBezTo>
                    <a:cubicBezTo>
                      <a:pt x="91660" y="1281726"/>
                      <a:pt x="96085" y="1276329"/>
                      <a:pt x="101616" y="1274710"/>
                    </a:cubicBezTo>
                    <a:cubicBezTo>
                      <a:pt x="103275" y="1274170"/>
                      <a:pt x="106594" y="1276329"/>
                      <a:pt x="107700" y="1276869"/>
                    </a:cubicBezTo>
                    <a:cubicBezTo>
                      <a:pt x="109359" y="1277948"/>
                      <a:pt x="113784" y="1281186"/>
                      <a:pt x="114890" y="1282806"/>
                    </a:cubicBezTo>
                    <a:cubicBezTo>
                      <a:pt x="117102" y="1286584"/>
                      <a:pt x="115996" y="1291441"/>
                      <a:pt x="117655" y="1295219"/>
                    </a:cubicBezTo>
                    <a:cubicBezTo>
                      <a:pt x="118209" y="1295759"/>
                      <a:pt x="119315" y="1296299"/>
                      <a:pt x="119868" y="1296838"/>
                    </a:cubicBezTo>
                    <a:cubicBezTo>
                      <a:pt x="123186" y="1300616"/>
                      <a:pt x="123739" y="1303315"/>
                      <a:pt x="129270" y="1304394"/>
                    </a:cubicBezTo>
                    <a:cubicBezTo>
                      <a:pt x="130377" y="1302775"/>
                      <a:pt x="130377" y="1300616"/>
                      <a:pt x="130377" y="1299537"/>
                    </a:cubicBezTo>
                    <a:cubicBezTo>
                      <a:pt x="129823" y="1298997"/>
                      <a:pt x="128717" y="1298458"/>
                      <a:pt x="128164" y="1297918"/>
                    </a:cubicBezTo>
                    <a:cubicBezTo>
                      <a:pt x="125952" y="1295219"/>
                      <a:pt x="122080" y="1286044"/>
                      <a:pt x="125952" y="1283885"/>
                    </a:cubicBezTo>
                    <a:cubicBezTo>
                      <a:pt x="127611" y="1283345"/>
                      <a:pt x="143098" y="1286044"/>
                      <a:pt x="148629" y="1273630"/>
                    </a:cubicBezTo>
                    <a:cubicBezTo>
                      <a:pt x="148629" y="1272551"/>
                      <a:pt x="149182" y="1271471"/>
                      <a:pt x="148629" y="1270392"/>
                    </a:cubicBezTo>
                    <a:cubicBezTo>
                      <a:pt x="144204" y="1268233"/>
                      <a:pt x="137567" y="1272011"/>
                      <a:pt x="132036" y="1272551"/>
                    </a:cubicBezTo>
                    <a:cubicBezTo>
                      <a:pt x="125952" y="1272551"/>
                      <a:pt x="125952" y="1268773"/>
                      <a:pt x="122633" y="1267693"/>
                    </a:cubicBezTo>
                    <a:cubicBezTo>
                      <a:pt x="118209" y="1266074"/>
                      <a:pt x="102169" y="1262296"/>
                      <a:pt x="97744" y="1262296"/>
                    </a:cubicBezTo>
                    <a:cubicBezTo>
                      <a:pt x="96085" y="1262296"/>
                      <a:pt x="91107" y="1264455"/>
                      <a:pt x="90001" y="1265534"/>
                    </a:cubicBezTo>
                    <a:cubicBezTo>
                      <a:pt x="88342" y="1267693"/>
                      <a:pt x="90001" y="1273630"/>
                      <a:pt x="85023" y="1273630"/>
                    </a:cubicBezTo>
                    <a:cubicBezTo>
                      <a:pt x="78386" y="1273091"/>
                      <a:pt x="71749" y="1269852"/>
                      <a:pt x="65112" y="1269312"/>
                    </a:cubicBezTo>
                    <a:cubicBezTo>
                      <a:pt x="63452" y="1269312"/>
                      <a:pt x="60687" y="1271471"/>
                      <a:pt x="59028" y="1272011"/>
                    </a:cubicBezTo>
                    <a:cubicBezTo>
                      <a:pt x="56262" y="1272551"/>
                      <a:pt x="52944" y="1272011"/>
                      <a:pt x="49625" y="1272551"/>
                    </a:cubicBezTo>
                    <a:cubicBezTo>
                      <a:pt x="39116" y="1275249"/>
                      <a:pt x="29161" y="1283345"/>
                      <a:pt x="18652" y="1275789"/>
                    </a:cubicBezTo>
                    <a:cubicBezTo>
                      <a:pt x="17546" y="1275249"/>
                      <a:pt x="16993" y="1272551"/>
                      <a:pt x="16440" y="1271471"/>
                    </a:cubicBezTo>
                    <a:cubicBezTo>
                      <a:pt x="14227" y="1268233"/>
                      <a:pt x="11462" y="1266074"/>
                      <a:pt x="9249" y="1262836"/>
                    </a:cubicBezTo>
                    <a:cubicBezTo>
                      <a:pt x="9249" y="1258518"/>
                      <a:pt x="12015" y="1256899"/>
                      <a:pt x="12015" y="1254740"/>
                    </a:cubicBezTo>
                    <a:cubicBezTo>
                      <a:pt x="12015" y="1253661"/>
                      <a:pt x="7037" y="1249882"/>
                      <a:pt x="8143" y="1245565"/>
                    </a:cubicBezTo>
                    <a:cubicBezTo>
                      <a:pt x="9802" y="1240167"/>
                      <a:pt x="22524" y="1243406"/>
                      <a:pt x="26395" y="1238548"/>
                    </a:cubicBezTo>
                    <a:cubicBezTo>
                      <a:pt x="26948" y="1238009"/>
                      <a:pt x="28055" y="1235850"/>
                      <a:pt x="27501" y="1235310"/>
                    </a:cubicBezTo>
                    <a:cubicBezTo>
                      <a:pt x="26395" y="1234230"/>
                      <a:pt x="19758" y="1233151"/>
                      <a:pt x="18099" y="1232072"/>
                    </a:cubicBezTo>
                    <a:cubicBezTo>
                      <a:pt x="18099" y="1228833"/>
                      <a:pt x="21971" y="1227754"/>
                      <a:pt x="21417" y="1224515"/>
                    </a:cubicBezTo>
                    <a:cubicBezTo>
                      <a:pt x="21417" y="1222896"/>
                      <a:pt x="19758" y="1218039"/>
                      <a:pt x="18652" y="1216959"/>
                    </a:cubicBezTo>
                    <a:cubicBezTo>
                      <a:pt x="15333" y="1214800"/>
                      <a:pt x="10909" y="1218039"/>
                      <a:pt x="7590" y="1213721"/>
                    </a:cubicBezTo>
                    <a:cubicBezTo>
                      <a:pt x="7037" y="1213181"/>
                      <a:pt x="6484" y="1209943"/>
                      <a:pt x="7037" y="1209403"/>
                    </a:cubicBezTo>
                    <a:cubicBezTo>
                      <a:pt x="8143" y="1208324"/>
                      <a:pt x="14780" y="1206165"/>
                      <a:pt x="16440" y="1204546"/>
                    </a:cubicBezTo>
                    <a:cubicBezTo>
                      <a:pt x="19205" y="1201307"/>
                      <a:pt x="19758" y="1193751"/>
                      <a:pt x="21971" y="1190513"/>
                    </a:cubicBezTo>
                    <a:cubicBezTo>
                      <a:pt x="23077" y="1188894"/>
                      <a:pt x="28608" y="1184576"/>
                      <a:pt x="30267" y="1184036"/>
                    </a:cubicBezTo>
                    <a:cubicBezTo>
                      <a:pt x="31926" y="1183496"/>
                      <a:pt x="34692" y="1184036"/>
                      <a:pt x="36351" y="1184036"/>
                    </a:cubicBezTo>
                    <a:cubicBezTo>
                      <a:pt x="47413" y="1186195"/>
                      <a:pt x="44647" y="1191592"/>
                      <a:pt x="49625" y="1193751"/>
                    </a:cubicBezTo>
                    <a:cubicBezTo>
                      <a:pt x="54050" y="1195910"/>
                      <a:pt x="68983" y="1196990"/>
                      <a:pt x="73408" y="1194831"/>
                    </a:cubicBezTo>
                    <a:lnTo>
                      <a:pt x="73961" y="1193211"/>
                    </a:lnTo>
                    <a:cubicBezTo>
                      <a:pt x="71196" y="1188894"/>
                      <a:pt x="65112" y="1189433"/>
                      <a:pt x="61240" y="1186195"/>
                    </a:cubicBezTo>
                    <a:cubicBezTo>
                      <a:pt x="58475" y="1184576"/>
                      <a:pt x="56262" y="1179718"/>
                      <a:pt x="54050" y="1178099"/>
                    </a:cubicBezTo>
                    <a:cubicBezTo>
                      <a:pt x="51837" y="1177020"/>
                      <a:pt x="44647" y="1175940"/>
                      <a:pt x="41882" y="1175940"/>
                    </a:cubicBezTo>
                    <a:cubicBezTo>
                      <a:pt x="36351" y="1175401"/>
                      <a:pt x="23077" y="1180798"/>
                      <a:pt x="20311" y="1178639"/>
                    </a:cubicBezTo>
                    <a:cubicBezTo>
                      <a:pt x="20311" y="1174321"/>
                      <a:pt x="25842" y="1170543"/>
                      <a:pt x="25289" y="1168384"/>
                    </a:cubicBezTo>
                    <a:cubicBezTo>
                      <a:pt x="24736" y="1166765"/>
                      <a:pt x="18652" y="1164066"/>
                      <a:pt x="17546" y="1162447"/>
                    </a:cubicBezTo>
                    <a:cubicBezTo>
                      <a:pt x="16440" y="1161368"/>
                      <a:pt x="17546" y="1158129"/>
                      <a:pt x="16993" y="1157050"/>
                    </a:cubicBezTo>
                    <a:cubicBezTo>
                      <a:pt x="16440" y="1155971"/>
                      <a:pt x="15887" y="1154891"/>
                      <a:pt x="16440" y="1153272"/>
                    </a:cubicBezTo>
                    <a:cubicBezTo>
                      <a:pt x="24183" y="1148414"/>
                      <a:pt x="29161" y="1166765"/>
                      <a:pt x="35245" y="1168384"/>
                    </a:cubicBezTo>
                    <a:cubicBezTo>
                      <a:pt x="47413" y="1162987"/>
                      <a:pt x="26948" y="1160288"/>
                      <a:pt x="33032" y="1152732"/>
                    </a:cubicBezTo>
                    <a:lnTo>
                      <a:pt x="34692" y="1152732"/>
                    </a:lnTo>
                    <a:cubicBezTo>
                      <a:pt x="35798" y="1153812"/>
                      <a:pt x="44647" y="1159749"/>
                      <a:pt x="46307" y="1160288"/>
                    </a:cubicBezTo>
                    <a:cubicBezTo>
                      <a:pt x="49625" y="1158129"/>
                      <a:pt x="47966" y="1154891"/>
                      <a:pt x="52944" y="1153272"/>
                    </a:cubicBezTo>
                    <a:cubicBezTo>
                      <a:pt x="60687" y="1151113"/>
                      <a:pt x="59581" y="1159209"/>
                      <a:pt x="66218" y="1162447"/>
                    </a:cubicBezTo>
                    <a:cubicBezTo>
                      <a:pt x="67877" y="1162987"/>
                      <a:pt x="72855" y="1164066"/>
                      <a:pt x="75067" y="1164066"/>
                    </a:cubicBezTo>
                    <a:lnTo>
                      <a:pt x="76174" y="1161368"/>
                    </a:lnTo>
                    <a:cubicBezTo>
                      <a:pt x="71749" y="1156510"/>
                      <a:pt x="65112" y="1153812"/>
                      <a:pt x="65112" y="1146795"/>
                    </a:cubicBezTo>
                    <a:cubicBezTo>
                      <a:pt x="65665" y="1140858"/>
                      <a:pt x="78386" y="1134382"/>
                      <a:pt x="82811" y="1136541"/>
                    </a:cubicBezTo>
                    <a:cubicBezTo>
                      <a:pt x="83917" y="1137080"/>
                      <a:pt x="85576" y="1139779"/>
                      <a:pt x="86129" y="1140858"/>
                    </a:cubicBezTo>
                    <a:cubicBezTo>
                      <a:pt x="86129" y="1144097"/>
                      <a:pt x="87788" y="1155971"/>
                      <a:pt x="92213" y="1155431"/>
                    </a:cubicBezTo>
                    <a:cubicBezTo>
                      <a:pt x="94426" y="1155431"/>
                      <a:pt x="95532" y="1150573"/>
                      <a:pt x="94979" y="1148954"/>
                    </a:cubicBezTo>
                    <a:cubicBezTo>
                      <a:pt x="94979" y="1147335"/>
                      <a:pt x="93319" y="1146256"/>
                      <a:pt x="92766" y="1144636"/>
                    </a:cubicBezTo>
                    <a:cubicBezTo>
                      <a:pt x="91107" y="1139779"/>
                      <a:pt x="90554" y="1135461"/>
                      <a:pt x="92766" y="1130604"/>
                    </a:cubicBezTo>
                    <a:cubicBezTo>
                      <a:pt x="93319" y="1129524"/>
                      <a:pt x="94426" y="1127905"/>
                      <a:pt x="95532" y="1127365"/>
                    </a:cubicBezTo>
                    <a:cubicBezTo>
                      <a:pt x="97191" y="1126826"/>
                      <a:pt x="105487" y="1124667"/>
                      <a:pt x="107147" y="1124667"/>
                    </a:cubicBezTo>
                    <a:cubicBezTo>
                      <a:pt x="113231" y="1124667"/>
                      <a:pt x="114337" y="1132223"/>
                      <a:pt x="120974" y="1132762"/>
                    </a:cubicBezTo>
                    <a:cubicBezTo>
                      <a:pt x="122080" y="1128984"/>
                      <a:pt x="119868" y="1124667"/>
                      <a:pt x="117102" y="1122508"/>
                    </a:cubicBezTo>
                    <a:cubicBezTo>
                      <a:pt x="115996" y="1121428"/>
                      <a:pt x="113784" y="1120889"/>
                      <a:pt x="112678" y="1119809"/>
                    </a:cubicBezTo>
                    <a:cubicBezTo>
                      <a:pt x="111018" y="1119269"/>
                      <a:pt x="109912" y="1118190"/>
                      <a:pt x="108806" y="1118190"/>
                    </a:cubicBezTo>
                    <a:cubicBezTo>
                      <a:pt x="101063" y="1115491"/>
                      <a:pt x="93872" y="1125206"/>
                      <a:pt x="86682" y="1121428"/>
                    </a:cubicBezTo>
                    <a:cubicBezTo>
                      <a:pt x="85576" y="1120889"/>
                      <a:pt x="84470" y="1119269"/>
                      <a:pt x="84470" y="1118730"/>
                    </a:cubicBezTo>
                    <a:cubicBezTo>
                      <a:pt x="84470" y="1117650"/>
                      <a:pt x="85576" y="1114952"/>
                      <a:pt x="85576" y="1113872"/>
                    </a:cubicBezTo>
                    <a:cubicBezTo>
                      <a:pt x="85023" y="1112253"/>
                      <a:pt x="82811" y="1109015"/>
                      <a:pt x="83364" y="1107395"/>
                    </a:cubicBezTo>
                    <a:cubicBezTo>
                      <a:pt x="83364" y="1106856"/>
                      <a:pt x="85576" y="1104697"/>
                      <a:pt x="86682" y="1104157"/>
                    </a:cubicBezTo>
                    <a:cubicBezTo>
                      <a:pt x="90554" y="1102538"/>
                      <a:pt x="96638" y="1105776"/>
                      <a:pt x="101063" y="1105237"/>
                    </a:cubicBezTo>
                    <a:cubicBezTo>
                      <a:pt x="109359" y="1104697"/>
                      <a:pt x="112678" y="1099839"/>
                      <a:pt x="122633" y="1101459"/>
                    </a:cubicBezTo>
                    <a:cubicBezTo>
                      <a:pt x="124293" y="1101998"/>
                      <a:pt x="131483" y="1103617"/>
                      <a:pt x="132589" y="1104157"/>
                    </a:cubicBezTo>
                    <a:cubicBezTo>
                      <a:pt x="133142" y="1105237"/>
                      <a:pt x="133142" y="1106316"/>
                      <a:pt x="134248" y="1106856"/>
                    </a:cubicBezTo>
                    <a:cubicBezTo>
                      <a:pt x="135354" y="1107395"/>
                      <a:pt x="139779" y="1107935"/>
                      <a:pt x="141438" y="1108475"/>
                    </a:cubicBezTo>
                    <a:cubicBezTo>
                      <a:pt x="144204" y="1109554"/>
                      <a:pt x="146969" y="1111713"/>
                      <a:pt x="149735" y="1112253"/>
                    </a:cubicBezTo>
                    <a:cubicBezTo>
                      <a:pt x="150841" y="1112793"/>
                      <a:pt x="152500" y="1112793"/>
                      <a:pt x="153053" y="1112253"/>
                    </a:cubicBezTo>
                    <a:cubicBezTo>
                      <a:pt x="155819" y="1108475"/>
                      <a:pt x="150288" y="1103617"/>
                      <a:pt x="150841" y="1100379"/>
                    </a:cubicBezTo>
                    <a:cubicBezTo>
                      <a:pt x="155266" y="1096601"/>
                      <a:pt x="171305" y="1092283"/>
                      <a:pt x="172412" y="1088505"/>
                    </a:cubicBezTo>
                    <a:cubicBezTo>
                      <a:pt x="165774" y="1080949"/>
                      <a:pt x="151394" y="1097680"/>
                      <a:pt x="145310" y="1090664"/>
                    </a:cubicBezTo>
                    <a:lnTo>
                      <a:pt x="145863" y="1089045"/>
                    </a:lnTo>
                    <a:cubicBezTo>
                      <a:pt x="149182" y="1086346"/>
                      <a:pt x="151947" y="1086886"/>
                      <a:pt x="154160" y="1083108"/>
                    </a:cubicBezTo>
                    <a:lnTo>
                      <a:pt x="152500" y="1082028"/>
                    </a:lnTo>
                    <a:cubicBezTo>
                      <a:pt x="150841" y="1082568"/>
                      <a:pt x="149182" y="1082028"/>
                      <a:pt x="146969" y="1082568"/>
                    </a:cubicBezTo>
                    <a:cubicBezTo>
                      <a:pt x="146416" y="1082568"/>
                      <a:pt x="141991" y="1085267"/>
                      <a:pt x="140332" y="1085807"/>
                    </a:cubicBezTo>
                    <a:cubicBezTo>
                      <a:pt x="137014" y="1086886"/>
                      <a:pt x="125399" y="1089045"/>
                      <a:pt x="122080" y="1086886"/>
                    </a:cubicBezTo>
                    <a:cubicBezTo>
                      <a:pt x="122633" y="1083648"/>
                      <a:pt x="127058" y="1077171"/>
                      <a:pt x="125952" y="1074472"/>
                    </a:cubicBezTo>
                    <a:cubicBezTo>
                      <a:pt x="125399" y="1072313"/>
                      <a:pt x="122080" y="1071234"/>
                      <a:pt x="120974" y="1069615"/>
                    </a:cubicBezTo>
                    <a:lnTo>
                      <a:pt x="120974" y="1067456"/>
                    </a:lnTo>
                    <a:cubicBezTo>
                      <a:pt x="122080" y="1066377"/>
                      <a:pt x="122633" y="1065297"/>
                      <a:pt x="123739" y="1064218"/>
                    </a:cubicBezTo>
                    <a:cubicBezTo>
                      <a:pt x="124293" y="1063678"/>
                      <a:pt x="130377" y="1062598"/>
                      <a:pt x="130930" y="1062598"/>
                    </a:cubicBezTo>
                    <a:cubicBezTo>
                      <a:pt x="137014" y="1063138"/>
                      <a:pt x="142545" y="1066916"/>
                      <a:pt x="148076" y="1067456"/>
                    </a:cubicBezTo>
                    <a:cubicBezTo>
                      <a:pt x="150288" y="1067456"/>
                      <a:pt x="154160" y="1064757"/>
                      <a:pt x="156372" y="1064757"/>
                    </a:cubicBezTo>
                    <a:cubicBezTo>
                      <a:pt x="158584" y="1064218"/>
                      <a:pt x="161350" y="1065297"/>
                      <a:pt x="163562" y="1065297"/>
                    </a:cubicBezTo>
                    <a:cubicBezTo>
                      <a:pt x="167434" y="1064757"/>
                      <a:pt x="171858" y="1063138"/>
                      <a:pt x="175730" y="1063138"/>
                    </a:cubicBezTo>
                    <a:cubicBezTo>
                      <a:pt x="176836" y="1062598"/>
                      <a:pt x="179602" y="1063138"/>
                      <a:pt x="180155" y="1063678"/>
                    </a:cubicBezTo>
                    <a:cubicBezTo>
                      <a:pt x="182367" y="1066377"/>
                      <a:pt x="182920" y="1076631"/>
                      <a:pt x="187345" y="1080409"/>
                    </a:cubicBezTo>
                    <a:cubicBezTo>
                      <a:pt x="191217" y="1083648"/>
                      <a:pt x="196195" y="1084727"/>
                      <a:pt x="200066" y="1087965"/>
                    </a:cubicBezTo>
                    <a:cubicBezTo>
                      <a:pt x="202279" y="1089585"/>
                      <a:pt x="203938" y="1092283"/>
                      <a:pt x="206150" y="1093902"/>
                    </a:cubicBezTo>
                    <a:cubicBezTo>
                      <a:pt x="206703" y="1094442"/>
                      <a:pt x="208363" y="1095522"/>
                      <a:pt x="208916" y="1094982"/>
                    </a:cubicBezTo>
                    <a:cubicBezTo>
                      <a:pt x="212787" y="1093363"/>
                      <a:pt x="206150" y="1086346"/>
                      <a:pt x="205044" y="1085267"/>
                    </a:cubicBezTo>
                    <a:cubicBezTo>
                      <a:pt x="201172" y="1082028"/>
                      <a:pt x="195088" y="1076631"/>
                      <a:pt x="192876" y="1072313"/>
                    </a:cubicBezTo>
                    <a:cubicBezTo>
                      <a:pt x="190664" y="1068535"/>
                      <a:pt x="190111" y="1064757"/>
                      <a:pt x="187345" y="1060979"/>
                    </a:cubicBezTo>
                    <a:cubicBezTo>
                      <a:pt x="186792" y="1059360"/>
                      <a:pt x="185133" y="1057741"/>
                      <a:pt x="184026" y="1056661"/>
                    </a:cubicBezTo>
                    <a:cubicBezTo>
                      <a:pt x="183473" y="1055582"/>
                      <a:pt x="180155" y="1054503"/>
                      <a:pt x="179602" y="1053423"/>
                    </a:cubicBezTo>
                    <a:cubicBezTo>
                      <a:pt x="179602" y="1052344"/>
                      <a:pt x="180155" y="1049645"/>
                      <a:pt x="180708" y="1049105"/>
                    </a:cubicBezTo>
                    <a:cubicBezTo>
                      <a:pt x="186792" y="1042629"/>
                      <a:pt x="200066" y="1068535"/>
                      <a:pt x="201725" y="1071234"/>
                    </a:cubicBezTo>
                    <a:cubicBezTo>
                      <a:pt x="202832" y="1071774"/>
                      <a:pt x="206150" y="1072313"/>
                      <a:pt x="207256" y="1071774"/>
                    </a:cubicBezTo>
                    <a:cubicBezTo>
                      <a:pt x="208916" y="1070155"/>
                      <a:pt x="208916" y="1064218"/>
                      <a:pt x="210022" y="1062059"/>
                    </a:cubicBezTo>
                    <a:cubicBezTo>
                      <a:pt x="211128" y="1060979"/>
                      <a:pt x="212787" y="1059900"/>
                      <a:pt x="213340" y="1058820"/>
                    </a:cubicBezTo>
                    <a:cubicBezTo>
                      <a:pt x="213893" y="1058281"/>
                      <a:pt x="214447" y="1057201"/>
                      <a:pt x="214447" y="1056122"/>
                    </a:cubicBezTo>
                    <a:cubicBezTo>
                      <a:pt x="214447" y="1055582"/>
                      <a:pt x="213340" y="1054503"/>
                      <a:pt x="212787" y="1053963"/>
                    </a:cubicBezTo>
                    <a:cubicBezTo>
                      <a:pt x="210022" y="1053423"/>
                      <a:pt x="206703" y="1055042"/>
                      <a:pt x="204491" y="1054503"/>
                    </a:cubicBezTo>
                    <a:cubicBezTo>
                      <a:pt x="202279" y="1053963"/>
                      <a:pt x="192323" y="1049105"/>
                      <a:pt x="192323" y="1046407"/>
                    </a:cubicBezTo>
                    <a:lnTo>
                      <a:pt x="192323" y="1043708"/>
                    </a:lnTo>
                    <a:cubicBezTo>
                      <a:pt x="197854" y="1041009"/>
                      <a:pt x="210022" y="1046407"/>
                      <a:pt x="213340" y="1042629"/>
                    </a:cubicBezTo>
                    <a:cubicBezTo>
                      <a:pt x="221084" y="1032914"/>
                      <a:pt x="210575" y="1033993"/>
                      <a:pt x="209469" y="1028056"/>
                    </a:cubicBezTo>
                    <a:cubicBezTo>
                      <a:pt x="208363" y="1022659"/>
                      <a:pt x="216659" y="1019421"/>
                      <a:pt x="219977" y="1015642"/>
                    </a:cubicBezTo>
                    <a:cubicBezTo>
                      <a:pt x="221084" y="1014563"/>
                      <a:pt x="222190" y="1011325"/>
                      <a:pt x="223296" y="1010245"/>
                    </a:cubicBezTo>
                    <a:cubicBezTo>
                      <a:pt x="224955" y="1009166"/>
                      <a:pt x="234358" y="1006467"/>
                      <a:pt x="236017" y="1006467"/>
                    </a:cubicBezTo>
                    <a:cubicBezTo>
                      <a:pt x="239336" y="1007007"/>
                      <a:pt x="236570" y="1019960"/>
                      <a:pt x="237676" y="1022119"/>
                    </a:cubicBezTo>
                    <a:cubicBezTo>
                      <a:pt x="238230" y="1022659"/>
                      <a:pt x="241548" y="1023199"/>
                      <a:pt x="242101" y="1023199"/>
                    </a:cubicBezTo>
                    <a:cubicBezTo>
                      <a:pt x="244867" y="1022659"/>
                      <a:pt x="257588" y="1014023"/>
                      <a:pt x="255928" y="1011325"/>
                    </a:cubicBezTo>
                    <a:cubicBezTo>
                      <a:pt x="255375" y="1010785"/>
                      <a:pt x="249291" y="1010785"/>
                      <a:pt x="247079" y="1008626"/>
                    </a:cubicBezTo>
                    <a:cubicBezTo>
                      <a:pt x="247632" y="1005388"/>
                      <a:pt x="250951" y="1002689"/>
                      <a:pt x="250951" y="999991"/>
                    </a:cubicBezTo>
                    <a:cubicBezTo>
                      <a:pt x="250951" y="998371"/>
                      <a:pt x="248185" y="998371"/>
                      <a:pt x="248738" y="994593"/>
                    </a:cubicBezTo>
                    <a:cubicBezTo>
                      <a:pt x="249844" y="993514"/>
                      <a:pt x="251504" y="993514"/>
                      <a:pt x="253163" y="993514"/>
                    </a:cubicBezTo>
                    <a:cubicBezTo>
                      <a:pt x="258141" y="992434"/>
                      <a:pt x="265331" y="980021"/>
                      <a:pt x="272521" y="984878"/>
                    </a:cubicBezTo>
                    <a:lnTo>
                      <a:pt x="272521" y="987577"/>
                    </a:lnTo>
                    <a:lnTo>
                      <a:pt x="274180" y="989196"/>
                    </a:lnTo>
                    <a:cubicBezTo>
                      <a:pt x="275287" y="989736"/>
                      <a:pt x="279158" y="999451"/>
                      <a:pt x="279711" y="1000530"/>
                    </a:cubicBezTo>
                    <a:cubicBezTo>
                      <a:pt x="279711" y="1003229"/>
                      <a:pt x="277499" y="1008626"/>
                      <a:pt x="278605" y="1010785"/>
                    </a:cubicBezTo>
                    <a:cubicBezTo>
                      <a:pt x="280265" y="1015103"/>
                      <a:pt x="290220" y="1011325"/>
                      <a:pt x="292986" y="1009166"/>
                    </a:cubicBezTo>
                    <a:cubicBezTo>
                      <a:pt x="293539" y="1008626"/>
                      <a:pt x="294645" y="1003769"/>
                      <a:pt x="296304" y="1002149"/>
                    </a:cubicBezTo>
                    <a:cubicBezTo>
                      <a:pt x="304047" y="996212"/>
                      <a:pt x="321193" y="999991"/>
                      <a:pt x="330043" y="999991"/>
                    </a:cubicBezTo>
                    <a:lnTo>
                      <a:pt x="332255" y="998911"/>
                    </a:lnTo>
                    <a:cubicBezTo>
                      <a:pt x="333914" y="995133"/>
                      <a:pt x="333361" y="991355"/>
                      <a:pt x="328937" y="989736"/>
                    </a:cubicBezTo>
                    <a:cubicBezTo>
                      <a:pt x="327830" y="988117"/>
                      <a:pt x="328384" y="985958"/>
                      <a:pt x="329490" y="984339"/>
                    </a:cubicBezTo>
                    <a:cubicBezTo>
                      <a:pt x="336680" y="977322"/>
                      <a:pt x="363781" y="964369"/>
                      <a:pt x="363228" y="953035"/>
                    </a:cubicBezTo>
                    <a:cubicBezTo>
                      <a:pt x="360463" y="951415"/>
                      <a:pt x="353826" y="953035"/>
                      <a:pt x="351060" y="952495"/>
                    </a:cubicBezTo>
                    <a:lnTo>
                      <a:pt x="349401" y="950336"/>
                    </a:lnTo>
                    <a:cubicBezTo>
                      <a:pt x="352166" y="946018"/>
                      <a:pt x="357144" y="943320"/>
                      <a:pt x="359910" y="939002"/>
                    </a:cubicBezTo>
                    <a:cubicBezTo>
                      <a:pt x="368206" y="927128"/>
                      <a:pt x="354932" y="916333"/>
                      <a:pt x="347189" y="923890"/>
                    </a:cubicBezTo>
                    <a:cubicBezTo>
                      <a:pt x="342764" y="927668"/>
                      <a:pt x="341105" y="934144"/>
                      <a:pt x="337233" y="938462"/>
                    </a:cubicBezTo>
                    <a:cubicBezTo>
                      <a:pt x="333361" y="942780"/>
                      <a:pt x="326724" y="946018"/>
                      <a:pt x="321746" y="949257"/>
                    </a:cubicBezTo>
                    <a:cubicBezTo>
                      <a:pt x="319534" y="950876"/>
                      <a:pt x="315662" y="953035"/>
                      <a:pt x="315662" y="955733"/>
                    </a:cubicBezTo>
                    <a:cubicBezTo>
                      <a:pt x="321193" y="960051"/>
                      <a:pt x="328937" y="953574"/>
                      <a:pt x="333914" y="951415"/>
                    </a:cubicBezTo>
                    <a:lnTo>
                      <a:pt x="335021" y="951955"/>
                    </a:lnTo>
                    <a:cubicBezTo>
                      <a:pt x="337233" y="958432"/>
                      <a:pt x="333361" y="963829"/>
                      <a:pt x="328384" y="967607"/>
                    </a:cubicBezTo>
                    <a:cubicBezTo>
                      <a:pt x="326724" y="968687"/>
                      <a:pt x="324512" y="969226"/>
                      <a:pt x="322853" y="969766"/>
                    </a:cubicBezTo>
                    <a:cubicBezTo>
                      <a:pt x="311791" y="976243"/>
                      <a:pt x="301282" y="985418"/>
                      <a:pt x="289667" y="990815"/>
                    </a:cubicBezTo>
                    <a:cubicBezTo>
                      <a:pt x="288561" y="991355"/>
                      <a:pt x="285242" y="990815"/>
                      <a:pt x="284136" y="990276"/>
                    </a:cubicBezTo>
                    <a:cubicBezTo>
                      <a:pt x="280818" y="987577"/>
                      <a:pt x="279711" y="979481"/>
                      <a:pt x="280818" y="976243"/>
                    </a:cubicBezTo>
                    <a:cubicBezTo>
                      <a:pt x="281924" y="974624"/>
                      <a:pt x="285242" y="973004"/>
                      <a:pt x="285795" y="971385"/>
                    </a:cubicBezTo>
                    <a:cubicBezTo>
                      <a:pt x="286349" y="969766"/>
                      <a:pt x="285795" y="964369"/>
                      <a:pt x="283583" y="963829"/>
                    </a:cubicBezTo>
                    <a:cubicBezTo>
                      <a:pt x="282477" y="963289"/>
                      <a:pt x="278605" y="963289"/>
                      <a:pt x="278052" y="963289"/>
                    </a:cubicBezTo>
                    <a:cubicBezTo>
                      <a:pt x="272521" y="964369"/>
                      <a:pt x="272521" y="972465"/>
                      <a:pt x="266437" y="973004"/>
                    </a:cubicBezTo>
                    <a:cubicBezTo>
                      <a:pt x="258141" y="973544"/>
                      <a:pt x="268650" y="957352"/>
                      <a:pt x="272521" y="954654"/>
                    </a:cubicBezTo>
                    <a:cubicBezTo>
                      <a:pt x="277499" y="951415"/>
                      <a:pt x="285242" y="950876"/>
                      <a:pt x="289667" y="947098"/>
                    </a:cubicBezTo>
                    <a:cubicBezTo>
                      <a:pt x="290220" y="943320"/>
                      <a:pt x="284689" y="942780"/>
                      <a:pt x="284136" y="941161"/>
                    </a:cubicBezTo>
                    <a:cubicBezTo>
                      <a:pt x="284136" y="939002"/>
                      <a:pt x="286902" y="928747"/>
                      <a:pt x="288561" y="926588"/>
                    </a:cubicBezTo>
                    <a:cubicBezTo>
                      <a:pt x="289667" y="924429"/>
                      <a:pt x="296304" y="921731"/>
                      <a:pt x="297410" y="919032"/>
                    </a:cubicBezTo>
                    <a:cubicBezTo>
                      <a:pt x="299623" y="915254"/>
                      <a:pt x="298517" y="906079"/>
                      <a:pt x="300729" y="901761"/>
                    </a:cubicBezTo>
                    <a:cubicBezTo>
                      <a:pt x="302388" y="899062"/>
                      <a:pt x="309578" y="895824"/>
                      <a:pt x="312344" y="893665"/>
                    </a:cubicBezTo>
                    <a:cubicBezTo>
                      <a:pt x="314556" y="890966"/>
                      <a:pt x="315109" y="887188"/>
                      <a:pt x="317875" y="885029"/>
                    </a:cubicBezTo>
                    <a:cubicBezTo>
                      <a:pt x="321193" y="881791"/>
                      <a:pt x="326724" y="880172"/>
                      <a:pt x="330043" y="876394"/>
                    </a:cubicBezTo>
                    <a:cubicBezTo>
                      <a:pt x="331702" y="874775"/>
                      <a:pt x="331149" y="870997"/>
                      <a:pt x="332255" y="868838"/>
                    </a:cubicBezTo>
                    <a:cubicBezTo>
                      <a:pt x="332808" y="868298"/>
                      <a:pt x="333914" y="867758"/>
                      <a:pt x="335021" y="867219"/>
                    </a:cubicBezTo>
                    <a:cubicBezTo>
                      <a:pt x="338339" y="872076"/>
                      <a:pt x="339998" y="879093"/>
                      <a:pt x="343317" y="882331"/>
                    </a:cubicBezTo>
                    <a:cubicBezTo>
                      <a:pt x="344423" y="883950"/>
                      <a:pt x="348848" y="883950"/>
                      <a:pt x="348848" y="885569"/>
                    </a:cubicBezTo>
                    <a:cubicBezTo>
                      <a:pt x="349401" y="886649"/>
                      <a:pt x="346082" y="889887"/>
                      <a:pt x="346636" y="890966"/>
                    </a:cubicBezTo>
                    <a:cubicBezTo>
                      <a:pt x="347189" y="892046"/>
                      <a:pt x="350507" y="890427"/>
                      <a:pt x="351613" y="889887"/>
                    </a:cubicBezTo>
                    <a:cubicBezTo>
                      <a:pt x="356591" y="886649"/>
                      <a:pt x="362122" y="881251"/>
                      <a:pt x="362675" y="874775"/>
                    </a:cubicBezTo>
                    <a:cubicBezTo>
                      <a:pt x="363228" y="869917"/>
                      <a:pt x="354932" y="858583"/>
                      <a:pt x="358250" y="854805"/>
                    </a:cubicBezTo>
                    <a:cubicBezTo>
                      <a:pt x="358804" y="853726"/>
                      <a:pt x="361569" y="854805"/>
                      <a:pt x="362675" y="854265"/>
                    </a:cubicBezTo>
                    <a:cubicBezTo>
                      <a:pt x="365441" y="851567"/>
                      <a:pt x="365441" y="846169"/>
                      <a:pt x="367100" y="842391"/>
                    </a:cubicBezTo>
                    <a:cubicBezTo>
                      <a:pt x="368206" y="839153"/>
                      <a:pt x="374843" y="829978"/>
                      <a:pt x="365994" y="831597"/>
                    </a:cubicBezTo>
                    <a:cubicBezTo>
                      <a:pt x="364334" y="832137"/>
                      <a:pt x="360463" y="833216"/>
                      <a:pt x="358804" y="834295"/>
                    </a:cubicBezTo>
                    <a:cubicBezTo>
                      <a:pt x="356591" y="835375"/>
                      <a:pt x="354932" y="838613"/>
                      <a:pt x="352720" y="839693"/>
                    </a:cubicBezTo>
                    <a:lnTo>
                      <a:pt x="350507" y="838613"/>
                    </a:lnTo>
                    <a:cubicBezTo>
                      <a:pt x="349954" y="837534"/>
                      <a:pt x="349954" y="832676"/>
                      <a:pt x="351060" y="831597"/>
                    </a:cubicBezTo>
                    <a:cubicBezTo>
                      <a:pt x="351613" y="830517"/>
                      <a:pt x="354932" y="830517"/>
                      <a:pt x="356038" y="829438"/>
                    </a:cubicBezTo>
                    <a:cubicBezTo>
                      <a:pt x="359357" y="826739"/>
                      <a:pt x="360463" y="821882"/>
                      <a:pt x="363781" y="819183"/>
                    </a:cubicBezTo>
                    <a:cubicBezTo>
                      <a:pt x="365994" y="817564"/>
                      <a:pt x="369865" y="817024"/>
                      <a:pt x="372078" y="814865"/>
                    </a:cubicBezTo>
                    <a:cubicBezTo>
                      <a:pt x="373737" y="813786"/>
                      <a:pt x="375396" y="810548"/>
                      <a:pt x="377056" y="810008"/>
                    </a:cubicBezTo>
                    <a:cubicBezTo>
                      <a:pt x="379821" y="809468"/>
                      <a:pt x="387011" y="811627"/>
                      <a:pt x="389777" y="811087"/>
                    </a:cubicBezTo>
                    <a:cubicBezTo>
                      <a:pt x="397520" y="809468"/>
                      <a:pt x="405816" y="804611"/>
                      <a:pt x="412454" y="800833"/>
                    </a:cubicBezTo>
                    <a:cubicBezTo>
                      <a:pt x="418538" y="797594"/>
                      <a:pt x="426281" y="788959"/>
                      <a:pt x="428493" y="782482"/>
                    </a:cubicBezTo>
                    <a:cubicBezTo>
                      <a:pt x="429046" y="780323"/>
                      <a:pt x="429046" y="777625"/>
                      <a:pt x="425728" y="778164"/>
                    </a:cubicBezTo>
                    <a:cubicBezTo>
                      <a:pt x="421303" y="778704"/>
                      <a:pt x="420197" y="785720"/>
                      <a:pt x="417431" y="788419"/>
                    </a:cubicBezTo>
                    <a:cubicBezTo>
                      <a:pt x="416325" y="788959"/>
                      <a:pt x="415219" y="788959"/>
                      <a:pt x="414666" y="790038"/>
                    </a:cubicBezTo>
                    <a:cubicBezTo>
                      <a:pt x="413560" y="790578"/>
                      <a:pt x="410794" y="795435"/>
                      <a:pt x="409135" y="797594"/>
                    </a:cubicBezTo>
                    <a:cubicBezTo>
                      <a:pt x="408582" y="797594"/>
                      <a:pt x="405816" y="797594"/>
                      <a:pt x="405816" y="797055"/>
                    </a:cubicBezTo>
                    <a:cubicBezTo>
                      <a:pt x="401945" y="792737"/>
                      <a:pt x="407476" y="791118"/>
                      <a:pt x="409688" y="788419"/>
                    </a:cubicBezTo>
                    <a:cubicBezTo>
                      <a:pt x="411347" y="780323"/>
                      <a:pt x="404710" y="778704"/>
                      <a:pt x="404157" y="772227"/>
                    </a:cubicBezTo>
                    <a:cubicBezTo>
                      <a:pt x="404157" y="766290"/>
                      <a:pt x="414113" y="767910"/>
                      <a:pt x="413560" y="760893"/>
                    </a:cubicBezTo>
                    <a:cubicBezTo>
                      <a:pt x="413560" y="759814"/>
                      <a:pt x="412454" y="756575"/>
                      <a:pt x="411900" y="755496"/>
                    </a:cubicBezTo>
                    <a:cubicBezTo>
                      <a:pt x="405263" y="739844"/>
                      <a:pt x="401392" y="751718"/>
                      <a:pt x="398626" y="742543"/>
                    </a:cubicBezTo>
                    <a:cubicBezTo>
                      <a:pt x="398073" y="740923"/>
                      <a:pt x="398626" y="737145"/>
                      <a:pt x="399732" y="735526"/>
                    </a:cubicBezTo>
                    <a:cubicBezTo>
                      <a:pt x="401945" y="732288"/>
                      <a:pt x="405263" y="730129"/>
                      <a:pt x="407476" y="726891"/>
                    </a:cubicBezTo>
                    <a:cubicBezTo>
                      <a:pt x="410794" y="720414"/>
                      <a:pt x="412454" y="712858"/>
                      <a:pt x="416325" y="706921"/>
                    </a:cubicBezTo>
                    <a:cubicBezTo>
                      <a:pt x="418538" y="703143"/>
                      <a:pt x="422962" y="706381"/>
                      <a:pt x="425175" y="704222"/>
                    </a:cubicBezTo>
                    <a:cubicBezTo>
                      <a:pt x="425175" y="700984"/>
                      <a:pt x="421856" y="698825"/>
                      <a:pt x="421856" y="696126"/>
                    </a:cubicBezTo>
                    <a:cubicBezTo>
                      <a:pt x="421856" y="692888"/>
                      <a:pt x="428493" y="690189"/>
                      <a:pt x="423515" y="686951"/>
                    </a:cubicBezTo>
                    <a:cubicBezTo>
                      <a:pt x="418538" y="683713"/>
                      <a:pt x="417984" y="688030"/>
                      <a:pt x="414666" y="688570"/>
                    </a:cubicBezTo>
                    <a:cubicBezTo>
                      <a:pt x="413007" y="688570"/>
                      <a:pt x="408582" y="685872"/>
                      <a:pt x="409135" y="683713"/>
                    </a:cubicBezTo>
                    <a:cubicBezTo>
                      <a:pt x="409135" y="682633"/>
                      <a:pt x="411347" y="679395"/>
                      <a:pt x="411900" y="678855"/>
                    </a:cubicBezTo>
                    <a:cubicBezTo>
                      <a:pt x="415772" y="676696"/>
                      <a:pt x="425175" y="679935"/>
                      <a:pt x="427940" y="678855"/>
                    </a:cubicBezTo>
                    <a:cubicBezTo>
                      <a:pt x="431812" y="677776"/>
                      <a:pt x="437896" y="669680"/>
                      <a:pt x="438449" y="669680"/>
                    </a:cubicBezTo>
                    <a:cubicBezTo>
                      <a:pt x="440661" y="668061"/>
                      <a:pt x="445639" y="665902"/>
                      <a:pt x="446745" y="662663"/>
                    </a:cubicBezTo>
                    <a:lnTo>
                      <a:pt x="445639" y="660505"/>
                    </a:lnTo>
                    <a:cubicBezTo>
                      <a:pt x="441214" y="658885"/>
                      <a:pt x="440661" y="662663"/>
                      <a:pt x="438449" y="663203"/>
                    </a:cubicBezTo>
                    <a:lnTo>
                      <a:pt x="437343" y="661584"/>
                    </a:lnTo>
                    <a:cubicBezTo>
                      <a:pt x="438449" y="656187"/>
                      <a:pt x="440661" y="658885"/>
                      <a:pt x="443427" y="656727"/>
                    </a:cubicBezTo>
                    <a:cubicBezTo>
                      <a:pt x="442874" y="655107"/>
                      <a:pt x="441767" y="653488"/>
                      <a:pt x="440661" y="652409"/>
                    </a:cubicBezTo>
                    <a:cubicBezTo>
                      <a:pt x="435683" y="650790"/>
                      <a:pt x="429046" y="659425"/>
                      <a:pt x="425728" y="651869"/>
                    </a:cubicBezTo>
                    <a:cubicBezTo>
                      <a:pt x="426281" y="648091"/>
                      <a:pt x="428493" y="644853"/>
                      <a:pt x="429599" y="641614"/>
                    </a:cubicBezTo>
                    <a:lnTo>
                      <a:pt x="429046" y="637836"/>
                    </a:lnTo>
                    <a:cubicBezTo>
                      <a:pt x="430152" y="637836"/>
                      <a:pt x="431259" y="638376"/>
                      <a:pt x="432365" y="638376"/>
                    </a:cubicBezTo>
                    <a:cubicBezTo>
                      <a:pt x="436790" y="637296"/>
                      <a:pt x="439555" y="633518"/>
                      <a:pt x="440661" y="629740"/>
                    </a:cubicBezTo>
                    <a:cubicBezTo>
                      <a:pt x="439555" y="627581"/>
                      <a:pt x="436790" y="627581"/>
                      <a:pt x="435130" y="627042"/>
                    </a:cubicBezTo>
                    <a:cubicBezTo>
                      <a:pt x="435683" y="620565"/>
                      <a:pt x="436790" y="615708"/>
                      <a:pt x="438449" y="611390"/>
                    </a:cubicBezTo>
                    <a:cubicBezTo>
                      <a:pt x="440108" y="609771"/>
                      <a:pt x="447298" y="611929"/>
                      <a:pt x="448958" y="609231"/>
                    </a:cubicBezTo>
                    <a:cubicBezTo>
                      <a:pt x="449511" y="608151"/>
                      <a:pt x="447298" y="604373"/>
                      <a:pt x="447851" y="602754"/>
                    </a:cubicBezTo>
                    <a:cubicBezTo>
                      <a:pt x="449511" y="600595"/>
                      <a:pt x="454488" y="603294"/>
                      <a:pt x="456148" y="597357"/>
                    </a:cubicBezTo>
                    <a:cubicBezTo>
                      <a:pt x="455042" y="594658"/>
                      <a:pt x="450617" y="594658"/>
                      <a:pt x="448958" y="592499"/>
                    </a:cubicBezTo>
                    <a:cubicBezTo>
                      <a:pt x="448404" y="591960"/>
                      <a:pt x="448404" y="588182"/>
                      <a:pt x="448958" y="587642"/>
                    </a:cubicBezTo>
                    <a:cubicBezTo>
                      <a:pt x="455595" y="581705"/>
                      <a:pt x="465550" y="579006"/>
                      <a:pt x="472741" y="574149"/>
                    </a:cubicBezTo>
                    <a:cubicBezTo>
                      <a:pt x="481590" y="568212"/>
                      <a:pt x="477718" y="562815"/>
                      <a:pt x="480484" y="558497"/>
                    </a:cubicBezTo>
                    <a:cubicBezTo>
                      <a:pt x="482143" y="555259"/>
                      <a:pt x="495417" y="548242"/>
                      <a:pt x="499289" y="548242"/>
                    </a:cubicBezTo>
                    <a:cubicBezTo>
                      <a:pt x="502608" y="548242"/>
                      <a:pt x="515882" y="549322"/>
                      <a:pt x="519200" y="550401"/>
                    </a:cubicBezTo>
                    <a:cubicBezTo>
                      <a:pt x="522519" y="551480"/>
                      <a:pt x="521966" y="555798"/>
                      <a:pt x="528050" y="556338"/>
                    </a:cubicBezTo>
                    <a:cubicBezTo>
                      <a:pt x="530262" y="552020"/>
                      <a:pt x="528050" y="546623"/>
                      <a:pt x="526390" y="543385"/>
                    </a:cubicBezTo>
                    <a:cubicBezTo>
                      <a:pt x="525837" y="542305"/>
                      <a:pt x="524731" y="541226"/>
                      <a:pt x="523625" y="540686"/>
                    </a:cubicBezTo>
                    <a:cubicBezTo>
                      <a:pt x="503714" y="525574"/>
                      <a:pt x="490993" y="550401"/>
                      <a:pt x="482143" y="540146"/>
                    </a:cubicBezTo>
                    <a:cubicBezTo>
                      <a:pt x="482143" y="535828"/>
                      <a:pt x="484355" y="529352"/>
                      <a:pt x="486015" y="525034"/>
                    </a:cubicBezTo>
                    <a:cubicBezTo>
                      <a:pt x="489333" y="523415"/>
                      <a:pt x="492652" y="525574"/>
                      <a:pt x="495970" y="524494"/>
                    </a:cubicBezTo>
                    <a:cubicBezTo>
                      <a:pt x="500395" y="522875"/>
                      <a:pt x="503714" y="518557"/>
                      <a:pt x="508138" y="517478"/>
                    </a:cubicBezTo>
                    <a:cubicBezTo>
                      <a:pt x="510351" y="516398"/>
                      <a:pt x="517541" y="516938"/>
                      <a:pt x="519753" y="518018"/>
                    </a:cubicBezTo>
                    <a:cubicBezTo>
                      <a:pt x="521413" y="518557"/>
                      <a:pt x="525837" y="528812"/>
                      <a:pt x="526944" y="530431"/>
                    </a:cubicBezTo>
                    <a:cubicBezTo>
                      <a:pt x="527497" y="531511"/>
                      <a:pt x="527497" y="533130"/>
                      <a:pt x="528603" y="533670"/>
                    </a:cubicBezTo>
                    <a:lnTo>
                      <a:pt x="531368" y="534209"/>
                    </a:lnTo>
                    <a:lnTo>
                      <a:pt x="532474" y="531511"/>
                    </a:lnTo>
                    <a:cubicBezTo>
                      <a:pt x="532474" y="528812"/>
                      <a:pt x="531921" y="528272"/>
                      <a:pt x="530815" y="526113"/>
                    </a:cubicBezTo>
                    <a:cubicBezTo>
                      <a:pt x="530815" y="525034"/>
                      <a:pt x="529156" y="518018"/>
                      <a:pt x="529156" y="517478"/>
                    </a:cubicBezTo>
                    <a:cubicBezTo>
                      <a:pt x="529709" y="512620"/>
                      <a:pt x="535793" y="505064"/>
                      <a:pt x="539112" y="501286"/>
                    </a:cubicBezTo>
                    <a:lnTo>
                      <a:pt x="538558" y="499667"/>
                    </a:lnTo>
                    <a:cubicBezTo>
                      <a:pt x="532474" y="496429"/>
                      <a:pt x="527497" y="509382"/>
                      <a:pt x="517541" y="505604"/>
                    </a:cubicBezTo>
                    <a:cubicBezTo>
                      <a:pt x="516988" y="504525"/>
                      <a:pt x="516435" y="503985"/>
                      <a:pt x="515882" y="503445"/>
                    </a:cubicBezTo>
                    <a:cubicBezTo>
                      <a:pt x="515329" y="502366"/>
                      <a:pt x="515882" y="491571"/>
                      <a:pt x="516435" y="489952"/>
                    </a:cubicBezTo>
                    <a:cubicBezTo>
                      <a:pt x="518647" y="486174"/>
                      <a:pt x="531368" y="481316"/>
                      <a:pt x="529156" y="475919"/>
                    </a:cubicBezTo>
                    <a:cubicBezTo>
                      <a:pt x="528603" y="474840"/>
                      <a:pt x="525284" y="473221"/>
                      <a:pt x="524178" y="472681"/>
                    </a:cubicBezTo>
                    <a:cubicBezTo>
                      <a:pt x="509245" y="466204"/>
                      <a:pt x="507032" y="479697"/>
                      <a:pt x="500948" y="488873"/>
                    </a:cubicBezTo>
                    <a:cubicBezTo>
                      <a:pt x="497630" y="488873"/>
                      <a:pt x="497630" y="491031"/>
                      <a:pt x="495970" y="491571"/>
                    </a:cubicBezTo>
                    <a:cubicBezTo>
                      <a:pt x="494864" y="491571"/>
                      <a:pt x="493205" y="491031"/>
                      <a:pt x="493205" y="490492"/>
                    </a:cubicBezTo>
                    <a:cubicBezTo>
                      <a:pt x="492652" y="488333"/>
                      <a:pt x="493758" y="473221"/>
                      <a:pt x="494864" y="470522"/>
                    </a:cubicBezTo>
                    <a:cubicBezTo>
                      <a:pt x="499289" y="467823"/>
                      <a:pt x="504820" y="469443"/>
                      <a:pt x="509245" y="467823"/>
                    </a:cubicBezTo>
                    <a:cubicBezTo>
                      <a:pt x="512563" y="466204"/>
                      <a:pt x="515882" y="462966"/>
                      <a:pt x="519753" y="461886"/>
                    </a:cubicBezTo>
                    <a:cubicBezTo>
                      <a:pt x="521966" y="461347"/>
                      <a:pt x="526944" y="462966"/>
                      <a:pt x="529156" y="461886"/>
                    </a:cubicBezTo>
                    <a:cubicBezTo>
                      <a:pt x="532474" y="460267"/>
                      <a:pt x="537452" y="453251"/>
                      <a:pt x="540771" y="452171"/>
                    </a:cubicBezTo>
                    <a:cubicBezTo>
                      <a:pt x="544089" y="451092"/>
                      <a:pt x="550173" y="457029"/>
                      <a:pt x="554045" y="457569"/>
                    </a:cubicBezTo>
                    <a:cubicBezTo>
                      <a:pt x="555151" y="454870"/>
                      <a:pt x="554045" y="451632"/>
                      <a:pt x="555151" y="448933"/>
                    </a:cubicBezTo>
                    <a:cubicBezTo>
                      <a:pt x="557917" y="444076"/>
                      <a:pt x="559576" y="446774"/>
                      <a:pt x="561235" y="437059"/>
                    </a:cubicBezTo>
                    <a:cubicBezTo>
                      <a:pt x="559023" y="435980"/>
                      <a:pt x="555151" y="435980"/>
                      <a:pt x="554045" y="435440"/>
                    </a:cubicBezTo>
                    <a:cubicBezTo>
                      <a:pt x="549620" y="433821"/>
                      <a:pt x="552939" y="427884"/>
                      <a:pt x="552386" y="424645"/>
                    </a:cubicBezTo>
                    <a:cubicBezTo>
                      <a:pt x="551280" y="421947"/>
                      <a:pt x="546302" y="418169"/>
                      <a:pt x="545749" y="415470"/>
                    </a:cubicBezTo>
                    <a:cubicBezTo>
                      <a:pt x="545196" y="414391"/>
                      <a:pt x="546855" y="407914"/>
                      <a:pt x="547961" y="406835"/>
                    </a:cubicBezTo>
                    <a:lnTo>
                      <a:pt x="549067" y="405755"/>
                    </a:lnTo>
                    <a:cubicBezTo>
                      <a:pt x="549620" y="405215"/>
                      <a:pt x="557917" y="402517"/>
                      <a:pt x="559023" y="402517"/>
                    </a:cubicBezTo>
                    <a:cubicBezTo>
                      <a:pt x="564001" y="402517"/>
                      <a:pt x="568979" y="405755"/>
                      <a:pt x="573956" y="405215"/>
                    </a:cubicBezTo>
                    <a:cubicBezTo>
                      <a:pt x="578381" y="405215"/>
                      <a:pt x="576722" y="399818"/>
                      <a:pt x="586678" y="404676"/>
                    </a:cubicBezTo>
                    <a:lnTo>
                      <a:pt x="587231" y="405755"/>
                    </a:lnTo>
                    <a:cubicBezTo>
                      <a:pt x="587784" y="407374"/>
                      <a:pt x="588337" y="410073"/>
                      <a:pt x="589443" y="411152"/>
                    </a:cubicBezTo>
                    <a:cubicBezTo>
                      <a:pt x="592208" y="413851"/>
                      <a:pt x="594421" y="411692"/>
                      <a:pt x="593315" y="408454"/>
                    </a:cubicBezTo>
                    <a:cubicBezTo>
                      <a:pt x="593315" y="406835"/>
                      <a:pt x="588337" y="400898"/>
                      <a:pt x="591655" y="398199"/>
                    </a:cubicBezTo>
                    <a:cubicBezTo>
                      <a:pt x="592762" y="397120"/>
                      <a:pt x="596633" y="399278"/>
                      <a:pt x="597739" y="398199"/>
                    </a:cubicBezTo>
                    <a:cubicBezTo>
                      <a:pt x="598846" y="397659"/>
                      <a:pt x="599399" y="394421"/>
                      <a:pt x="600505" y="393342"/>
                    </a:cubicBezTo>
                    <a:cubicBezTo>
                      <a:pt x="601058" y="392802"/>
                      <a:pt x="602717" y="392802"/>
                      <a:pt x="603823" y="392262"/>
                    </a:cubicBezTo>
                    <a:lnTo>
                      <a:pt x="604376" y="390643"/>
                    </a:lnTo>
                    <a:cubicBezTo>
                      <a:pt x="603823" y="389563"/>
                      <a:pt x="601058" y="388484"/>
                      <a:pt x="601058" y="387405"/>
                    </a:cubicBezTo>
                    <a:cubicBezTo>
                      <a:pt x="599952" y="385785"/>
                      <a:pt x="601058" y="380928"/>
                      <a:pt x="600505" y="378229"/>
                    </a:cubicBezTo>
                    <a:lnTo>
                      <a:pt x="598292" y="377150"/>
                    </a:lnTo>
                    <a:cubicBezTo>
                      <a:pt x="593868" y="378769"/>
                      <a:pt x="589996" y="387944"/>
                      <a:pt x="584465" y="389024"/>
                    </a:cubicBezTo>
                    <a:cubicBezTo>
                      <a:pt x="582806" y="389563"/>
                      <a:pt x="580593" y="385785"/>
                      <a:pt x="577828" y="385785"/>
                    </a:cubicBezTo>
                    <a:cubicBezTo>
                      <a:pt x="576722" y="385785"/>
                      <a:pt x="566213" y="392262"/>
                      <a:pt x="562895" y="392802"/>
                    </a:cubicBezTo>
                    <a:cubicBezTo>
                      <a:pt x="561235" y="393342"/>
                      <a:pt x="557917" y="391183"/>
                      <a:pt x="556257" y="390643"/>
                    </a:cubicBezTo>
                    <a:cubicBezTo>
                      <a:pt x="555704" y="390103"/>
                      <a:pt x="553492" y="390103"/>
                      <a:pt x="553492" y="389563"/>
                    </a:cubicBezTo>
                    <a:cubicBezTo>
                      <a:pt x="552939" y="388484"/>
                      <a:pt x="554045" y="386865"/>
                      <a:pt x="554045" y="386325"/>
                    </a:cubicBezTo>
                    <a:cubicBezTo>
                      <a:pt x="555151" y="383087"/>
                      <a:pt x="555704" y="377150"/>
                      <a:pt x="556811" y="374451"/>
                    </a:cubicBezTo>
                    <a:cubicBezTo>
                      <a:pt x="558470" y="372292"/>
                      <a:pt x="565660" y="366355"/>
                      <a:pt x="568425" y="365816"/>
                    </a:cubicBezTo>
                    <a:cubicBezTo>
                      <a:pt x="570638" y="365276"/>
                      <a:pt x="576169" y="368514"/>
                      <a:pt x="578381" y="368514"/>
                    </a:cubicBezTo>
                    <a:cubicBezTo>
                      <a:pt x="580040" y="367975"/>
                      <a:pt x="582253" y="364736"/>
                      <a:pt x="583912" y="364196"/>
                    </a:cubicBezTo>
                    <a:cubicBezTo>
                      <a:pt x="585571" y="363117"/>
                      <a:pt x="590549" y="362038"/>
                      <a:pt x="591655" y="361498"/>
                    </a:cubicBezTo>
                    <a:cubicBezTo>
                      <a:pt x="592762" y="361498"/>
                      <a:pt x="595527" y="362038"/>
                      <a:pt x="596080" y="361498"/>
                    </a:cubicBezTo>
                    <a:cubicBezTo>
                      <a:pt x="597739" y="358799"/>
                      <a:pt x="586124" y="355561"/>
                      <a:pt x="585571" y="355021"/>
                    </a:cubicBezTo>
                    <a:lnTo>
                      <a:pt x="586124" y="352862"/>
                    </a:lnTo>
                    <a:cubicBezTo>
                      <a:pt x="588890" y="352862"/>
                      <a:pt x="602717" y="351243"/>
                      <a:pt x="603823" y="349084"/>
                    </a:cubicBezTo>
                    <a:cubicBezTo>
                      <a:pt x="600505" y="346925"/>
                      <a:pt x="597186" y="347465"/>
                      <a:pt x="594421" y="345846"/>
                    </a:cubicBezTo>
                    <a:cubicBezTo>
                      <a:pt x="596633" y="337750"/>
                      <a:pt x="601058" y="338290"/>
                      <a:pt x="602717" y="333972"/>
                    </a:cubicBezTo>
                    <a:cubicBezTo>
                      <a:pt x="601611" y="330734"/>
                      <a:pt x="597739" y="329114"/>
                      <a:pt x="594974" y="331813"/>
                    </a:cubicBezTo>
                    <a:cubicBezTo>
                      <a:pt x="593315" y="333432"/>
                      <a:pt x="593315" y="337210"/>
                      <a:pt x="589443" y="336671"/>
                    </a:cubicBezTo>
                    <a:cubicBezTo>
                      <a:pt x="588890" y="336671"/>
                      <a:pt x="586678" y="335591"/>
                      <a:pt x="586678" y="335051"/>
                    </a:cubicBezTo>
                    <a:cubicBezTo>
                      <a:pt x="586678" y="333972"/>
                      <a:pt x="586678" y="332893"/>
                      <a:pt x="587231" y="332353"/>
                    </a:cubicBezTo>
                    <a:cubicBezTo>
                      <a:pt x="588337" y="326416"/>
                      <a:pt x="588890" y="317241"/>
                      <a:pt x="594421" y="312923"/>
                    </a:cubicBezTo>
                    <a:cubicBezTo>
                      <a:pt x="597739" y="310764"/>
                      <a:pt x="609354" y="309145"/>
                      <a:pt x="610460" y="305367"/>
                    </a:cubicBezTo>
                    <a:cubicBezTo>
                      <a:pt x="613779" y="297271"/>
                      <a:pt x="607695" y="281619"/>
                      <a:pt x="608801" y="274063"/>
                    </a:cubicBezTo>
                    <a:cubicBezTo>
                      <a:pt x="609354" y="273523"/>
                      <a:pt x="611567" y="272983"/>
                      <a:pt x="612120" y="273523"/>
                    </a:cubicBezTo>
                    <a:cubicBezTo>
                      <a:pt x="612673" y="273523"/>
                      <a:pt x="613226" y="275142"/>
                      <a:pt x="613779" y="275682"/>
                    </a:cubicBezTo>
                    <a:cubicBezTo>
                      <a:pt x="615438" y="276222"/>
                      <a:pt x="621522" y="275682"/>
                      <a:pt x="623182" y="276761"/>
                    </a:cubicBezTo>
                    <a:cubicBezTo>
                      <a:pt x="627606" y="279460"/>
                      <a:pt x="628159" y="286476"/>
                      <a:pt x="634797" y="285397"/>
                    </a:cubicBezTo>
                    <a:cubicBezTo>
                      <a:pt x="637562" y="284857"/>
                      <a:pt x="638668" y="282698"/>
                      <a:pt x="639221" y="280539"/>
                    </a:cubicBezTo>
                    <a:cubicBezTo>
                      <a:pt x="635350" y="276222"/>
                      <a:pt x="627606" y="275142"/>
                      <a:pt x="623182" y="265427"/>
                    </a:cubicBezTo>
                    <a:cubicBezTo>
                      <a:pt x="623735" y="263268"/>
                      <a:pt x="625394" y="258411"/>
                      <a:pt x="625947" y="256792"/>
                    </a:cubicBezTo>
                    <a:cubicBezTo>
                      <a:pt x="637562" y="251394"/>
                      <a:pt x="640881" y="269745"/>
                      <a:pt x="643093" y="271364"/>
                    </a:cubicBezTo>
                    <a:cubicBezTo>
                      <a:pt x="645305" y="272983"/>
                      <a:pt x="653602" y="273523"/>
                      <a:pt x="655814" y="274602"/>
                    </a:cubicBezTo>
                    <a:cubicBezTo>
                      <a:pt x="658579" y="276761"/>
                      <a:pt x="656367" y="283238"/>
                      <a:pt x="658579" y="286476"/>
                    </a:cubicBezTo>
                    <a:cubicBezTo>
                      <a:pt x="669641" y="290254"/>
                      <a:pt x="669088" y="280539"/>
                      <a:pt x="664110" y="274602"/>
                    </a:cubicBezTo>
                    <a:cubicBezTo>
                      <a:pt x="660239" y="269205"/>
                      <a:pt x="648071" y="264887"/>
                      <a:pt x="646411" y="261649"/>
                    </a:cubicBezTo>
                    <a:cubicBezTo>
                      <a:pt x="645305" y="260030"/>
                      <a:pt x="643646" y="255712"/>
                      <a:pt x="644752" y="254093"/>
                    </a:cubicBezTo>
                    <a:cubicBezTo>
                      <a:pt x="645305" y="253553"/>
                      <a:pt x="646965" y="253553"/>
                      <a:pt x="647518" y="253013"/>
                    </a:cubicBezTo>
                    <a:lnTo>
                      <a:pt x="648071" y="250855"/>
                    </a:lnTo>
                    <a:cubicBezTo>
                      <a:pt x="645305" y="248696"/>
                      <a:pt x="641987" y="248156"/>
                      <a:pt x="639774" y="244378"/>
                    </a:cubicBezTo>
                    <a:cubicBezTo>
                      <a:pt x="639221" y="242759"/>
                      <a:pt x="638115" y="237361"/>
                      <a:pt x="639221" y="236282"/>
                    </a:cubicBezTo>
                    <a:cubicBezTo>
                      <a:pt x="643646" y="229266"/>
                      <a:pt x="658026" y="221710"/>
                      <a:pt x="666323" y="223329"/>
                    </a:cubicBezTo>
                    <a:cubicBezTo>
                      <a:pt x="666876" y="237361"/>
                      <a:pt x="666323" y="250315"/>
                      <a:pt x="665770" y="263268"/>
                    </a:cubicBezTo>
                    <a:cubicBezTo>
                      <a:pt x="667429" y="264887"/>
                      <a:pt x="670194" y="265427"/>
                      <a:pt x="671301" y="264887"/>
                    </a:cubicBezTo>
                    <a:cubicBezTo>
                      <a:pt x="672407" y="264348"/>
                      <a:pt x="675725" y="260570"/>
                      <a:pt x="676278" y="259490"/>
                    </a:cubicBezTo>
                    <a:cubicBezTo>
                      <a:pt x="679597" y="251394"/>
                      <a:pt x="675725" y="241140"/>
                      <a:pt x="676278" y="232504"/>
                    </a:cubicBezTo>
                    <a:cubicBezTo>
                      <a:pt x="676278" y="227646"/>
                      <a:pt x="680150" y="206597"/>
                      <a:pt x="683469" y="202819"/>
                    </a:cubicBezTo>
                    <a:cubicBezTo>
                      <a:pt x="685681" y="200660"/>
                      <a:pt x="687340" y="200121"/>
                      <a:pt x="690659" y="202279"/>
                    </a:cubicBezTo>
                    <a:cubicBezTo>
                      <a:pt x="696190" y="226567"/>
                      <a:pt x="696743" y="235742"/>
                      <a:pt x="691212" y="260570"/>
                    </a:cubicBezTo>
                    <a:cubicBezTo>
                      <a:pt x="690659" y="264348"/>
                      <a:pt x="687893" y="267586"/>
                      <a:pt x="686787" y="271364"/>
                    </a:cubicBezTo>
                    <a:cubicBezTo>
                      <a:pt x="686234" y="273523"/>
                      <a:pt x="686234" y="274602"/>
                      <a:pt x="687340" y="276222"/>
                    </a:cubicBezTo>
                    <a:cubicBezTo>
                      <a:pt x="699508" y="276222"/>
                      <a:pt x="703933" y="242759"/>
                      <a:pt x="704486" y="235203"/>
                    </a:cubicBezTo>
                    <a:cubicBezTo>
                      <a:pt x="705039" y="229266"/>
                      <a:pt x="700614" y="223329"/>
                      <a:pt x="703380" y="217392"/>
                    </a:cubicBezTo>
                    <a:cubicBezTo>
                      <a:pt x="705592" y="212534"/>
                      <a:pt x="708911" y="207677"/>
                      <a:pt x="712229" y="203899"/>
                    </a:cubicBezTo>
                    <a:cubicBezTo>
                      <a:pt x="716101" y="202819"/>
                      <a:pt x="717760" y="206058"/>
                      <a:pt x="719973" y="205518"/>
                    </a:cubicBezTo>
                    <a:cubicBezTo>
                      <a:pt x="722738" y="204978"/>
                      <a:pt x="726610" y="195263"/>
                      <a:pt x="726610" y="193104"/>
                    </a:cubicBezTo>
                    <a:cubicBezTo>
                      <a:pt x="726610" y="189866"/>
                      <a:pt x="723844" y="189326"/>
                      <a:pt x="724951" y="185548"/>
                    </a:cubicBezTo>
                    <a:lnTo>
                      <a:pt x="726610" y="185008"/>
                    </a:lnTo>
                    <a:cubicBezTo>
                      <a:pt x="727716" y="184469"/>
                      <a:pt x="735459" y="185548"/>
                      <a:pt x="736565" y="186088"/>
                    </a:cubicBezTo>
                    <a:cubicBezTo>
                      <a:pt x="738778" y="187167"/>
                      <a:pt x="740990" y="192025"/>
                      <a:pt x="743203" y="193644"/>
                    </a:cubicBezTo>
                    <a:cubicBezTo>
                      <a:pt x="747627" y="196343"/>
                      <a:pt x="752605" y="195803"/>
                      <a:pt x="756477" y="200121"/>
                    </a:cubicBezTo>
                    <a:cubicBezTo>
                      <a:pt x="757030" y="199581"/>
                      <a:pt x="758689" y="199581"/>
                      <a:pt x="759242" y="199041"/>
                    </a:cubicBezTo>
                    <a:cubicBezTo>
                      <a:pt x="761455" y="196882"/>
                      <a:pt x="757583" y="175293"/>
                      <a:pt x="752052" y="172595"/>
                    </a:cubicBezTo>
                    <a:cubicBezTo>
                      <a:pt x="747627" y="169896"/>
                      <a:pt x="739884" y="171515"/>
                      <a:pt x="734906" y="169896"/>
                    </a:cubicBezTo>
                    <a:cubicBezTo>
                      <a:pt x="733800" y="169356"/>
                      <a:pt x="732694" y="166658"/>
                      <a:pt x="731035" y="166118"/>
                    </a:cubicBezTo>
                    <a:cubicBezTo>
                      <a:pt x="727163" y="163419"/>
                      <a:pt x="717207" y="165039"/>
                      <a:pt x="721079" y="156403"/>
                    </a:cubicBezTo>
                    <a:cubicBezTo>
                      <a:pt x="723844" y="154244"/>
                      <a:pt x="726610" y="155863"/>
                      <a:pt x="729375" y="155324"/>
                    </a:cubicBezTo>
                    <a:lnTo>
                      <a:pt x="730481" y="153165"/>
                    </a:lnTo>
                    <a:lnTo>
                      <a:pt x="732141" y="153704"/>
                    </a:lnTo>
                    <a:cubicBezTo>
                      <a:pt x="734353" y="156403"/>
                      <a:pt x="738778" y="159102"/>
                      <a:pt x="742096" y="159641"/>
                    </a:cubicBezTo>
                    <a:lnTo>
                      <a:pt x="743203" y="158562"/>
                    </a:lnTo>
                    <a:cubicBezTo>
                      <a:pt x="743756" y="153704"/>
                      <a:pt x="741543" y="153704"/>
                      <a:pt x="744309" y="148307"/>
                    </a:cubicBezTo>
                    <a:cubicBezTo>
                      <a:pt x="748180" y="147767"/>
                      <a:pt x="750946" y="148847"/>
                      <a:pt x="753158" y="148847"/>
                    </a:cubicBezTo>
                    <a:lnTo>
                      <a:pt x="755371" y="147228"/>
                    </a:lnTo>
                    <a:lnTo>
                      <a:pt x="757030" y="148847"/>
                    </a:lnTo>
                    <a:cubicBezTo>
                      <a:pt x="757583" y="151006"/>
                      <a:pt x="755371" y="156943"/>
                      <a:pt x="755924" y="158562"/>
                    </a:cubicBezTo>
                    <a:cubicBezTo>
                      <a:pt x="757030" y="161260"/>
                      <a:pt x="766432" y="160721"/>
                      <a:pt x="767539" y="158562"/>
                    </a:cubicBezTo>
                    <a:cubicBezTo>
                      <a:pt x="768092" y="156403"/>
                      <a:pt x="764220" y="153165"/>
                      <a:pt x="765879" y="148847"/>
                    </a:cubicBezTo>
                    <a:cubicBezTo>
                      <a:pt x="768092" y="147228"/>
                      <a:pt x="770857" y="147228"/>
                      <a:pt x="773070" y="147228"/>
                    </a:cubicBezTo>
                    <a:cubicBezTo>
                      <a:pt x="775835" y="147767"/>
                      <a:pt x="783578" y="147228"/>
                      <a:pt x="785791" y="148847"/>
                    </a:cubicBezTo>
                    <a:cubicBezTo>
                      <a:pt x="788003" y="150466"/>
                      <a:pt x="789662" y="158022"/>
                      <a:pt x="791875" y="160721"/>
                    </a:cubicBezTo>
                    <a:cubicBezTo>
                      <a:pt x="794087" y="163419"/>
                      <a:pt x="797959" y="163959"/>
                      <a:pt x="799065" y="167737"/>
                    </a:cubicBezTo>
                    <a:cubicBezTo>
                      <a:pt x="803490" y="169356"/>
                      <a:pt x="809574" y="167197"/>
                      <a:pt x="811786" y="163419"/>
                    </a:cubicBezTo>
                    <a:cubicBezTo>
                      <a:pt x="812339" y="162880"/>
                      <a:pt x="811786" y="161260"/>
                      <a:pt x="811786" y="160721"/>
                    </a:cubicBezTo>
                    <a:cubicBezTo>
                      <a:pt x="810680" y="158562"/>
                      <a:pt x="806255" y="156403"/>
                      <a:pt x="806255" y="153704"/>
                    </a:cubicBezTo>
                    <a:cubicBezTo>
                      <a:pt x="805702" y="149926"/>
                      <a:pt x="808467" y="138592"/>
                      <a:pt x="809020" y="133735"/>
                    </a:cubicBezTo>
                    <a:cubicBezTo>
                      <a:pt x="809020" y="128337"/>
                      <a:pt x="808467" y="122940"/>
                      <a:pt x="809020" y="117003"/>
                    </a:cubicBezTo>
                    <a:cubicBezTo>
                      <a:pt x="809020" y="115924"/>
                      <a:pt x="816211" y="105129"/>
                      <a:pt x="817870" y="104050"/>
                    </a:cubicBezTo>
                    <a:cubicBezTo>
                      <a:pt x="819529" y="102970"/>
                      <a:pt x="826166" y="104050"/>
                      <a:pt x="829485" y="103510"/>
                    </a:cubicBezTo>
                    <a:cubicBezTo>
                      <a:pt x="830591" y="100272"/>
                      <a:pt x="828379" y="99732"/>
                      <a:pt x="828932" y="97033"/>
                    </a:cubicBezTo>
                    <a:cubicBezTo>
                      <a:pt x="828932" y="92716"/>
                      <a:pt x="830038" y="86779"/>
                      <a:pt x="831697" y="82461"/>
                    </a:cubicBezTo>
                    <a:cubicBezTo>
                      <a:pt x="835569" y="80302"/>
                      <a:pt x="837228" y="81921"/>
                      <a:pt x="841653" y="81381"/>
                    </a:cubicBezTo>
                    <a:lnTo>
                      <a:pt x="842206" y="80302"/>
                    </a:lnTo>
                    <a:lnTo>
                      <a:pt x="842206" y="78143"/>
                    </a:lnTo>
                    <a:cubicBezTo>
                      <a:pt x="842206" y="77064"/>
                      <a:pt x="837228" y="71666"/>
                      <a:pt x="836122" y="71127"/>
                    </a:cubicBezTo>
                    <a:cubicBezTo>
                      <a:pt x="832803" y="68968"/>
                      <a:pt x="826166" y="69508"/>
                      <a:pt x="822848" y="66269"/>
                    </a:cubicBezTo>
                    <a:cubicBezTo>
                      <a:pt x="821189" y="57094"/>
                      <a:pt x="827273" y="62491"/>
                      <a:pt x="833357" y="62491"/>
                    </a:cubicBezTo>
                    <a:cubicBezTo>
                      <a:pt x="839994" y="58713"/>
                      <a:pt x="832803" y="54395"/>
                      <a:pt x="833910" y="49538"/>
                    </a:cubicBezTo>
                    <a:cubicBezTo>
                      <a:pt x="844418" y="47919"/>
                      <a:pt x="849396" y="51697"/>
                      <a:pt x="858799" y="53856"/>
                    </a:cubicBezTo>
                    <a:cubicBezTo>
                      <a:pt x="860458" y="50617"/>
                      <a:pt x="860458" y="48458"/>
                      <a:pt x="861011" y="46839"/>
                    </a:cubicBezTo>
                    <a:lnTo>
                      <a:pt x="862670" y="45760"/>
                    </a:lnTo>
                    <a:cubicBezTo>
                      <a:pt x="864883" y="45760"/>
                      <a:pt x="869308" y="46839"/>
                      <a:pt x="871520" y="46839"/>
                    </a:cubicBezTo>
                    <a:cubicBezTo>
                      <a:pt x="873179" y="46299"/>
                      <a:pt x="877051" y="41982"/>
                      <a:pt x="878157" y="41982"/>
                    </a:cubicBezTo>
                    <a:cubicBezTo>
                      <a:pt x="880922" y="41442"/>
                      <a:pt x="882029" y="44680"/>
                      <a:pt x="881476" y="46839"/>
                    </a:cubicBezTo>
                    <a:cubicBezTo>
                      <a:pt x="880922" y="51157"/>
                      <a:pt x="878710" y="60872"/>
                      <a:pt x="877051" y="64110"/>
                    </a:cubicBezTo>
                    <a:cubicBezTo>
                      <a:pt x="872626" y="72746"/>
                      <a:pt x="866542" y="69508"/>
                      <a:pt x="861564" y="85160"/>
                    </a:cubicBezTo>
                    <a:cubicBezTo>
                      <a:pt x="861564" y="85699"/>
                      <a:pt x="861011" y="86779"/>
                      <a:pt x="861564" y="87858"/>
                    </a:cubicBezTo>
                    <a:cubicBezTo>
                      <a:pt x="862670" y="92176"/>
                      <a:pt x="868201" y="95954"/>
                      <a:pt x="869308" y="100811"/>
                    </a:cubicBezTo>
                    <a:cubicBezTo>
                      <a:pt x="870414" y="108368"/>
                      <a:pt x="865989" y="130496"/>
                      <a:pt x="871520" y="135894"/>
                    </a:cubicBezTo>
                    <a:cubicBezTo>
                      <a:pt x="873732" y="137513"/>
                      <a:pt x="881476" y="134814"/>
                      <a:pt x="883135" y="132655"/>
                    </a:cubicBezTo>
                    <a:cubicBezTo>
                      <a:pt x="883688" y="131576"/>
                      <a:pt x="888666" y="114844"/>
                      <a:pt x="888666" y="114305"/>
                    </a:cubicBezTo>
                    <a:cubicBezTo>
                      <a:pt x="888113" y="111606"/>
                      <a:pt x="884241" y="108907"/>
                      <a:pt x="884241" y="107288"/>
                    </a:cubicBezTo>
                    <a:cubicBezTo>
                      <a:pt x="885347" y="91636"/>
                      <a:pt x="891984" y="60872"/>
                      <a:pt x="896409" y="45760"/>
                    </a:cubicBezTo>
                    <a:cubicBezTo>
                      <a:pt x="896962" y="43061"/>
                      <a:pt x="903046" y="33886"/>
                      <a:pt x="905812" y="32267"/>
                    </a:cubicBezTo>
                    <a:cubicBezTo>
                      <a:pt x="906918" y="31727"/>
                      <a:pt x="911343" y="32806"/>
                      <a:pt x="912449" y="33886"/>
                    </a:cubicBezTo>
                    <a:cubicBezTo>
                      <a:pt x="914661" y="36045"/>
                      <a:pt x="914661" y="51697"/>
                      <a:pt x="913555" y="54395"/>
                    </a:cubicBezTo>
                    <a:cubicBezTo>
                      <a:pt x="913002" y="56014"/>
                      <a:pt x="908024" y="60332"/>
                      <a:pt x="908577" y="62491"/>
                    </a:cubicBezTo>
                    <a:cubicBezTo>
                      <a:pt x="910236" y="64650"/>
                      <a:pt x="917980" y="64110"/>
                      <a:pt x="919639" y="68428"/>
                    </a:cubicBezTo>
                    <a:cubicBezTo>
                      <a:pt x="922404" y="75444"/>
                      <a:pt x="920745" y="84080"/>
                      <a:pt x="924617" y="91096"/>
                    </a:cubicBezTo>
                    <a:lnTo>
                      <a:pt x="928488" y="91096"/>
                    </a:lnTo>
                    <a:cubicBezTo>
                      <a:pt x="931807" y="89477"/>
                      <a:pt x="938444" y="66809"/>
                      <a:pt x="938997" y="62491"/>
                    </a:cubicBezTo>
                    <a:cubicBezTo>
                      <a:pt x="939550" y="57094"/>
                      <a:pt x="935679" y="45220"/>
                      <a:pt x="936785" y="40362"/>
                    </a:cubicBezTo>
                    <a:cubicBezTo>
                      <a:pt x="937338" y="38204"/>
                      <a:pt x="943975" y="35505"/>
                      <a:pt x="946187" y="33886"/>
                    </a:cubicBezTo>
                    <a:lnTo>
                      <a:pt x="946740" y="31727"/>
                    </a:lnTo>
                    <a:cubicBezTo>
                      <a:pt x="945634" y="30647"/>
                      <a:pt x="943422" y="27409"/>
                      <a:pt x="942316" y="26869"/>
                    </a:cubicBezTo>
                    <a:cubicBezTo>
                      <a:pt x="938997" y="24710"/>
                      <a:pt x="930148" y="24171"/>
                      <a:pt x="929595" y="19853"/>
                    </a:cubicBezTo>
                    <a:cubicBezTo>
                      <a:pt x="929595" y="18774"/>
                      <a:pt x="930701" y="16075"/>
                      <a:pt x="931254" y="14995"/>
                    </a:cubicBezTo>
                    <a:cubicBezTo>
                      <a:pt x="932360" y="13916"/>
                      <a:pt x="935679" y="13916"/>
                      <a:pt x="936232" y="12837"/>
                    </a:cubicBezTo>
                    <a:cubicBezTo>
                      <a:pt x="937338" y="11217"/>
                      <a:pt x="937338" y="3661"/>
                      <a:pt x="937891" y="963"/>
                    </a:cubicBezTo>
                    <a:lnTo>
                      <a:pt x="940103" y="423"/>
                    </a:lnTo>
                    <a:cubicBezTo>
                      <a:pt x="941209" y="-117"/>
                      <a:pt x="951165" y="963"/>
                      <a:pt x="953378" y="423"/>
                    </a:cubicBezTo>
                    <a:cubicBezTo>
                      <a:pt x="955037" y="423"/>
                      <a:pt x="956696" y="-117"/>
                      <a:pt x="958355" y="-117"/>
                    </a:cubicBezTo>
                    <a:cubicBezTo>
                      <a:pt x="964992" y="423"/>
                      <a:pt x="972736" y="2582"/>
                      <a:pt x="979373" y="4201"/>
                    </a:cubicBezTo>
                    <a:cubicBezTo>
                      <a:pt x="979926" y="7979"/>
                      <a:pt x="977714" y="15535"/>
                      <a:pt x="975501" y="17694"/>
                    </a:cubicBezTo>
                    <a:cubicBezTo>
                      <a:pt x="972736" y="20393"/>
                      <a:pt x="967205" y="21472"/>
                      <a:pt x="963886" y="24171"/>
                    </a:cubicBezTo>
                    <a:cubicBezTo>
                      <a:pt x="961674" y="25790"/>
                      <a:pt x="959462" y="29028"/>
                      <a:pt x="963886" y="29568"/>
                    </a:cubicBezTo>
                    <a:cubicBezTo>
                      <a:pt x="965546" y="29568"/>
                      <a:pt x="967205" y="28489"/>
                      <a:pt x="968311" y="28489"/>
                    </a:cubicBezTo>
                    <a:cubicBezTo>
                      <a:pt x="972736" y="34965"/>
                      <a:pt x="957802" y="40362"/>
                      <a:pt x="962780" y="47379"/>
                    </a:cubicBezTo>
                    <a:cubicBezTo>
                      <a:pt x="970523" y="47919"/>
                      <a:pt x="976054" y="38743"/>
                      <a:pt x="979373" y="33346"/>
                    </a:cubicBezTo>
                    <a:cubicBezTo>
                      <a:pt x="980479" y="32806"/>
                      <a:pt x="982138" y="33346"/>
                      <a:pt x="982691" y="33886"/>
                    </a:cubicBezTo>
                    <a:cubicBezTo>
                      <a:pt x="983244" y="34426"/>
                      <a:pt x="979373" y="50617"/>
                      <a:pt x="978820" y="52236"/>
                    </a:cubicBezTo>
                    <a:cubicBezTo>
                      <a:pt x="977714" y="56014"/>
                      <a:pt x="972183" y="61951"/>
                      <a:pt x="971630" y="64650"/>
                    </a:cubicBezTo>
                    <a:lnTo>
                      <a:pt x="973289" y="66269"/>
                    </a:lnTo>
                    <a:cubicBezTo>
                      <a:pt x="975501" y="65729"/>
                      <a:pt x="980479" y="62491"/>
                      <a:pt x="984351" y="61412"/>
                    </a:cubicBezTo>
                    <a:cubicBezTo>
                      <a:pt x="984904" y="61951"/>
                      <a:pt x="986010" y="62491"/>
                      <a:pt x="986563" y="63031"/>
                    </a:cubicBezTo>
                    <a:cubicBezTo>
                      <a:pt x="986563" y="65729"/>
                      <a:pt x="987116" y="71666"/>
                      <a:pt x="988222" y="73286"/>
                    </a:cubicBezTo>
                    <a:cubicBezTo>
                      <a:pt x="989328" y="73825"/>
                      <a:pt x="990988" y="74365"/>
                      <a:pt x="992094" y="73825"/>
                    </a:cubicBezTo>
                    <a:lnTo>
                      <a:pt x="993200" y="70047"/>
                    </a:lnTo>
                    <a:cubicBezTo>
                      <a:pt x="991541" y="68428"/>
                      <a:pt x="990988" y="67349"/>
                      <a:pt x="990988" y="65190"/>
                    </a:cubicBezTo>
                    <a:cubicBezTo>
                      <a:pt x="989882" y="58173"/>
                      <a:pt x="997072" y="58173"/>
                      <a:pt x="1002050" y="56014"/>
                    </a:cubicBezTo>
                    <a:cubicBezTo>
                      <a:pt x="999284" y="49538"/>
                      <a:pt x="992094" y="38743"/>
                      <a:pt x="990988" y="33886"/>
                    </a:cubicBezTo>
                    <a:cubicBezTo>
                      <a:pt x="989882" y="30108"/>
                      <a:pt x="992647" y="18774"/>
                      <a:pt x="993753" y="14995"/>
                    </a:cubicBezTo>
                    <a:cubicBezTo>
                      <a:pt x="994306" y="13916"/>
                      <a:pt x="997625" y="9059"/>
                      <a:pt x="998731" y="7979"/>
                    </a:cubicBezTo>
                    <a:cubicBezTo>
                      <a:pt x="1002050" y="4741"/>
                      <a:pt x="1014218" y="10138"/>
                      <a:pt x="1016983" y="13376"/>
                    </a:cubicBezTo>
                    <a:cubicBezTo>
                      <a:pt x="1018642" y="15535"/>
                      <a:pt x="1020855" y="22012"/>
                      <a:pt x="1021961" y="24710"/>
                    </a:cubicBezTo>
                    <a:lnTo>
                      <a:pt x="1021408" y="26330"/>
                    </a:lnTo>
                    <a:lnTo>
                      <a:pt x="1022514" y="27409"/>
                    </a:lnTo>
                    <a:cubicBezTo>
                      <a:pt x="1026939" y="23631"/>
                      <a:pt x="1025279" y="14995"/>
                      <a:pt x="1031917" y="12837"/>
                    </a:cubicBezTo>
                    <a:cubicBezTo>
                      <a:pt x="1033576" y="13916"/>
                      <a:pt x="1036894" y="23631"/>
                      <a:pt x="1036894" y="25790"/>
                    </a:cubicBezTo>
                    <a:lnTo>
                      <a:pt x="1038554" y="26330"/>
                    </a:lnTo>
                    <a:cubicBezTo>
                      <a:pt x="1040766" y="21472"/>
                      <a:pt x="1045744" y="7439"/>
                      <a:pt x="1052934" y="10138"/>
                    </a:cubicBezTo>
                    <a:cubicBezTo>
                      <a:pt x="1053487" y="10678"/>
                      <a:pt x="1055146" y="11757"/>
                      <a:pt x="1055700" y="12837"/>
                    </a:cubicBezTo>
                    <a:lnTo>
                      <a:pt x="1054593" y="14456"/>
                    </a:lnTo>
                    <a:lnTo>
                      <a:pt x="1052381" y="15535"/>
                    </a:lnTo>
                    <a:lnTo>
                      <a:pt x="1051275" y="17154"/>
                    </a:lnTo>
                    <a:lnTo>
                      <a:pt x="1052381" y="18774"/>
                    </a:lnTo>
                    <a:cubicBezTo>
                      <a:pt x="1054593" y="19313"/>
                      <a:pt x="1059018" y="18234"/>
                      <a:pt x="1061230" y="17154"/>
                    </a:cubicBezTo>
                    <a:lnTo>
                      <a:pt x="1063443" y="17694"/>
                    </a:lnTo>
                    <a:lnTo>
                      <a:pt x="1063443" y="19313"/>
                    </a:lnTo>
                    <a:cubicBezTo>
                      <a:pt x="1059018" y="23091"/>
                      <a:pt x="1057912" y="19313"/>
                      <a:pt x="1054040" y="26869"/>
                    </a:cubicBezTo>
                    <a:lnTo>
                      <a:pt x="1054593" y="27949"/>
                    </a:lnTo>
                    <a:cubicBezTo>
                      <a:pt x="1061230" y="31727"/>
                      <a:pt x="1064549" y="24171"/>
                      <a:pt x="1069527" y="22552"/>
                    </a:cubicBezTo>
                    <a:cubicBezTo>
                      <a:pt x="1070633" y="22552"/>
                      <a:pt x="1076717" y="22552"/>
                      <a:pt x="1077823" y="23091"/>
                    </a:cubicBezTo>
                    <a:cubicBezTo>
                      <a:pt x="1080589" y="24710"/>
                      <a:pt x="1086120" y="39283"/>
                      <a:pt x="1093863" y="28489"/>
                    </a:cubicBezTo>
                    <a:cubicBezTo>
                      <a:pt x="1098288" y="27409"/>
                      <a:pt x="1102712" y="34426"/>
                      <a:pt x="1103265" y="38204"/>
                    </a:cubicBezTo>
                    <a:cubicBezTo>
                      <a:pt x="1104372" y="47379"/>
                      <a:pt x="1089991" y="47919"/>
                      <a:pt x="1085567" y="53316"/>
                    </a:cubicBezTo>
                    <a:cubicBezTo>
                      <a:pt x="1080036" y="59793"/>
                      <a:pt x="1079483" y="70047"/>
                      <a:pt x="1073952" y="76524"/>
                    </a:cubicBezTo>
                    <a:cubicBezTo>
                      <a:pt x="1068421" y="84080"/>
                      <a:pt x="1020302" y="85699"/>
                      <a:pt x="1016430" y="88398"/>
                    </a:cubicBezTo>
                    <a:lnTo>
                      <a:pt x="1015877" y="90017"/>
                    </a:lnTo>
                    <a:cubicBezTo>
                      <a:pt x="1019195" y="92716"/>
                      <a:pt x="1045744" y="98113"/>
                      <a:pt x="1051275" y="98653"/>
                    </a:cubicBezTo>
                    <a:cubicBezTo>
                      <a:pt x="1055700" y="98653"/>
                      <a:pt x="1061784" y="95414"/>
                      <a:pt x="1065102" y="95954"/>
                    </a:cubicBezTo>
                    <a:cubicBezTo>
                      <a:pt x="1070080" y="95954"/>
                      <a:pt x="1066761" y="100272"/>
                      <a:pt x="1066761" y="101891"/>
                    </a:cubicBezTo>
                    <a:cubicBezTo>
                      <a:pt x="1066761" y="105669"/>
                      <a:pt x="1070080" y="106209"/>
                      <a:pt x="1071186" y="108368"/>
                    </a:cubicBezTo>
                    <a:cubicBezTo>
                      <a:pt x="1071186" y="108368"/>
                      <a:pt x="1072845" y="118622"/>
                      <a:pt x="1072845" y="119162"/>
                    </a:cubicBezTo>
                    <a:cubicBezTo>
                      <a:pt x="1072845" y="119702"/>
                      <a:pt x="1071739" y="121861"/>
                      <a:pt x="1072292" y="122400"/>
                    </a:cubicBezTo>
                    <a:cubicBezTo>
                      <a:pt x="1072292" y="123480"/>
                      <a:pt x="1075058" y="124020"/>
                      <a:pt x="1076164" y="124020"/>
                    </a:cubicBezTo>
                    <a:cubicBezTo>
                      <a:pt x="1078929" y="124020"/>
                      <a:pt x="1081142" y="121321"/>
                      <a:pt x="1083907" y="120781"/>
                    </a:cubicBezTo>
                    <a:cubicBezTo>
                      <a:pt x="1086673" y="120242"/>
                      <a:pt x="1095522" y="119702"/>
                      <a:pt x="1097181" y="117003"/>
                    </a:cubicBezTo>
                    <a:cubicBezTo>
                      <a:pt x="1099394" y="112685"/>
                      <a:pt x="1089438" y="105669"/>
                      <a:pt x="1093863" y="100272"/>
                    </a:cubicBezTo>
                    <a:cubicBezTo>
                      <a:pt x="1100500" y="105129"/>
                      <a:pt x="1098841" y="109987"/>
                      <a:pt x="1103819" y="113765"/>
                    </a:cubicBezTo>
                    <a:cubicBezTo>
                      <a:pt x="1104372" y="114305"/>
                      <a:pt x="1106584" y="115384"/>
                      <a:pt x="1107137" y="114844"/>
                    </a:cubicBezTo>
                    <a:cubicBezTo>
                      <a:pt x="1107690" y="113765"/>
                      <a:pt x="1103265" y="104590"/>
                      <a:pt x="1109903" y="100272"/>
                    </a:cubicBezTo>
                    <a:cubicBezTo>
                      <a:pt x="1112115" y="100811"/>
                      <a:pt x="1116540" y="103510"/>
                      <a:pt x="1118752" y="102970"/>
                    </a:cubicBezTo>
                    <a:cubicBezTo>
                      <a:pt x="1121518" y="102970"/>
                      <a:pt x="1123730" y="99192"/>
                      <a:pt x="1127048" y="98653"/>
                    </a:cubicBezTo>
                    <a:lnTo>
                      <a:pt x="1128155" y="118622"/>
                    </a:lnTo>
                    <a:lnTo>
                      <a:pt x="1125942" y="129417"/>
                    </a:lnTo>
                    <a:lnTo>
                      <a:pt x="1119858" y="132655"/>
                    </a:lnTo>
                    <a:lnTo>
                      <a:pt x="1110456" y="130496"/>
                    </a:lnTo>
                    <a:close/>
                    <a:moveTo>
                      <a:pt x="852715" y="28489"/>
                    </a:moveTo>
                    <a:cubicBezTo>
                      <a:pt x="851609" y="26869"/>
                      <a:pt x="851609" y="25790"/>
                      <a:pt x="852162" y="24171"/>
                    </a:cubicBezTo>
                    <a:cubicBezTo>
                      <a:pt x="854927" y="18774"/>
                      <a:pt x="858799" y="23631"/>
                      <a:pt x="862117" y="24171"/>
                    </a:cubicBezTo>
                    <a:cubicBezTo>
                      <a:pt x="862670" y="24710"/>
                      <a:pt x="864883" y="24710"/>
                      <a:pt x="864883" y="24171"/>
                    </a:cubicBezTo>
                    <a:cubicBezTo>
                      <a:pt x="867095" y="22012"/>
                      <a:pt x="857693" y="16075"/>
                      <a:pt x="858246" y="15535"/>
                    </a:cubicBezTo>
                    <a:cubicBezTo>
                      <a:pt x="858799" y="14995"/>
                      <a:pt x="862117" y="14456"/>
                      <a:pt x="863777" y="14456"/>
                    </a:cubicBezTo>
                    <a:cubicBezTo>
                      <a:pt x="865989" y="14456"/>
                      <a:pt x="871520" y="14456"/>
                      <a:pt x="873179" y="14995"/>
                    </a:cubicBezTo>
                    <a:cubicBezTo>
                      <a:pt x="874285" y="16075"/>
                      <a:pt x="874285" y="20932"/>
                      <a:pt x="875945" y="22012"/>
                    </a:cubicBezTo>
                    <a:cubicBezTo>
                      <a:pt x="876498" y="22552"/>
                      <a:pt x="880369" y="22012"/>
                      <a:pt x="881476" y="22552"/>
                    </a:cubicBezTo>
                    <a:cubicBezTo>
                      <a:pt x="883688" y="25790"/>
                      <a:pt x="880369" y="26869"/>
                      <a:pt x="878710" y="29028"/>
                    </a:cubicBezTo>
                    <a:cubicBezTo>
                      <a:pt x="877604" y="30108"/>
                      <a:pt x="877051" y="32267"/>
                      <a:pt x="875945" y="33346"/>
                    </a:cubicBezTo>
                    <a:cubicBezTo>
                      <a:pt x="874838" y="34965"/>
                      <a:pt x="870414" y="37664"/>
                      <a:pt x="868754" y="38204"/>
                    </a:cubicBezTo>
                    <a:cubicBezTo>
                      <a:pt x="865989" y="38743"/>
                      <a:pt x="862117" y="35505"/>
                      <a:pt x="861011" y="33346"/>
                    </a:cubicBezTo>
                    <a:cubicBezTo>
                      <a:pt x="860458" y="32267"/>
                      <a:pt x="861011" y="30647"/>
                      <a:pt x="860458" y="30647"/>
                    </a:cubicBezTo>
                    <a:cubicBezTo>
                      <a:pt x="859352" y="29568"/>
                      <a:pt x="854374" y="29028"/>
                      <a:pt x="852715" y="28489"/>
                    </a:cubicBezTo>
                    <a:close/>
                    <a:moveTo>
                      <a:pt x="780813" y="122400"/>
                    </a:moveTo>
                    <a:lnTo>
                      <a:pt x="779707" y="121321"/>
                    </a:lnTo>
                    <a:cubicBezTo>
                      <a:pt x="779707" y="112146"/>
                      <a:pt x="785791" y="112146"/>
                      <a:pt x="789662" y="106209"/>
                    </a:cubicBezTo>
                    <a:cubicBezTo>
                      <a:pt x="790768" y="104050"/>
                      <a:pt x="791875" y="98653"/>
                      <a:pt x="792981" y="97573"/>
                    </a:cubicBezTo>
                    <a:cubicBezTo>
                      <a:pt x="794087" y="97033"/>
                      <a:pt x="797406" y="97573"/>
                      <a:pt x="797959" y="98653"/>
                    </a:cubicBezTo>
                    <a:cubicBezTo>
                      <a:pt x="799065" y="99732"/>
                      <a:pt x="801830" y="106748"/>
                      <a:pt x="802383" y="108907"/>
                    </a:cubicBezTo>
                    <a:cubicBezTo>
                      <a:pt x="803490" y="113765"/>
                      <a:pt x="800171" y="121321"/>
                      <a:pt x="799065" y="125639"/>
                    </a:cubicBezTo>
                    <a:cubicBezTo>
                      <a:pt x="799065" y="126178"/>
                      <a:pt x="799065" y="128877"/>
                      <a:pt x="798512" y="129417"/>
                    </a:cubicBezTo>
                    <a:cubicBezTo>
                      <a:pt x="797406" y="130496"/>
                      <a:pt x="795746" y="131576"/>
                      <a:pt x="794640" y="130496"/>
                    </a:cubicBezTo>
                    <a:cubicBezTo>
                      <a:pt x="793534" y="129957"/>
                      <a:pt x="793534" y="127258"/>
                      <a:pt x="792981" y="126718"/>
                    </a:cubicBezTo>
                    <a:cubicBezTo>
                      <a:pt x="790215" y="124020"/>
                      <a:pt x="784684" y="124020"/>
                      <a:pt x="780813" y="122400"/>
                    </a:cubicBezTo>
                    <a:close/>
                    <a:moveTo>
                      <a:pt x="744862" y="117543"/>
                    </a:moveTo>
                    <a:cubicBezTo>
                      <a:pt x="745415" y="117003"/>
                      <a:pt x="746521" y="116463"/>
                      <a:pt x="747074" y="115384"/>
                    </a:cubicBezTo>
                    <a:cubicBezTo>
                      <a:pt x="747074" y="114844"/>
                      <a:pt x="748180" y="110527"/>
                      <a:pt x="748180" y="110527"/>
                    </a:cubicBezTo>
                    <a:cubicBezTo>
                      <a:pt x="746521" y="106748"/>
                      <a:pt x="736565" y="110527"/>
                      <a:pt x="737672" y="104590"/>
                    </a:cubicBezTo>
                    <a:cubicBezTo>
                      <a:pt x="737672" y="101891"/>
                      <a:pt x="740990" y="102431"/>
                      <a:pt x="742649" y="101351"/>
                    </a:cubicBezTo>
                    <a:cubicBezTo>
                      <a:pt x="745968" y="99732"/>
                      <a:pt x="745968" y="94875"/>
                      <a:pt x="750393" y="94875"/>
                    </a:cubicBezTo>
                    <a:cubicBezTo>
                      <a:pt x="753711" y="94875"/>
                      <a:pt x="758136" y="97033"/>
                      <a:pt x="761455" y="95414"/>
                    </a:cubicBezTo>
                    <a:cubicBezTo>
                      <a:pt x="762008" y="95414"/>
                      <a:pt x="762561" y="94335"/>
                      <a:pt x="763114" y="93795"/>
                    </a:cubicBezTo>
                    <a:cubicBezTo>
                      <a:pt x="764220" y="92176"/>
                      <a:pt x="765879" y="91096"/>
                      <a:pt x="765879" y="88938"/>
                    </a:cubicBezTo>
                    <a:cubicBezTo>
                      <a:pt x="765879" y="87858"/>
                      <a:pt x="763667" y="85699"/>
                      <a:pt x="764773" y="84080"/>
                    </a:cubicBezTo>
                    <a:cubicBezTo>
                      <a:pt x="766432" y="81381"/>
                      <a:pt x="773623" y="85699"/>
                      <a:pt x="776388" y="84620"/>
                    </a:cubicBezTo>
                    <a:cubicBezTo>
                      <a:pt x="780260" y="82461"/>
                      <a:pt x="778047" y="72746"/>
                      <a:pt x="783025" y="70587"/>
                    </a:cubicBezTo>
                    <a:cubicBezTo>
                      <a:pt x="784684" y="71127"/>
                      <a:pt x="787450" y="73825"/>
                      <a:pt x="787450" y="75444"/>
                    </a:cubicBezTo>
                    <a:cubicBezTo>
                      <a:pt x="787450" y="80302"/>
                      <a:pt x="775835" y="102431"/>
                      <a:pt x="773623" y="105669"/>
                    </a:cubicBezTo>
                    <a:cubicBezTo>
                      <a:pt x="770857" y="109987"/>
                      <a:pt x="758689" y="112146"/>
                      <a:pt x="753711" y="113765"/>
                    </a:cubicBezTo>
                    <a:cubicBezTo>
                      <a:pt x="749840" y="115384"/>
                      <a:pt x="748733" y="120781"/>
                      <a:pt x="745968" y="119162"/>
                    </a:cubicBezTo>
                    <a:lnTo>
                      <a:pt x="744862" y="117543"/>
                    </a:lnTo>
                    <a:close/>
                    <a:moveTo>
                      <a:pt x="654708" y="198501"/>
                    </a:moveTo>
                    <a:cubicBezTo>
                      <a:pt x="654708" y="201740"/>
                      <a:pt x="654155" y="208216"/>
                      <a:pt x="652495" y="210375"/>
                    </a:cubicBezTo>
                    <a:cubicBezTo>
                      <a:pt x="650836" y="213074"/>
                      <a:pt x="640327" y="222249"/>
                      <a:pt x="637562" y="223329"/>
                    </a:cubicBezTo>
                    <a:cubicBezTo>
                      <a:pt x="634797" y="224408"/>
                      <a:pt x="624841" y="215233"/>
                      <a:pt x="623735" y="213074"/>
                    </a:cubicBezTo>
                    <a:cubicBezTo>
                      <a:pt x="622075" y="210375"/>
                      <a:pt x="625947" y="208216"/>
                      <a:pt x="627606" y="205518"/>
                    </a:cubicBezTo>
                    <a:cubicBezTo>
                      <a:pt x="628712" y="202819"/>
                      <a:pt x="628712" y="199041"/>
                      <a:pt x="630925" y="196343"/>
                    </a:cubicBezTo>
                    <a:cubicBezTo>
                      <a:pt x="633137" y="193104"/>
                      <a:pt x="640881" y="191485"/>
                      <a:pt x="644752" y="193104"/>
                    </a:cubicBezTo>
                    <a:cubicBezTo>
                      <a:pt x="645858" y="193644"/>
                      <a:pt x="646965" y="195803"/>
                      <a:pt x="648071" y="196343"/>
                    </a:cubicBezTo>
                    <a:cubicBezTo>
                      <a:pt x="649730" y="197422"/>
                      <a:pt x="652495" y="197422"/>
                      <a:pt x="654708" y="198501"/>
                    </a:cubicBezTo>
                    <a:close/>
                    <a:moveTo>
                      <a:pt x="613779" y="227107"/>
                    </a:moveTo>
                    <a:cubicBezTo>
                      <a:pt x="614332" y="226567"/>
                      <a:pt x="615438" y="226567"/>
                      <a:pt x="615991" y="226567"/>
                    </a:cubicBezTo>
                    <a:cubicBezTo>
                      <a:pt x="616544" y="226567"/>
                      <a:pt x="617098" y="227107"/>
                      <a:pt x="618204" y="227107"/>
                    </a:cubicBezTo>
                    <a:cubicBezTo>
                      <a:pt x="619863" y="228186"/>
                      <a:pt x="625394" y="229266"/>
                      <a:pt x="626500" y="230345"/>
                    </a:cubicBezTo>
                    <a:cubicBezTo>
                      <a:pt x="627606" y="230885"/>
                      <a:pt x="629266" y="234123"/>
                      <a:pt x="629819" y="235203"/>
                    </a:cubicBezTo>
                    <a:cubicBezTo>
                      <a:pt x="630925" y="238981"/>
                      <a:pt x="626500" y="247077"/>
                      <a:pt x="624288" y="250315"/>
                    </a:cubicBezTo>
                    <a:cubicBezTo>
                      <a:pt x="621522" y="253013"/>
                      <a:pt x="617098" y="253553"/>
                      <a:pt x="615438" y="256252"/>
                    </a:cubicBezTo>
                    <a:cubicBezTo>
                      <a:pt x="613779" y="256792"/>
                      <a:pt x="607695" y="256792"/>
                      <a:pt x="606036" y="256792"/>
                    </a:cubicBezTo>
                    <a:lnTo>
                      <a:pt x="603823" y="254633"/>
                    </a:lnTo>
                    <a:cubicBezTo>
                      <a:pt x="602717" y="250315"/>
                      <a:pt x="607695" y="249775"/>
                      <a:pt x="608801" y="247077"/>
                    </a:cubicBezTo>
                    <a:cubicBezTo>
                      <a:pt x="609354" y="244378"/>
                      <a:pt x="605483" y="240600"/>
                      <a:pt x="608801" y="238981"/>
                    </a:cubicBezTo>
                    <a:cubicBezTo>
                      <a:pt x="611014" y="237361"/>
                      <a:pt x="617651" y="237901"/>
                      <a:pt x="618204" y="234663"/>
                    </a:cubicBezTo>
                    <a:cubicBezTo>
                      <a:pt x="618757" y="230885"/>
                      <a:pt x="613779" y="231425"/>
                      <a:pt x="613779" y="227107"/>
                    </a:cubicBezTo>
                    <a:close/>
                    <a:moveTo>
                      <a:pt x="555151" y="320479"/>
                    </a:moveTo>
                    <a:cubicBezTo>
                      <a:pt x="555151" y="311843"/>
                      <a:pt x="561235" y="317241"/>
                      <a:pt x="564001" y="312383"/>
                    </a:cubicBezTo>
                    <a:cubicBezTo>
                      <a:pt x="565107" y="310764"/>
                      <a:pt x="566766" y="305367"/>
                      <a:pt x="566213" y="303747"/>
                    </a:cubicBezTo>
                    <a:cubicBezTo>
                      <a:pt x="565660" y="302668"/>
                      <a:pt x="561788" y="301049"/>
                      <a:pt x="561235" y="299969"/>
                    </a:cubicBezTo>
                    <a:cubicBezTo>
                      <a:pt x="560682" y="298350"/>
                      <a:pt x="561235" y="293493"/>
                      <a:pt x="561235" y="291874"/>
                    </a:cubicBezTo>
                    <a:cubicBezTo>
                      <a:pt x="560682" y="290254"/>
                      <a:pt x="557364" y="287016"/>
                      <a:pt x="557364" y="285937"/>
                    </a:cubicBezTo>
                    <a:cubicBezTo>
                      <a:pt x="557364" y="284857"/>
                      <a:pt x="557364" y="284317"/>
                      <a:pt x="557917" y="283778"/>
                    </a:cubicBezTo>
                    <a:cubicBezTo>
                      <a:pt x="560682" y="280000"/>
                      <a:pt x="567872" y="280000"/>
                      <a:pt x="570085" y="278380"/>
                    </a:cubicBezTo>
                    <a:cubicBezTo>
                      <a:pt x="572850" y="276222"/>
                      <a:pt x="567319" y="270285"/>
                      <a:pt x="571744" y="267586"/>
                    </a:cubicBezTo>
                    <a:cubicBezTo>
                      <a:pt x="572850" y="266507"/>
                      <a:pt x="579487" y="265967"/>
                      <a:pt x="581700" y="264887"/>
                    </a:cubicBezTo>
                    <a:cubicBezTo>
                      <a:pt x="583912" y="263808"/>
                      <a:pt x="586124" y="262189"/>
                      <a:pt x="588337" y="261109"/>
                    </a:cubicBezTo>
                    <a:cubicBezTo>
                      <a:pt x="594974" y="258411"/>
                      <a:pt x="593868" y="271364"/>
                      <a:pt x="595527" y="275142"/>
                    </a:cubicBezTo>
                    <a:cubicBezTo>
                      <a:pt x="596633" y="277841"/>
                      <a:pt x="601058" y="278380"/>
                      <a:pt x="601058" y="282159"/>
                    </a:cubicBezTo>
                    <a:cubicBezTo>
                      <a:pt x="601058" y="285397"/>
                      <a:pt x="598846" y="296731"/>
                      <a:pt x="597186" y="299430"/>
                    </a:cubicBezTo>
                    <a:cubicBezTo>
                      <a:pt x="596080" y="301589"/>
                      <a:pt x="590549" y="302128"/>
                      <a:pt x="588890" y="303747"/>
                    </a:cubicBezTo>
                    <a:cubicBezTo>
                      <a:pt x="588337" y="303747"/>
                      <a:pt x="587784" y="304287"/>
                      <a:pt x="587231" y="304827"/>
                    </a:cubicBezTo>
                    <a:cubicBezTo>
                      <a:pt x="585571" y="305906"/>
                      <a:pt x="581147" y="305367"/>
                      <a:pt x="579487" y="306986"/>
                    </a:cubicBezTo>
                    <a:cubicBezTo>
                      <a:pt x="576722" y="309684"/>
                      <a:pt x="573403" y="319399"/>
                      <a:pt x="571191" y="321558"/>
                    </a:cubicBezTo>
                    <a:cubicBezTo>
                      <a:pt x="570085" y="322638"/>
                      <a:pt x="566213" y="321558"/>
                      <a:pt x="565107" y="321558"/>
                    </a:cubicBezTo>
                    <a:cubicBezTo>
                      <a:pt x="562341" y="321558"/>
                      <a:pt x="556811" y="323717"/>
                      <a:pt x="555151" y="320479"/>
                    </a:cubicBezTo>
                    <a:close/>
                    <a:moveTo>
                      <a:pt x="499289" y="337210"/>
                    </a:moveTo>
                    <a:cubicBezTo>
                      <a:pt x="499289" y="335591"/>
                      <a:pt x="499842" y="333972"/>
                      <a:pt x="500395" y="332353"/>
                    </a:cubicBezTo>
                    <a:cubicBezTo>
                      <a:pt x="501501" y="328575"/>
                      <a:pt x="513116" y="305906"/>
                      <a:pt x="514222" y="304287"/>
                    </a:cubicBezTo>
                    <a:cubicBezTo>
                      <a:pt x="515329" y="303208"/>
                      <a:pt x="518647" y="303208"/>
                      <a:pt x="519753" y="303747"/>
                    </a:cubicBezTo>
                    <a:cubicBezTo>
                      <a:pt x="521413" y="304827"/>
                      <a:pt x="521413" y="312383"/>
                      <a:pt x="521413" y="314002"/>
                    </a:cubicBezTo>
                    <a:cubicBezTo>
                      <a:pt x="519753" y="318860"/>
                      <a:pt x="512010" y="331813"/>
                      <a:pt x="508692" y="336131"/>
                    </a:cubicBezTo>
                    <a:cubicBezTo>
                      <a:pt x="507585" y="337210"/>
                      <a:pt x="505926" y="338290"/>
                      <a:pt x="504820" y="339369"/>
                    </a:cubicBezTo>
                    <a:cubicBezTo>
                      <a:pt x="503161" y="341528"/>
                      <a:pt x="504267" y="343147"/>
                      <a:pt x="503161" y="344766"/>
                    </a:cubicBezTo>
                    <a:cubicBezTo>
                      <a:pt x="503161" y="345306"/>
                      <a:pt x="502054" y="345846"/>
                      <a:pt x="501501" y="345846"/>
                    </a:cubicBezTo>
                    <a:cubicBezTo>
                      <a:pt x="498736" y="345846"/>
                      <a:pt x="498736" y="339369"/>
                      <a:pt x="499289" y="337210"/>
                    </a:cubicBezTo>
                    <a:close/>
                    <a:moveTo>
                      <a:pt x="489886" y="355021"/>
                    </a:moveTo>
                    <a:cubicBezTo>
                      <a:pt x="489886" y="355561"/>
                      <a:pt x="489333" y="357180"/>
                      <a:pt x="489886" y="357720"/>
                    </a:cubicBezTo>
                    <a:cubicBezTo>
                      <a:pt x="490993" y="360958"/>
                      <a:pt x="496523" y="365276"/>
                      <a:pt x="497630" y="369054"/>
                    </a:cubicBezTo>
                    <a:cubicBezTo>
                      <a:pt x="498183" y="371213"/>
                      <a:pt x="495970" y="378229"/>
                      <a:pt x="494311" y="380388"/>
                    </a:cubicBezTo>
                    <a:cubicBezTo>
                      <a:pt x="493205" y="382547"/>
                      <a:pt x="486568" y="387944"/>
                      <a:pt x="484355" y="389024"/>
                    </a:cubicBezTo>
                    <a:cubicBezTo>
                      <a:pt x="483802" y="389563"/>
                      <a:pt x="481590" y="389024"/>
                      <a:pt x="481037" y="388484"/>
                    </a:cubicBezTo>
                    <a:cubicBezTo>
                      <a:pt x="480484" y="388484"/>
                      <a:pt x="479378" y="387405"/>
                      <a:pt x="479378" y="386865"/>
                    </a:cubicBezTo>
                    <a:cubicBezTo>
                      <a:pt x="479378" y="385785"/>
                      <a:pt x="481590" y="378229"/>
                      <a:pt x="482143" y="377690"/>
                    </a:cubicBezTo>
                    <a:cubicBezTo>
                      <a:pt x="482696" y="376610"/>
                      <a:pt x="484355" y="376070"/>
                      <a:pt x="484909" y="374991"/>
                    </a:cubicBezTo>
                    <a:cubicBezTo>
                      <a:pt x="485462" y="373372"/>
                      <a:pt x="484355" y="372292"/>
                      <a:pt x="483249" y="372292"/>
                    </a:cubicBezTo>
                    <a:cubicBezTo>
                      <a:pt x="481037" y="372292"/>
                      <a:pt x="469975" y="378769"/>
                      <a:pt x="467210" y="379848"/>
                    </a:cubicBezTo>
                    <a:cubicBezTo>
                      <a:pt x="466657" y="380388"/>
                      <a:pt x="466103" y="381468"/>
                      <a:pt x="464997" y="382007"/>
                    </a:cubicBezTo>
                    <a:lnTo>
                      <a:pt x="462232" y="382007"/>
                    </a:lnTo>
                    <a:cubicBezTo>
                      <a:pt x="461679" y="382007"/>
                      <a:pt x="459466" y="381468"/>
                      <a:pt x="459466" y="380928"/>
                    </a:cubicBezTo>
                    <a:cubicBezTo>
                      <a:pt x="458913" y="377690"/>
                      <a:pt x="462785" y="370133"/>
                      <a:pt x="462785" y="366355"/>
                    </a:cubicBezTo>
                    <a:cubicBezTo>
                      <a:pt x="463338" y="365276"/>
                      <a:pt x="461679" y="364196"/>
                      <a:pt x="463338" y="363117"/>
                    </a:cubicBezTo>
                    <a:cubicBezTo>
                      <a:pt x="464997" y="361498"/>
                      <a:pt x="470528" y="363657"/>
                      <a:pt x="473294" y="363117"/>
                    </a:cubicBezTo>
                    <a:cubicBezTo>
                      <a:pt x="474953" y="362577"/>
                      <a:pt x="479378" y="359339"/>
                      <a:pt x="480484" y="358260"/>
                    </a:cubicBezTo>
                    <a:cubicBezTo>
                      <a:pt x="485462" y="352862"/>
                      <a:pt x="474953" y="344766"/>
                      <a:pt x="478825" y="340988"/>
                    </a:cubicBezTo>
                    <a:cubicBezTo>
                      <a:pt x="481590" y="338829"/>
                      <a:pt x="488227" y="343687"/>
                      <a:pt x="489886" y="345846"/>
                    </a:cubicBezTo>
                    <a:cubicBezTo>
                      <a:pt x="491546" y="349084"/>
                      <a:pt x="490439" y="351783"/>
                      <a:pt x="489886" y="355021"/>
                    </a:cubicBezTo>
                    <a:close/>
                    <a:moveTo>
                      <a:pt x="512010" y="397120"/>
                    </a:moveTo>
                    <a:cubicBezTo>
                      <a:pt x="508138" y="394421"/>
                      <a:pt x="504267" y="401437"/>
                      <a:pt x="502608" y="403596"/>
                    </a:cubicBezTo>
                    <a:cubicBezTo>
                      <a:pt x="501501" y="405215"/>
                      <a:pt x="500948" y="406835"/>
                      <a:pt x="499842" y="407914"/>
                    </a:cubicBezTo>
                    <a:cubicBezTo>
                      <a:pt x="498736" y="410073"/>
                      <a:pt x="497630" y="416010"/>
                      <a:pt x="495417" y="417089"/>
                    </a:cubicBezTo>
                    <a:cubicBezTo>
                      <a:pt x="495417" y="417629"/>
                      <a:pt x="493205" y="417629"/>
                      <a:pt x="492652" y="417629"/>
                    </a:cubicBezTo>
                    <a:cubicBezTo>
                      <a:pt x="490993" y="416010"/>
                      <a:pt x="493205" y="409533"/>
                      <a:pt x="494311" y="407914"/>
                    </a:cubicBezTo>
                    <a:cubicBezTo>
                      <a:pt x="494864" y="406295"/>
                      <a:pt x="495417" y="405215"/>
                      <a:pt x="496523" y="403596"/>
                    </a:cubicBezTo>
                    <a:cubicBezTo>
                      <a:pt x="497077" y="402517"/>
                      <a:pt x="497077" y="400898"/>
                      <a:pt x="498183" y="399278"/>
                    </a:cubicBezTo>
                    <a:cubicBezTo>
                      <a:pt x="498183" y="398199"/>
                      <a:pt x="499289" y="397659"/>
                      <a:pt x="499289" y="396580"/>
                    </a:cubicBezTo>
                    <a:cubicBezTo>
                      <a:pt x="503161" y="387405"/>
                      <a:pt x="509245" y="367975"/>
                      <a:pt x="509798" y="358260"/>
                    </a:cubicBezTo>
                    <a:cubicBezTo>
                      <a:pt x="509798" y="357720"/>
                      <a:pt x="507585" y="352862"/>
                      <a:pt x="508138" y="349084"/>
                    </a:cubicBezTo>
                    <a:cubicBezTo>
                      <a:pt x="508138" y="346925"/>
                      <a:pt x="512563" y="344227"/>
                      <a:pt x="514776" y="343687"/>
                    </a:cubicBezTo>
                    <a:cubicBezTo>
                      <a:pt x="521413" y="341528"/>
                      <a:pt x="516435" y="355561"/>
                      <a:pt x="517541" y="358260"/>
                    </a:cubicBezTo>
                    <a:cubicBezTo>
                      <a:pt x="517541" y="359879"/>
                      <a:pt x="522519" y="360418"/>
                      <a:pt x="523072" y="364196"/>
                    </a:cubicBezTo>
                    <a:cubicBezTo>
                      <a:pt x="523072" y="366355"/>
                      <a:pt x="520860" y="371213"/>
                      <a:pt x="520860" y="373372"/>
                    </a:cubicBezTo>
                    <a:cubicBezTo>
                      <a:pt x="521413" y="373911"/>
                      <a:pt x="522519" y="374991"/>
                      <a:pt x="523072" y="374991"/>
                    </a:cubicBezTo>
                    <a:cubicBezTo>
                      <a:pt x="524178" y="374991"/>
                      <a:pt x="526944" y="373372"/>
                      <a:pt x="527497" y="372832"/>
                    </a:cubicBezTo>
                    <a:cubicBezTo>
                      <a:pt x="534134" y="366355"/>
                      <a:pt x="523625" y="359879"/>
                      <a:pt x="531921" y="352862"/>
                    </a:cubicBezTo>
                    <a:cubicBezTo>
                      <a:pt x="533028" y="351783"/>
                      <a:pt x="537452" y="348005"/>
                      <a:pt x="539112" y="347465"/>
                    </a:cubicBezTo>
                    <a:cubicBezTo>
                      <a:pt x="539665" y="347465"/>
                      <a:pt x="542983" y="348005"/>
                      <a:pt x="543536" y="348544"/>
                    </a:cubicBezTo>
                    <a:cubicBezTo>
                      <a:pt x="544643" y="350164"/>
                      <a:pt x="546855" y="357180"/>
                      <a:pt x="546855" y="359339"/>
                    </a:cubicBezTo>
                    <a:cubicBezTo>
                      <a:pt x="547408" y="362038"/>
                      <a:pt x="547961" y="370673"/>
                      <a:pt x="547408" y="373372"/>
                    </a:cubicBezTo>
                    <a:cubicBezTo>
                      <a:pt x="547408" y="374451"/>
                      <a:pt x="545749" y="377150"/>
                      <a:pt x="544643" y="378229"/>
                    </a:cubicBezTo>
                    <a:cubicBezTo>
                      <a:pt x="542430" y="379848"/>
                      <a:pt x="537452" y="381468"/>
                      <a:pt x="535793" y="383627"/>
                    </a:cubicBezTo>
                    <a:cubicBezTo>
                      <a:pt x="534687" y="384706"/>
                      <a:pt x="533581" y="389563"/>
                      <a:pt x="533028" y="391183"/>
                    </a:cubicBezTo>
                    <a:cubicBezTo>
                      <a:pt x="532474" y="392802"/>
                      <a:pt x="531368" y="404136"/>
                      <a:pt x="527497" y="402517"/>
                    </a:cubicBezTo>
                    <a:cubicBezTo>
                      <a:pt x="524731" y="401437"/>
                      <a:pt x="528603" y="393881"/>
                      <a:pt x="525284" y="393342"/>
                    </a:cubicBezTo>
                    <a:cubicBezTo>
                      <a:pt x="521966" y="394961"/>
                      <a:pt x="521413" y="408454"/>
                      <a:pt x="518094" y="412772"/>
                    </a:cubicBezTo>
                    <a:cubicBezTo>
                      <a:pt x="516435" y="413851"/>
                      <a:pt x="508138" y="414930"/>
                      <a:pt x="508138" y="412232"/>
                    </a:cubicBezTo>
                    <a:cubicBezTo>
                      <a:pt x="508692" y="411152"/>
                      <a:pt x="513116" y="403596"/>
                      <a:pt x="513669" y="401437"/>
                    </a:cubicBezTo>
                    <a:cubicBezTo>
                      <a:pt x="513669" y="400358"/>
                      <a:pt x="512563" y="398199"/>
                      <a:pt x="512010" y="397120"/>
                    </a:cubicBezTo>
                    <a:close/>
                    <a:moveTo>
                      <a:pt x="212787" y="992974"/>
                    </a:moveTo>
                    <a:lnTo>
                      <a:pt x="212787" y="991895"/>
                    </a:lnTo>
                    <a:cubicBezTo>
                      <a:pt x="212234" y="989736"/>
                      <a:pt x="208916" y="985958"/>
                      <a:pt x="210575" y="984878"/>
                    </a:cubicBezTo>
                    <a:cubicBezTo>
                      <a:pt x="212787" y="982719"/>
                      <a:pt x="220531" y="982719"/>
                      <a:pt x="223296" y="983259"/>
                    </a:cubicBezTo>
                    <a:cubicBezTo>
                      <a:pt x="223849" y="983259"/>
                      <a:pt x="224402" y="984878"/>
                      <a:pt x="224955" y="985418"/>
                    </a:cubicBezTo>
                    <a:cubicBezTo>
                      <a:pt x="227721" y="985958"/>
                      <a:pt x="235464" y="983799"/>
                      <a:pt x="237676" y="985958"/>
                    </a:cubicBezTo>
                    <a:cubicBezTo>
                      <a:pt x="239336" y="987577"/>
                      <a:pt x="236017" y="991355"/>
                      <a:pt x="235464" y="991895"/>
                    </a:cubicBezTo>
                    <a:cubicBezTo>
                      <a:pt x="234358" y="992974"/>
                      <a:pt x="232699" y="992974"/>
                      <a:pt x="232145" y="994054"/>
                    </a:cubicBezTo>
                    <a:cubicBezTo>
                      <a:pt x="229933" y="995673"/>
                      <a:pt x="229380" y="998371"/>
                      <a:pt x="227168" y="999451"/>
                    </a:cubicBezTo>
                    <a:cubicBezTo>
                      <a:pt x="226061" y="1000530"/>
                      <a:pt x="223296" y="1000530"/>
                      <a:pt x="221637" y="1001070"/>
                    </a:cubicBezTo>
                    <a:cubicBezTo>
                      <a:pt x="216659" y="1003229"/>
                      <a:pt x="211681" y="1007547"/>
                      <a:pt x="206150" y="1006467"/>
                    </a:cubicBezTo>
                    <a:cubicBezTo>
                      <a:pt x="204491" y="1006467"/>
                      <a:pt x="195641" y="1003769"/>
                      <a:pt x="195088" y="1003229"/>
                    </a:cubicBezTo>
                    <a:cubicBezTo>
                      <a:pt x="194535" y="1002689"/>
                      <a:pt x="194535" y="1001610"/>
                      <a:pt x="195088" y="1001070"/>
                    </a:cubicBezTo>
                    <a:lnTo>
                      <a:pt x="199513" y="996752"/>
                    </a:lnTo>
                    <a:cubicBezTo>
                      <a:pt x="203938" y="995133"/>
                      <a:pt x="208363" y="994593"/>
                      <a:pt x="212787" y="992974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0" name="Freeform 1062">
                <a:extLst>
                  <a:ext uri="{FF2B5EF4-FFF2-40B4-BE49-F238E27FC236}">
                    <a16:creationId xmlns:a16="http://schemas.microsoft.com/office/drawing/2014/main" id="{E12478D2-A110-4A1B-83CE-41413525DF53}"/>
                  </a:ext>
                </a:extLst>
              </p:cNvPr>
              <p:cNvSpPr/>
              <p:nvPr/>
            </p:nvSpPr>
            <p:spPr>
              <a:xfrm>
                <a:off x="5855411" y="3517979"/>
                <a:ext cx="295904" cy="318976"/>
              </a:xfrm>
              <a:custGeom>
                <a:avLst/>
                <a:gdLst>
                  <a:gd name="connsiteX0" fmla="*/ 63525 w 295904"/>
                  <a:gd name="connsiteY0" fmla="*/ 232309 h 318976"/>
                  <a:gd name="connsiteX1" fmla="*/ 50804 w 295904"/>
                  <a:gd name="connsiteY1" fmla="*/ 229611 h 318976"/>
                  <a:gd name="connsiteX2" fmla="*/ 44167 w 295904"/>
                  <a:gd name="connsiteY2" fmla="*/ 232849 h 318976"/>
                  <a:gd name="connsiteX3" fmla="*/ 38636 w 295904"/>
                  <a:gd name="connsiteY3" fmla="*/ 231770 h 318976"/>
                  <a:gd name="connsiteX4" fmla="*/ 35317 w 295904"/>
                  <a:gd name="connsiteY4" fmla="*/ 229611 h 318976"/>
                  <a:gd name="connsiteX5" fmla="*/ 19831 w 295904"/>
                  <a:gd name="connsiteY5" fmla="*/ 224753 h 318976"/>
                  <a:gd name="connsiteX6" fmla="*/ 18724 w 295904"/>
                  <a:gd name="connsiteY6" fmla="*/ 213959 h 318976"/>
                  <a:gd name="connsiteX7" fmla="*/ 40295 w 295904"/>
                  <a:gd name="connsiteY7" fmla="*/ 213419 h 318976"/>
                  <a:gd name="connsiteX8" fmla="*/ 43614 w 295904"/>
                  <a:gd name="connsiteY8" fmla="*/ 219896 h 318976"/>
                  <a:gd name="connsiteX9" fmla="*/ 59653 w 295904"/>
                  <a:gd name="connsiteY9" fmla="*/ 225293 h 318976"/>
                  <a:gd name="connsiteX10" fmla="*/ 62972 w 295904"/>
                  <a:gd name="connsiteY10" fmla="*/ 229611 h 318976"/>
                  <a:gd name="connsiteX11" fmla="*/ 63525 w 295904"/>
                  <a:gd name="connsiteY11" fmla="*/ 232309 h 318976"/>
                  <a:gd name="connsiteX12" fmla="*/ 180780 w 295904"/>
                  <a:gd name="connsiteY12" fmla="*/ 312728 h 318976"/>
                  <a:gd name="connsiteX13" fmla="*/ 186864 w 295904"/>
                  <a:gd name="connsiteY13" fmla="*/ 272789 h 318976"/>
                  <a:gd name="connsiteX14" fmla="*/ 187418 w 295904"/>
                  <a:gd name="connsiteY14" fmla="*/ 268471 h 318976"/>
                  <a:gd name="connsiteX15" fmla="*/ 175803 w 295904"/>
                  <a:gd name="connsiteY15" fmla="*/ 263074 h 318976"/>
                  <a:gd name="connsiteX16" fmla="*/ 174143 w 295904"/>
                  <a:gd name="connsiteY16" fmla="*/ 258756 h 318976"/>
                  <a:gd name="connsiteX17" fmla="*/ 170272 w 295904"/>
                  <a:gd name="connsiteY17" fmla="*/ 251739 h 318976"/>
                  <a:gd name="connsiteX18" fmla="*/ 151467 w 295904"/>
                  <a:gd name="connsiteY18" fmla="*/ 256597 h 318976"/>
                  <a:gd name="connsiteX19" fmla="*/ 147042 w 295904"/>
                  <a:gd name="connsiteY19" fmla="*/ 256057 h 318976"/>
                  <a:gd name="connsiteX20" fmla="*/ 137086 w 295904"/>
                  <a:gd name="connsiteY20" fmla="*/ 243104 h 318976"/>
                  <a:gd name="connsiteX21" fmla="*/ 119940 w 295904"/>
                  <a:gd name="connsiteY21" fmla="*/ 238786 h 318976"/>
                  <a:gd name="connsiteX22" fmla="*/ 115516 w 295904"/>
                  <a:gd name="connsiteY22" fmla="*/ 233389 h 318976"/>
                  <a:gd name="connsiteX23" fmla="*/ 103901 w 295904"/>
                  <a:gd name="connsiteY23" fmla="*/ 235548 h 318976"/>
                  <a:gd name="connsiteX24" fmla="*/ 96710 w 295904"/>
                  <a:gd name="connsiteY24" fmla="*/ 232309 h 318976"/>
                  <a:gd name="connsiteX25" fmla="*/ 85649 w 295904"/>
                  <a:gd name="connsiteY25" fmla="*/ 233389 h 318976"/>
                  <a:gd name="connsiteX26" fmla="*/ 86755 w 295904"/>
                  <a:gd name="connsiteY26" fmla="*/ 254978 h 318976"/>
                  <a:gd name="connsiteX27" fmla="*/ 77905 w 295904"/>
                  <a:gd name="connsiteY27" fmla="*/ 253359 h 318976"/>
                  <a:gd name="connsiteX28" fmla="*/ 43060 w 295904"/>
                  <a:gd name="connsiteY28" fmla="*/ 261454 h 318976"/>
                  <a:gd name="connsiteX29" fmla="*/ 32552 w 295904"/>
                  <a:gd name="connsiteY29" fmla="*/ 253359 h 318976"/>
                  <a:gd name="connsiteX30" fmla="*/ 22043 w 295904"/>
                  <a:gd name="connsiteY30" fmla="*/ 250120 h 318976"/>
                  <a:gd name="connsiteX31" fmla="*/ 16512 w 295904"/>
                  <a:gd name="connsiteY31" fmla="*/ 252279 h 318976"/>
                  <a:gd name="connsiteX32" fmla="*/ 10981 w 295904"/>
                  <a:gd name="connsiteY32" fmla="*/ 251200 h 318976"/>
                  <a:gd name="connsiteX33" fmla="*/ 7110 w 295904"/>
                  <a:gd name="connsiteY33" fmla="*/ 246342 h 318976"/>
                  <a:gd name="connsiteX34" fmla="*/ -634 w 295904"/>
                  <a:gd name="connsiteY34" fmla="*/ 236627 h 318976"/>
                  <a:gd name="connsiteX35" fmla="*/ 24255 w 295904"/>
                  <a:gd name="connsiteY35" fmla="*/ 235008 h 318976"/>
                  <a:gd name="connsiteX36" fmla="*/ 27021 w 295904"/>
                  <a:gd name="connsiteY36" fmla="*/ 238246 h 318976"/>
                  <a:gd name="connsiteX37" fmla="*/ 39742 w 295904"/>
                  <a:gd name="connsiteY37" fmla="*/ 243104 h 318976"/>
                  <a:gd name="connsiteX38" fmla="*/ 56335 w 295904"/>
                  <a:gd name="connsiteY38" fmla="*/ 238246 h 318976"/>
                  <a:gd name="connsiteX39" fmla="*/ 78458 w 295904"/>
                  <a:gd name="connsiteY39" fmla="*/ 252819 h 318976"/>
                  <a:gd name="connsiteX40" fmla="*/ 80118 w 295904"/>
                  <a:gd name="connsiteY40" fmla="*/ 250120 h 318976"/>
                  <a:gd name="connsiteX41" fmla="*/ 76246 w 295904"/>
                  <a:gd name="connsiteY41" fmla="*/ 238786 h 318976"/>
                  <a:gd name="connsiteX42" fmla="*/ 73481 w 295904"/>
                  <a:gd name="connsiteY42" fmla="*/ 233929 h 318976"/>
                  <a:gd name="connsiteX43" fmla="*/ 76799 w 295904"/>
                  <a:gd name="connsiteY43" fmla="*/ 227452 h 318976"/>
                  <a:gd name="connsiteX44" fmla="*/ 57994 w 295904"/>
                  <a:gd name="connsiteY44" fmla="*/ 217737 h 318976"/>
                  <a:gd name="connsiteX45" fmla="*/ 57441 w 295904"/>
                  <a:gd name="connsiteY45" fmla="*/ 215578 h 318976"/>
                  <a:gd name="connsiteX46" fmla="*/ 64078 w 295904"/>
                  <a:gd name="connsiteY46" fmla="*/ 215038 h 318976"/>
                  <a:gd name="connsiteX47" fmla="*/ 93392 w 295904"/>
                  <a:gd name="connsiteY47" fmla="*/ 202085 h 318976"/>
                  <a:gd name="connsiteX48" fmla="*/ 94498 w 295904"/>
                  <a:gd name="connsiteY48" fmla="*/ 199926 h 318976"/>
                  <a:gd name="connsiteX49" fmla="*/ 90626 w 295904"/>
                  <a:gd name="connsiteY49" fmla="*/ 195608 h 318976"/>
                  <a:gd name="connsiteX50" fmla="*/ 62419 w 295904"/>
                  <a:gd name="connsiteY50" fmla="*/ 183734 h 318976"/>
                  <a:gd name="connsiteX51" fmla="*/ 61866 w 295904"/>
                  <a:gd name="connsiteY51" fmla="*/ 167003 h 318976"/>
                  <a:gd name="connsiteX52" fmla="*/ 76799 w 295904"/>
                  <a:gd name="connsiteY52" fmla="*/ 160526 h 318976"/>
                  <a:gd name="connsiteX53" fmla="*/ 97264 w 295904"/>
                  <a:gd name="connsiteY53" fmla="*/ 127063 h 318976"/>
                  <a:gd name="connsiteX54" fmla="*/ 100582 w 295904"/>
                  <a:gd name="connsiteY54" fmla="*/ 122746 h 318976"/>
                  <a:gd name="connsiteX55" fmla="*/ 105560 w 295904"/>
                  <a:gd name="connsiteY55" fmla="*/ 108713 h 318976"/>
                  <a:gd name="connsiteX56" fmla="*/ 116622 w 295904"/>
                  <a:gd name="connsiteY56" fmla="*/ 59598 h 318976"/>
                  <a:gd name="connsiteX57" fmla="*/ 126024 w 295904"/>
                  <a:gd name="connsiteY57" fmla="*/ 62297 h 318976"/>
                  <a:gd name="connsiteX58" fmla="*/ 134874 w 295904"/>
                  <a:gd name="connsiteY58" fmla="*/ 58518 h 318976"/>
                  <a:gd name="connsiteX59" fmla="*/ 138745 w 295904"/>
                  <a:gd name="connsiteY59" fmla="*/ 70932 h 318976"/>
                  <a:gd name="connsiteX60" fmla="*/ 145936 w 295904"/>
                  <a:gd name="connsiteY60" fmla="*/ 74170 h 318976"/>
                  <a:gd name="connsiteX61" fmla="*/ 152020 w 295904"/>
                  <a:gd name="connsiteY61" fmla="*/ 80647 h 318976"/>
                  <a:gd name="connsiteX62" fmla="*/ 150913 w 295904"/>
                  <a:gd name="connsiteY62" fmla="*/ 88743 h 318976"/>
                  <a:gd name="connsiteX63" fmla="*/ 135427 w 295904"/>
                  <a:gd name="connsiteY63" fmla="*/ 96299 h 318976"/>
                  <a:gd name="connsiteX64" fmla="*/ 132661 w 295904"/>
                  <a:gd name="connsiteY64" fmla="*/ 109252 h 318976"/>
                  <a:gd name="connsiteX65" fmla="*/ 135427 w 295904"/>
                  <a:gd name="connsiteY65" fmla="*/ 118967 h 318976"/>
                  <a:gd name="connsiteX66" fmla="*/ 130449 w 295904"/>
                  <a:gd name="connsiteY66" fmla="*/ 127603 h 318976"/>
                  <a:gd name="connsiteX67" fmla="*/ 130449 w 295904"/>
                  <a:gd name="connsiteY67" fmla="*/ 130302 h 318976"/>
                  <a:gd name="connsiteX68" fmla="*/ 137086 w 295904"/>
                  <a:gd name="connsiteY68" fmla="*/ 137858 h 318976"/>
                  <a:gd name="connsiteX69" fmla="*/ 154232 w 295904"/>
                  <a:gd name="connsiteY69" fmla="*/ 142715 h 318976"/>
                  <a:gd name="connsiteX70" fmla="*/ 165847 w 295904"/>
                  <a:gd name="connsiteY70" fmla="*/ 142176 h 318976"/>
                  <a:gd name="connsiteX71" fmla="*/ 172484 w 295904"/>
                  <a:gd name="connsiteY71" fmla="*/ 139477 h 318976"/>
                  <a:gd name="connsiteX72" fmla="*/ 181334 w 295904"/>
                  <a:gd name="connsiteY72" fmla="*/ 128682 h 318976"/>
                  <a:gd name="connsiteX73" fmla="*/ 191842 w 295904"/>
                  <a:gd name="connsiteY73" fmla="*/ 118967 h 318976"/>
                  <a:gd name="connsiteX74" fmla="*/ 194055 w 295904"/>
                  <a:gd name="connsiteY74" fmla="*/ 111411 h 318976"/>
                  <a:gd name="connsiteX75" fmla="*/ 196820 w 295904"/>
                  <a:gd name="connsiteY75" fmla="*/ 103315 h 318976"/>
                  <a:gd name="connsiteX76" fmla="*/ 193502 w 295904"/>
                  <a:gd name="connsiteY76" fmla="*/ 97918 h 318976"/>
                  <a:gd name="connsiteX77" fmla="*/ 182440 w 295904"/>
                  <a:gd name="connsiteY77" fmla="*/ 88743 h 318976"/>
                  <a:gd name="connsiteX78" fmla="*/ 182993 w 295904"/>
                  <a:gd name="connsiteY78" fmla="*/ 70392 h 318976"/>
                  <a:gd name="connsiteX79" fmla="*/ 164188 w 295904"/>
                  <a:gd name="connsiteY79" fmla="*/ 64455 h 318976"/>
                  <a:gd name="connsiteX80" fmla="*/ 161422 w 295904"/>
                  <a:gd name="connsiteY80" fmla="*/ 45025 h 318976"/>
                  <a:gd name="connsiteX81" fmla="*/ 160869 w 295904"/>
                  <a:gd name="connsiteY81" fmla="*/ 41247 h 318976"/>
                  <a:gd name="connsiteX82" fmla="*/ 170272 w 295904"/>
                  <a:gd name="connsiteY82" fmla="*/ 28834 h 318976"/>
                  <a:gd name="connsiteX83" fmla="*/ 200139 w 295904"/>
                  <a:gd name="connsiteY83" fmla="*/ 7784 h 318976"/>
                  <a:gd name="connsiteX84" fmla="*/ 210647 w 295904"/>
                  <a:gd name="connsiteY84" fmla="*/ 5086 h 318976"/>
                  <a:gd name="connsiteX85" fmla="*/ 227240 w 295904"/>
                  <a:gd name="connsiteY85" fmla="*/ 8324 h 318976"/>
                  <a:gd name="connsiteX86" fmla="*/ 250470 w 295904"/>
                  <a:gd name="connsiteY86" fmla="*/ -311 h 318976"/>
                  <a:gd name="connsiteX87" fmla="*/ 265403 w 295904"/>
                  <a:gd name="connsiteY87" fmla="*/ 768 h 318976"/>
                  <a:gd name="connsiteX88" fmla="*/ 273700 w 295904"/>
                  <a:gd name="connsiteY88" fmla="*/ 14801 h 318976"/>
                  <a:gd name="connsiteX89" fmla="*/ 287527 w 295904"/>
                  <a:gd name="connsiteY89" fmla="*/ 23976 h 318976"/>
                  <a:gd name="connsiteX90" fmla="*/ 291399 w 295904"/>
                  <a:gd name="connsiteY90" fmla="*/ 24516 h 318976"/>
                  <a:gd name="connsiteX91" fmla="*/ 295270 w 295904"/>
                  <a:gd name="connsiteY91" fmla="*/ 54201 h 318976"/>
                  <a:gd name="connsiteX92" fmla="*/ 289740 w 295904"/>
                  <a:gd name="connsiteY92" fmla="*/ 66075 h 318976"/>
                  <a:gd name="connsiteX93" fmla="*/ 279231 w 295904"/>
                  <a:gd name="connsiteY93" fmla="*/ 99537 h 318976"/>
                  <a:gd name="connsiteX94" fmla="*/ 260979 w 295904"/>
                  <a:gd name="connsiteY94" fmla="*/ 95759 h 318976"/>
                  <a:gd name="connsiteX95" fmla="*/ 257107 w 295904"/>
                  <a:gd name="connsiteY95" fmla="*/ 117888 h 318976"/>
                  <a:gd name="connsiteX96" fmla="*/ 280890 w 295904"/>
                  <a:gd name="connsiteY96" fmla="*/ 122746 h 318976"/>
                  <a:gd name="connsiteX97" fmla="*/ 278678 w 295904"/>
                  <a:gd name="connsiteY97" fmla="*/ 143255 h 318976"/>
                  <a:gd name="connsiteX98" fmla="*/ 276465 w 295904"/>
                  <a:gd name="connsiteY98" fmla="*/ 148652 h 318976"/>
                  <a:gd name="connsiteX99" fmla="*/ 261532 w 295904"/>
                  <a:gd name="connsiteY99" fmla="*/ 160526 h 318976"/>
                  <a:gd name="connsiteX100" fmla="*/ 258213 w 295904"/>
                  <a:gd name="connsiteY100" fmla="*/ 165923 h 318976"/>
                  <a:gd name="connsiteX101" fmla="*/ 265957 w 295904"/>
                  <a:gd name="connsiteY101" fmla="*/ 172940 h 318976"/>
                  <a:gd name="connsiteX102" fmla="*/ 261532 w 295904"/>
                  <a:gd name="connsiteY102" fmla="*/ 185353 h 318976"/>
                  <a:gd name="connsiteX103" fmla="*/ 250470 w 295904"/>
                  <a:gd name="connsiteY103" fmla="*/ 183734 h 318976"/>
                  <a:gd name="connsiteX104" fmla="*/ 241621 w 295904"/>
                  <a:gd name="connsiteY104" fmla="*/ 187512 h 318976"/>
                  <a:gd name="connsiteX105" fmla="*/ 232218 w 295904"/>
                  <a:gd name="connsiteY105" fmla="*/ 191290 h 318976"/>
                  <a:gd name="connsiteX106" fmla="*/ 213413 w 295904"/>
                  <a:gd name="connsiteY106" fmla="*/ 184274 h 318976"/>
                  <a:gd name="connsiteX107" fmla="*/ 199586 w 295904"/>
                  <a:gd name="connsiteY107" fmla="*/ 197227 h 318976"/>
                  <a:gd name="connsiteX108" fmla="*/ 207882 w 295904"/>
                  <a:gd name="connsiteY108" fmla="*/ 198847 h 318976"/>
                  <a:gd name="connsiteX109" fmla="*/ 220603 w 295904"/>
                  <a:gd name="connsiteY109" fmla="*/ 242564 h 318976"/>
                  <a:gd name="connsiteX110" fmla="*/ 213966 w 295904"/>
                  <a:gd name="connsiteY110" fmla="*/ 265232 h 318976"/>
                  <a:gd name="connsiteX111" fmla="*/ 215072 w 295904"/>
                  <a:gd name="connsiteY111" fmla="*/ 275487 h 318976"/>
                  <a:gd name="connsiteX112" fmla="*/ 202351 w 295904"/>
                  <a:gd name="connsiteY112" fmla="*/ 284123 h 318976"/>
                  <a:gd name="connsiteX113" fmla="*/ 199032 w 295904"/>
                  <a:gd name="connsiteY113" fmla="*/ 292758 h 318976"/>
                  <a:gd name="connsiteX114" fmla="*/ 210094 w 295904"/>
                  <a:gd name="connsiteY114" fmla="*/ 297076 h 318976"/>
                  <a:gd name="connsiteX115" fmla="*/ 203457 w 295904"/>
                  <a:gd name="connsiteY115" fmla="*/ 318665 h 318976"/>
                  <a:gd name="connsiteX116" fmla="*/ 180780 w 295904"/>
                  <a:gd name="connsiteY116" fmla="*/ 312728 h 318976"/>
                  <a:gd name="connsiteX117" fmla="*/ 155338 w 295904"/>
                  <a:gd name="connsiteY117" fmla="*/ 111951 h 318976"/>
                  <a:gd name="connsiteX118" fmla="*/ 173037 w 295904"/>
                  <a:gd name="connsiteY118" fmla="*/ 102236 h 318976"/>
                  <a:gd name="connsiteX119" fmla="*/ 178568 w 295904"/>
                  <a:gd name="connsiteY119" fmla="*/ 103315 h 318976"/>
                  <a:gd name="connsiteX120" fmla="*/ 180780 w 295904"/>
                  <a:gd name="connsiteY120" fmla="*/ 113031 h 318976"/>
                  <a:gd name="connsiteX121" fmla="*/ 170825 w 295904"/>
                  <a:gd name="connsiteY121" fmla="*/ 123825 h 318976"/>
                  <a:gd name="connsiteX122" fmla="*/ 150360 w 295904"/>
                  <a:gd name="connsiteY122" fmla="*/ 118967 h 318976"/>
                  <a:gd name="connsiteX123" fmla="*/ 155338 w 295904"/>
                  <a:gd name="connsiteY123" fmla="*/ 111951 h 318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295904" h="318976">
                    <a:moveTo>
                      <a:pt x="63525" y="232309"/>
                    </a:moveTo>
                    <a:cubicBezTo>
                      <a:pt x="62419" y="232309"/>
                      <a:pt x="53569" y="229071"/>
                      <a:pt x="50804" y="229611"/>
                    </a:cubicBezTo>
                    <a:cubicBezTo>
                      <a:pt x="49145" y="229611"/>
                      <a:pt x="46379" y="232309"/>
                      <a:pt x="44167" y="232849"/>
                    </a:cubicBezTo>
                    <a:cubicBezTo>
                      <a:pt x="43060" y="232849"/>
                      <a:pt x="39742" y="232309"/>
                      <a:pt x="38636" y="231770"/>
                    </a:cubicBezTo>
                    <a:cubicBezTo>
                      <a:pt x="37530" y="231770"/>
                      <a:pt x="36423" y="230150"/>
                      <a:pt x="35317" y="229611"/>
                    </a:cubicBezTo>
                    <a:cubicBezTo>
                      <a:pt x="30339" y="227452"/>
                      <a:pt x="24255" y="226912"/>
                      <a:pt x="19831" y="224753"/>
                    </a:cubicBezTo>
                    <a:cubicBezTo>
                      <a:pt x="15959" y="222594"/>
                      <a:pt x="13194" y="216657"/>
                      <a:pt x="18724" y="213959"/>
                    </a:cubicBezTo>
                    <a:cubicBezTo>
                      <a:pt x="23702" y="211800"/>
                      <a:pt x="35870" y="209101"/>
                      <a:pt x="40295" y="213419"/>
                    </a:cubicBezTo>
                    <a:cubicBezTo>
                      <a:pt x="41401" y="214498"/>
                      <a:pt x="41954" y="218816"/>
                      <a:pt x="43614" y="219896"/>
                    </a:cubicBezTo>
                    <a:cubicBezTo>
                      <a:pt x="46932" y="222594"/>
                      <a:pt x="54675" y="220975"/>
                      <a:pt x="59653" y="225293"/>
                    </a:cubicBezTo>
                    <a:cubicBezTo>
                      <a:pt x="60759" y="226372"/>
                      <a:pt x="62419" y="228531"/>
                      <a:pt x="62972" y="229611"/>
                    </a:cubicBezTo>
                    <a:cubicBezTo>
                      <a:pt x="62972" y="229611"/>
                      <a:pt x="64078" y="231770"/>
                      <a:pt x="63525" y="232309"/>
                    </a:cubicBezTo>
                    <a:close/>
                    <a:moveTo>
                      <a:pt x="180780" y="312728"/>
                    </a:moveTo>
                    <a:cubicBezTo>
                      <a:pt x="180780" y="305172"/>
                      <a:pt x="181334" y="277106"/>
                      <a:pt x="186864" y="272789"/>
                    </a:cubicBezTo>
                    <a:lnTo>
                      <a:pt x="187418" y="268471"/>
                    </a:lnTo>
                    <a:lnTo>
                      <a:pt x="175803" y="263074"/>
                    </a:lnTo>
                    <a:lnTo>
                      <a:pt x="174143" y="258756"/>
                    </a:lnTo>
                    <a:lnTo>
                      <a:pt x="170272" y="251739"/>
                    </a:lnTo>
                    <a:lnTo>
                      <a:pt x="151467" y="256597"/>
                    </a:lnTo>
                    <a:lnTo>
                      <a:pt x="147042" y="256057"/>
                    </a:lnTo>
                    <a:lnTo>
                      <a:pt x="137086" y="243104"/>
                    </a:lnTo>
                    <a:lnTo>
                      <a:pt x="119940" y="238786"/>
                    </a:lnTo>
                    <a:lnTo>
                      <a:pt x="115516" y="233389"/>
                    </a:lnTo>
                    <a:lnTo>
                      <a:pt x="103901" y="235548"/>
                    </a:lnTo>
                    <a:lnTo>
                      <a:pt x="96710" y="232309"/>
                    </a:lnTo>
                    <a:lnTo>
                      <a:pt x="85649" y="233389"/>
                    </a:lnTo>
                    <a:lnTo>
                      <a:pt x="86755" y="254978"/>
                    </a:lnTo>
                    <a:lnTo>
                      <a:pt x="77905" y="253359"/>
                    </a:lnTo>
                    <a:lnTo>
                      <a:pt x="43060" y="261454"/>
                    </a:lnTo>
                    <a:lnTo>
                      <a:pt x="32552" y="253359"/>
                    </a:lnTo>
                    <a:lnTo>
                      <a:pt x="22043" y="250120"/>
                    </a:lnTo>
                    <a:lnTo>
                      <a:pt x="16512" y="252279"/>
                    </a:lnTo>
                    <a:lnTo>
                      <a:pt x="10981" y="251200"/>
                    </a:lnTo>
                    <a:lnTo>
                      <a:pt x="7110" y="246342"/>
                    </a:lnTo>
                    <a:lnTo>
                      <a:pt x="-634" y="236627"/>
                    </a:lnTo>
                    <a:cubicBezTo>
                      <a:pt x="2132" y="236627"/>
                      <a:pt x="21490" y="233389"/>
                      <a:pt x="24255" y="235008"/>
                    </a:cubicBezTo>
                    <a:cubicBezTo>
                      <a:pt x="25362" y="235548"/>
                      <a:pt x="25915" y="237167"/>
                      <a:pt x="27021" y="238246"/>
                    </a:cubicBezTo>
                    <a:cubicBezTo>
                      <a:pt x="28680" y="239326"/>
                      <a:pt x="37530" y="242564"/>
                      <a:pt x="39742" y="243104"/>
                    </a:cubicBezTo>
                    <a:cubicBezTo>
                      <a:pt x="45273" y="244723"/>
                      <a:pt x="49698" y="237707"/>
                      <a:pt x="56335" y="238246"/>
                    </a:cubicBezTo>
                    <a:cubicBezTo>
                      <a:pt x="66843" y="239326"/>
                      <a:pt x="67397" y="256057"/>
                      <a:pt x="78458" y="252819"/>
                    </a:cubicBezTo>
                    <a:cubicBezTo>
                      <a:pt x="79011" y="252279"/>
                      <a:pt x="80118" y="251200"/>
                      <a:pt x="80118" y="250120"/>
                    </a:cubicBezTo>
                    <a:cubicBezTo>
                      <a:pt x="80118" y="249041"/>
                      <a:pt x="76799" y="240405"/>
                      <a:pt x="76246" y="238786"/>
                    </a:cubicBezTo>
                    <a:cubicBezTo>
                      <a:pt x="75693" y="237707"/>
                      <a:pt x="73481" y="235008"/>
                      <a:pt x="73481" y="233929"/>
                    </a:cubicBezTo>
                    <a:cubicBezTo>
                      <a:pt x="74034" y="231770"/>
                      <a:pt x="79011" y="230690"/>
                      <a:pt x="76799" y="227452"/>
                    </a:cubicBezTo>
                    <a:cubicBezTo>
                      <a:pt x="74587" y="222594"/>
                      <a:pt x="60759" y="220435"/>
                      <a:pt x="57994" y="217737"/>
                    </a:cubicBezTo>
                    <a:cubicBezTo>
                      <a:pt x="57994" y="217737"/>
                      <a:pt x="57441" y="216118"/>
                      <a:pt x="57441" y="215578"/>
                    </a:cubicBezTo>
                    <a:cubicBezTo>
                      <a:pt x="58547" y="214498"/>
                      <a:pt x="62972" y="215038"/>
                      <a:pt x="64078" y="215038"/>
                    </a:cubicBezTo>
                    <a:cubicBezTo>
                      <a:pt x="69609" y="213419"/>
                      <a:pt x="88967" y="204783"/>
                      <a:pt x="93392" y="202085"/>
                    </a:cubicBezTo>
                    <a:cubicBezTo>
                      <a:pt x="93945" y="201545"/>
                      <a:pt x="93945" y="200466"/>
                      <a:pt x="94498" y="199926"/>
                    </a:cubicBezTo>
                    <a:cubicBezTo>
                      <a:pt x="93392" y="198307"/>
                      <a:pt x="91733" y="196148"/>
                      <a:pt x="90626" y="195608"/>
                    </a:cubicBezTo>
                    <a:cubicBezTo>
                      <a:pt x="85649" y="192370"/>
                      <a:pt x="65184" y="186433"/>
                      <a:pt x="62419" y="183734"/>
                    </a:cubicBezTo>
                    <a:cubicBezTo>
                      <a:pt x="60206" y="182115"/>
                      <a:pt x="61866" y="169701"/>
                      <a:pt x="61866" y="167003"/>
                    </a:cubicBezTo>
                    <a:cubicBezTo>
                      <a:pt x="66290" y="164844"/>
                      <a:pt x="72927" y="163225"/>
                      <a:pt x="76799" y="160526"/>
                    </a:cubicBezTo>
                    <a:cubicBezTo>
                      <a:pt x="80118" y="158367"/>
                      <a:pt x="94498" y="132461"/>
                      <a:pt x="97264" y="127063"/>
                    </a:cubicBezTo>
                    <a:cubicBezTo>
                      <a:pt x="98370" y="125444"/>
                      <a:pt x="98923" y="123825"/>
                      <a:pt x="100582" y="122746"/>
                    </a:cubicBezTo>
                    <a:cubicBezTo>
                      <a:pt x="102794" y="118428"/>
                      <a:pt x="104454" y="113570"/>
                      <a:pt x="105560" y="108713"/>
                    </a:cubicBezTo>
                    <a:cubicBezTo>
                      <a:pt x="107772" y="101157"/>
                      <a:pt x="114962" y="62836"/>
                      <a:pt x="116622" y="59598"/>
                    </a:cubicBezTo>
                    <a:cubicBezTo>
                      <a:pt x="117728" y="56899"/>
                      <a:pt x="121600" y="62836"/>
                      <a:pt x="126024" y="62297"/>
                    </a:cubicBezTo>
                    <a:cubicBezTo>
                      <a:pt x="127684" y="61757"/>
                      <a:pt x="133214" y="57979"/>
                      <a:pt x="134874" y="58518"/>
                    </a:cubicBezTo>
                    <a:cubicBezTo>
                      <a:pt x="137086" y="59598"/>
                      <a:pt x="133768" y="67154"/>
                      <a:pt x="138745" y="70932"/>
                    </a:cubicBezTo>
                    <a:cubicBezTo>
                      <a:pt x="140405" y="72551"/>
                      <a:pt x="143723" y="72551"/>
                      <a:pt x="145936" y="74170"/>
                    </a:cubicBezTo>
                    <a:cubicBezTo>
                      <a:pt x="147595" y="75250"/>
                      <a:pt x="151467" y="79028"/>
                      <a:pt x="152020" y="80647"/>
                    </a:cubicBezTo>
                    <a:cubicBezTo>
                      <a:pt x="152573" y="82266"/>
                      <a:pt x="152020" y="87664"/>
                      <a:pt x="150913" y="88743"/>
                    </a:cubicBezTo>
                    <a:cubicBezTo>
                      <a:pt x="147595" y="91981"/>
                      <a:pt x="139299" y="93600"/>
                      <a:pt x="135427" y="96299"/>
                    </a:cubicBezTo>
                    <a:cubicBezTo>
                      <a:pt x="133214" y="98458"/>
                      <a:pt x="132108" y="106014"/>
                      <a:pt x="132661" y="109252"/>
                    </a:cubicBezTo>
                    <a:cubicBezTo>
                      <a:pt x="132661" y="111411"/>
                      <a:pt x="135427" y="116809"/>
                      <a:pt x="135427" y="118967"/>
                    </a:cubicBezTo>
                    <a:cubicBezTo>
                      <a:pt x="134874" y="122206"/>
                      <a:pt x="131555" y="124904"/>
                      <a:pt x="130449" y="127603"/>
                    </a:cubicBezTo>
                    <a:cubicBezTo>
                      <a:pt x="129896" y="128143"/>
                      <a:pt x="130449" y="129222"/>
                      <a:pt x="130449" y="130302"/>
                    </a:cubicBezTo>
                    <a:cubicBezTo>
                      <a:pt x="130449" y="131921"/>
                      <a:pt x="135427" y="136778"/>
                      <a:pt x="137086" y="137858"/>
                    </a:cubicBezTo>
                    <a:cubicBezTo>
                      <a:pt x="140405" y="138937"/>
                      <a:pt x="150913" y="142176"/>
                      <a:pt x="154232" y="142715"/>
                    </a:cubicBezTo>
                    <a:cubicBezTo>
                      <a:pt x="156444" y="143255"/>
                      <a:pt x="163635" y="142715"/>
                      <a:pt x="165847" y="142176"/>
                    </a:cubicBezTo>
                    <a:cubicBezTo>
                      <a:pt x="166953" y="141636"/>
                      <a:pt x="171378" y="140017"/>
                      <a:pt x="172484" y="139477"/>
                    </a:cubicBezTo>
                    <a:cubicBezTo>
                      <a:pt x="174696" y="137318"/>
                      <a:pt x="179674" y="130302"/>
                      <a:pt x="181334" y="128682"/>
                    </a:cubicBezTo>
                    <a:cubicBezTo>
                      <a:pt x="183546" y="126524"/>
                      <a:pt x="190183" y="121126"/>
                      <a:pt x="191842" y="118967"/>
                    </a:cubicBezTo>
                    <a:cubicBezTo>
                      <a:pt x="192395" y="117348"/>
                      <a:pt x="194055" y="113031"/>
                      <a:pt x="194055" y="111411"/>
                    </a:cubicBezTo>
                    <a:cubicBezTo>
                      <a:pt x="195161" y="109792"/>
                      <a:pt x="196820" y="104935"/>
                      <a:pt x="196820" y="103315"/>
                    </a:cubicBezTo>
                    <a:cubicBezTo>
                      <a:pt x="196820" y="102236"/>
                      <a:pt x="194608" y="98998"/>
                      <a:pt x="193502" y="97918"/>
                    </a:cubicBezTo>
                    <a:cubicBezTo>
                      <a:pt x="191842" y="94140"/>
                      <a:pt x="184099" y="92521"/>
                      <a:pt x="182440" y="88743"/>
                    </a:cubicBezTo>
                    <a:cubicBezTo>
                      <a:pt x="181334" y="85505"/>
                      <a:pt x="182440" y="73631"/>
                      <a:pt x="182993" y="70392"/>
                    </a:cubicBezTo>
                    <a:cubicBezTo>
                      <a:pt x="179121" y="65535"/>
                      <a:pt x="168059" y="68233"/>
                      <a:pt x="164188" y="64455"/>
                    </a:cubicBezTo>
                    <a:cubicBezTo>
                      <a:pt x="160869" y="60677"/>
                      <a:pt x="165294" y="50423"/>
                      <a:pt x="161422" y="45025"/>
                    </a:cubicBezTo>
                    <a:cubicBezTo>
                      <a:pt x="160316" y="43946"/>
                      <a:pt x="160316" y="42327"/>
                      <a:pt x="160869" y="41247"/>
                    </a:cubicBezTo>
                    <a:cubicBezTo>
                      <a:pt x="161422" y="39628"/>
                      <a:pt x="168612" y="30453"/>
                      <a:pt x="170272" y="28834"/>
                    </a:cubicBezTo>
                    <a:cubicBezTo>
                      <a:pt x="175249" y="23976"/>
                      <a:pt x="194055" y="10483"/>
                      <a:pt x="200139" y="7784"/>
                    </a:cubicBezTo>
                    <a:cubicBezTo>
                      <a:pt x="202351" y="6705"/>
                      <a:pt x="208435" y="5086"/>
                      <a:pt x="210647" y="5086"/>
                    </a:cubicBezTo>
                    <a:cubicBezTo>
                      <a:pt x="215625" y="5086"/>
                      <a:pt x="222262" y="7245"/>
                      <a:pt x="227240" y="8324"/>
                    </a:cubicBezTo>
                    <a:cubicBezTo>
                      <a:pt x="233877" y="5086"/>
                      <a:pt x="242727" y="228"/>
                      <a:pt x="250470" y="-311"/>
                    </a:cubicBezTo>
                    <a:cubicBezTo>
                      <a:pt x="252682" y="-311"/>
                      <a:pt x="263744" y="228"/>
                      <a:pt x="265403" y="768"/>
                    </a:cubicBezTo>
                    <a:cubicBezTo>
                      <a:pt x="268169" y="1848"/>
                      <a:pt x="271488" y="11563"/>
                      <a:pt x="273700" y="14801"/>
                    </a:cubicBezTo>
                    <a:cubicBezTo>
                      <a:pt x="275359" y="16420"/>
                      <a:pt x="285315" y="23436"/>
                      <a:pt x="287527" y="23976"/>
                    </a:cubicBezTo>
                    <a:cubicBezTo>
                      <a:pt x="288080" y="24516"/>
                      <a:pt x="290293" y="24516"/>
                      <a:pt x="291399" y="24516"/>
                    </a:cubicBezTo>
                    <a:lnTo>
                      <a:pt x="295270" y="54201"/>
                    </a:lnTo>
                    <a:lnTo>
                      <a:pt x="289740" y="66075"/>
                    </a:lnTo>
                    <a:lnTo>
                      <a:pt x="279231" y="99537"/>
                    </a:lnTo>
                    <a:lnTo>
                      <a:pt x="260979" y="95759"/>
                    </a:lnTo>
                    <a:lnTo>
                      <a:pt x="257107" y="117888"/>
                    </a:lnTo>
                    <a:lnTo>
                      <a:pt x="280890" y="122746"/>
                    </a:lnTo>
                    <a:lnTo>
                      <a:pt x="278678" y="143255"/>
                    </a:lnTo>
                    <a:lnTo>
                      <a:pt x="276465" y="148652"/>
                    </a:lnTo>
                    <a:lnTo>
                      <a:pt x="261532" y="160526"/>
                    </a:lnTo>
                    <a:lnTo>
                      <a:pt x="258213" y="165923"/>
                    </a:lnTo>
                    <a:lnTo>
                      <a:pt x="265957" y="172940"/>
                    </a:lnTo>
                    <a:lnTo>
                      <a:pt x="261532" y="185353"/>
                    </a:lnTo>
                    <a:lnTo>
                      <a:pt x="250470" y="183734"/>
                    </a:lnTo>
                    <a:lnTo>
                      <a:pt x="241621" y="187512"/>
                    </a:lnTo>
                    <a:lnTo>
                      <a:pt x="232218" y="191290"/>
                    </a:lnTo>
                    <a:lnTo>
                      <a:pt x="213413" y="184274"/>
                    </a:lnTo>
                    <a:lnTo>
                      <a:pt x="199586" y="197227"/>
                    </a:lnTo>
                    <a:lnTo>
                      <a:pt x="207882" y="198847"/>
                    </a:lnTo>
                    <a:lnTo>
                      <a:pt x="220603" y="242564"/>
                    </a:lnTo>
                    <a:lnTo>
                      <a:pt x="213966" y="265232"/>
                    </a:lnTo>
                    <a:lnTo>
                      <a:pt x="215072" y="275487"/>
                    </a:lnTo>
                    <a:lnTo>
                      <a:pt x="202351" y="284123"/>
                    </a:lnTo>
                    <a:lnTo>
                      <a:pt x="199032" y="292758"/>
                    </a:lnTo>
                    <a:lnTo>
                      <a:pt x="210094" y="297076"/>
                    </a:lnTo>
                    <a:lnTo>
                      <a:pt x="203457" y="318665"/>
                    </a:lnTo>
                    <a:lnTo>
                      <a:pt x="180780" y="312728"/>
                    </a:lnTo>
                    <a:close/>
                    <a:moveTo>
                      <a:pt x="155338" y="111951"/>
                    </a:moveTo>
                    <a:cubicBezTo>
                      <a:pt x="157551" y="109792"/>
                      <a:pt x="169719" y="103315"/>
                      <a:pt x="173037" y="102236"/>
                    </a:cubicBezTo>
                    <a:cubicBezTo>
                      <a:pt x="174143" y="101696"/>
                      <a:pt x="177462" y="102776"/>
                      <a:pt x="178568" y="103315"/>
                    </a:cubicBezTo>
                    <a:cubicBezTo>
                      <a:pt x="181887" y="104935"/>
                      <a:pt x="182440" y="109792"/>
                      <a:pt x="180780" y="113031"/>
                    </a:cubicBezTo>
                    <a:cubicBezTo>
                      <a:pt x="179674" y="114650"/>
                      <a:pt x="172484" y="122206"/>
                      <a:pt x="170825" y="123825"/>
                    </a:cubicBezTo>
                    <a:cubicBezTo>
                      <a:pt x="164741" y="128143"/>
                      <a:pt x="148148" y="127603"/>
                      <a:pt x="150360" y="118967"/>
                    </a:cubicBezTo>
                    <a:cubicBezTo>
                      <a:pt x="150913" y="117348"/>
                      <a:pt x="153679" y="112491"/>
                      <a:pt x="155338" y="111951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1" name="Freeform 1063">
                <a:extLst>
                  <a:ext uri="{FF2B5EF4-FFF2-40B4-BE49-F238E27FC236}">
                    <a16:creationId xmlns:a16="http://schemas.microsoft.com/office/drawing/2014/main" id="{7068C154-EA3C-4A3D-910D-F44CE99116AA}"/>
                  </a:ext>
                </a:extLst>
              </p:cNvPr>
              <p:cNvSpPr/>
              <p:nvPr/>
            </p:nvSpPr>
            <p:spPr>
              <a:xfrm>
                <a:off x="6845445" y="5522512"/>
                <a:ext cx="38716" cy="30224"/>
              </a:xfrm>
              <a:custGeom>
                <a:avLst/>
                <a:gdLst>
                  <a:gd name="connsiteX0" fmla="*/ -741 w 38716"/>
                  <a:gd name="connsiteY0" fmla="*/ -550 h 30224"/>
                  <a:gd name="connsiteX1" fmla="*/ 2024 w 38716"/>
                  <a:gd name="connsiteY1" fmla="*/ 5927 h 30224"/>
                  <a:gd name="connsiteX2" fmla="*/ 8661 w 38716"/>
                  <a:gd name="connsiteY2" fmla="*/ 3229 h 30224"/>
                  <a:gd name="connsiteX3" fmla="*/ -741 w 38716"/>
                  <a:gd name="connsiteY3" fmla="*/ -550 h 30224"/>
                  <a:gd name="connsiteX4" fmla="*/ 13639 w 38716"/>
                  <a:gd name="connsiteY4" fmla="*/ 17801 h 30224"/>
                  <a:gd name="connsiteX5" fmla="*/ 23595 w 38716"/>
                  <a:gd name="connsiteY5" fmla="*/ 22659 h 30224"/>
                  <a:gd name="connsiteX6" fmla="*/ 31891 w 38716"/>
                  <a:gd name="connsiteY6" fmla="*/ 29675 h 30224"/>
                  <a:gd name="connsiteX7" fmla="*/ 37975 w 38716"/>
                  <a:gd name="connsiteY7" fmla="*/ 22659 h 30224"/>
                  <a:gd name="connsiteX8" fmla="*/ 34103 w 38716"/>
                  <a:gd name="connsiteY8" fmla="*/ 11324 h 30224"/>
                  <a:gd name="connsiteX9" fmla="*/ 26360 w 38716"/>
                  <a:gd name="connsiteY9" fmla="*/ 5387 h 30224"/>
                  <a:gd name="connsiteX10" fmla="*/ 18064 w 38716"/>
                  <a:gd name="connsiteY10" fmla="*/ 3229 h 30224"/>
                  <a:gd name="connsiteX11" fmla="*/ 10320 w 38716"/>
                  <a:gd name="connsiteY11" fmla="*/ 8626 h 30224"/>
                  <a:gd name="connsiteX12" fmla="*/ 13639 w 38716"/>
                  <a:gd name="connsiteY12" fmla="*/ 17801 h 30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716" h="30224">
                    <a:moveTo>
                      <a:pt x="-741" y="-550"/>
                    </a:moveTo>
                    <a:lnTo>
                      <a:pt x="2024" y="5927"/>
                    </a:lnTo>
                    <a:lnTo>
                      <a:pt x="8661" y="3229"/>
                    </a:lnTo>
                    <a:lnTo>
                      <a:pt x="-741" y="-550"/>
                    </a:lnTo>
                    <a:close/>
                    <a:moveTo>
                      <a:pt x="13639" y="17801"/>
                    </a:moveTo>
                    <a:lnTo>
                      <a:pt x="23595" y="22659"/>
                    </a:lnTo>
                    <a:lnTo>
                      <a:pt x="31891" y="29675"/>
                    </a:lnTo>
                    <a:lnTo>
                      <a:pt x="37975" y="22659"/>
                    </a:lnTo>
                    <a:lnTo>
                      <a:pt x="34103" y="11324"/>
                    </a:lnTo>
                    <a:lnTo>
                      <a:pt x="26360" y="5387"/>
                    </a:lnTo>
                    <a:lnTo>
                      <a:pt x="18064" y="3229"/>
                    </a:lnTo>
                    <a:lnTo>
                      <a:pt x="10320" y="8626"/>
                    </a:lnTo>
                    <a:lnTo>
                      <a:pt x="13639" y="17801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2" name="Freeform 1064">
                <a:extLst>
                  <a:ext uri="{FF2B5EF4-FFF2-40B4-BE49-F238E27FC236}">
                    <a16:creationId xmlns:a16="http://schemas.microsoft.com/office/drawing/2014/main" id="{06D3D22C-B643-49BE-BD98-8626F3C4C1FE}"/>
                  </a:ext>
                </a:extLst>
              </p:cNvPr>
              <p:cNvSpPr/>
              <p:nvPr/>
            </p:nvSpPr>
            <p:spPr>
              <a:xfrm>
                <a:off x="7342675" y="4708609"/>
                <a:ext cx="226767" cy="198078"/>
              </a:xfrm>
              <a:custGeom>
                <a:avLst/>
                <a:gdLst>
                  <a:gd name="connsiteX0" fmla="*/ 225952 w 226767"/>
                  <a:gd name="connsiteY0" fmla="*/ 109647 h 198078"/>
                  <a:gd name="connsiteX1" fmla="*/ 206594 w 226767"/>
                  <a:gd name="connsiteY1" fmla="*/ 115045 h 198078"/>
                  <a:gd name="connsiteX2" fmla="*/ 206041 w 226767"/>
                  <a:gd name="connsiteY2" fmla="*/ 131236 h 198078"/>
                  <a:gd name="connsiteX3" fmla="*/ 176174 w 226767"/>
                  <a:gd name="connsiteY3" fmla="*/ 144730 h 198078"/>
                  <a:gd name="connsiteX4" fmla="*/ 143542 w 226767"/>
                  <a:gd name="connsiteY4" fmla="*/ 145809 h 198078"/>
                  <a:gd name="connsiteX5" fmla="*/ 124184 w 226767"/>
                  <a:gd name="connsiteY5" fmla="*/ 176033 h 198078"/>
                  <a:gd name="connsiteX6" fmla="*/ 108144 w 226767"/>
                  <a:gd name="connsiteY6" fmla="*/ 185748 h 198078"/>
                  <a:gd name="connsiteX7" fmla="*/ 89892 w 226767"/>
                  <a:gd name="connsiteY7" fmla="*/ 186288 h 198078"/>
                  <a:gd name="connsiteX8" fmla="*/ 57259 w 226767"/>
                  <a:gd name="connsiteY8" fmla="*/ 197622 h 198078"/>
                  <a:gd name="connsiteX9" fmla="*/ 48963 w 226767"/>
                  <a:gd name="connsiteY9" fmla="*/ 191146 h 198078"/>
                  <a:gd name="connsiteX10" fmla="*/ 40667 w 226767"/>
                  <a:gd name="connsiteY10" fmla="*/ 190606 h 198078"/>
                  <a:gd name="connsiteX11" fmla="*/ 31264 w 226767"/>
                  <a:gd name="connsiteY11" fmla="*/ 176573 h 198078"/>
                  <a:gd name="connsiteX12" fmla="*/ 25733 w 226767"/>
                  <a:gd name="connsiteY12" fmla="*/ 178192 h 198078"/>
                  <a:gd name="connsiteX13" fmla="*/ 14671 w 226767"/>
                  <a:gd name="connsiteY13" fmla="*/ 169557 h 198078"/>
                  <a:gd name="connsiteX14" fmla="*/ 4163 w 226767"/>
                  <a:gd name="connsiteY14" fmla="*/ 146349 h 198078"/>
                  <a:gd name="connsiteX15" fmla="*/ 10247 w 226767"/>
                  <a:gd name="connsiteY15" fmla="*/ 131236 h 198078"/>
                  <a:gd name="connsiteX16" fmla="*/ -815 w 226767"/>
                  <a:gd name="connsiteY16" fmla="*/ 94535 h 198078"/>
                  <a:gd name="connsiteX17" fmla="*/ 8034 w 226767"/>
                  <a:gd name="connsiteY17" fmla="*/ 95075 h 198078"/>
                  <a:gd name="connsiteX18" fmla="*/ 22415 w 226767"/>
                  <a:gd name="connsiteY18" fmla="*/ 90757 h 198078"/>
                  <a:gd name="connsiteX19" fmla="*/ 32923 w 226767"/>
                  <a:gd name="connsiteY19" fmla="*/ 85900 h 198078"/>
                  <a:gd name="connsiteX20" fmla="*/ 47304 w 226767"/>
                  <a:gd name="connsiteY20" fmla="*/ 49198 h 198078"/>
                  <a:gd name="connsiteX21" fmla="*/ 54494 w 226767"/>
                  <a:gd name="connsiteY21" fmla="*/ 46500 h 198078"/>
                  <a:gd name="connsiteX22" fmla="*/ 82702 w 226767"/>
                  <a:gd name="connsiteY22" fmla="*/ 28689 h 198078"/>
                  <a:gd name="connsiteX23" fmla="*/ 83808 w 226767"/>
                  <a:gd name="connsiteY23" fmla="*/ 11958 h 198078"/>
                  <a:gd name="connsiteX24" fmla="*/ 95976 w 226767"/>
                  <a:gd name="connsiteY24" fmla="*/ 6560 h 198078"/>
                  <a:gd name="connsiteX25" fmla="*/ 123077 w 226767"/>
                  <a:gd name="connsiteY25" fmla="*/ 9799 h 198078"/>
                  <a:gd name="connsiteX26" fmla="*/ 144095 w 226767"/>
                  <a:gd name="connsiteY26" fmla="*/ -456 h 198078"/>
                  <a:gd name="connsiteX27" fmla="*/ 151838 w 226767"/>
                  <a:gd name="connsiteY27" fmla="*/ 1163 h 198078"/>
                  <a:gd name="connsiteX28" fmla="*/ 156263 w 226767"/>
                  <a:gd name="connsiteY28" fmla="*/ 13037 h 198078"/>
                  <a:gd name="connsiteX29" fmla="*/ 162900 w 226767"/>
                  <a:gd name="connsiteY29" fmla="*/ 17355 h 198078"/>
                  <a:gd name="connsiteX30" fmla="*/ 197745 w 226767"/>
                  <a:gd name="connsiteY30" fmla="*/ 29768 h 198078"/>
                  <a:gd name="connsiteX31" fmla="*/ 217656 w 226767"/>
                  <a:gd name="connsiteY31" fmla="*/ 63231 h 198078"/>
                  <a:gd name="connsiteX32" fmla="*/ 225952 w 226767"/>
                  <a:gd name="connsiteY32" fmla="*/ 109647 h 198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26767" h="198078">
                    <a:moveTo>
                      <a:pt x="225952" y="109647"/>
                    </a:moveTo>
                    <a:lnTo>
                      <a:pt x="206594" y="115045"/>
                    </a:lnTo>
                    <a:lnTo>
                      <a:pt x="206041" y="131236"/>
                    </a:lnTo>
                    <a:lnTo>
                      <a:pt x="176174" y="144730"/>
                    </a:lnTo>
                    <a:lnTo>
                      <a:pt x="143542" y="145809"/>
                    </a:lnTo>
                    <a:lnTo>
                      <a:pt x="124184" y="176033"/>
                    </a:lnTo>
                    <a:lnTo>
                      <a:pt x="108144" y="185748"/>
                    </a:lnTo>
                    <a:lnTo>
                      <a:pt x="89892" y="186288"/>
                    </a:lnTo>
                    <a:lnTo>
                      <a:pt x="57259" y="197622"/>
                    </a:lnTo>
                    <a:lnTo>
                      <a:pt x="48963" y="191146"/>
                    </a:lnTo>
                    <a:lnTo>
                      <a:pt x="40667" y="190606"/>
                    </a:lnTo>
                    <a:lnTo>
                      <a:pt x="31264" y="176573"/>
                    </a:lnTo>
                    <a:lnTo>
                      <a:pt x="25733" y="178192"/>
                    </a:lnTo>
                    <a:lnTo>
                      <a:pt x="14671" y="169557"/>
                    </a:lnTo>
                    <a:lnTo>
                      <a:pt x="4163" y="146349"/>
                    </a:lnTo>
                    <a:lnTo>
                      <a:pt x="10247" y="131236"/>
                    </a:lnTo>
                    <a:lnTo>
                      <a:pt x="-815" y="94535"/>
                    </a:lnTo>
                    <a:lnTo>
                      <a:pt x="8034" y="95075"/>
                    </a:lnTo>
                    <a:lnTo>
                      <a:pt x="22415" y="90757"/>
                    </a:lnTo>
                    <a:lnTo>
                      <a:pt x="32923" y="85900"/>
                    </a:lnTo>
                    <a:lnTo>
                      <a:pt x="47304" y="49198"/>
                    </a:lnTo>
                    <a:lnTo>
                      <a:pt x="54494" y="46500"/>
                    </a:lnTo>
                    <a:lnTo>
                      <a:pt x="82702" y="28689"/>
                    </a:lnTo>
                    <a:lnTo>
                      <a:pt x="83808" y="11958"/>
                    </a:lnTo>
                    <a:lnTo>
                      <a:pt x="95976" y="6560"/>
                    </a:lnTo>
                    <a:lnTo>
                      <a:pt x="123077" y="9799"/>
                    </a:lnTo>
                    <a:lnTo>
                      <a:pt x="144095" y="-456"/>
                    </a:lnTo>
                    <a:lnTo>
                      <a:pt x="151838" y="1163"/>
                    </a:lnTo>
                    <a:lnTo>
                      <a:pt x="156263" y="13037"/>
                    </a:lnTo>
                    <a:lnTo>
                      <a:pt x="162900" y="17355"/>
                    </a:lnTo>
                    <a:lnTo>
                      <a:pt x="197745" y="29768"/>
                    </a:lnTo>
                    <a:lnTo>
                      <a:pt x="217656" y="63231"/>
                    </a:lnTo>
                    <a:lnTo>
                      <a:pt x="225952" y="109647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3" name="Freeform 1065">
                <a:extLst>
                  <a:ext uri="{FF2B5EF4-FFF2-40B4-BE49-F238E27FC236}">
                    <a16:creationId xmlns:a16="http://schemas.microsoft.com/office/drawing/2014/main" id="{824B1EBE-3B9D-42D9-8CC1-462555CD6310}"/>
                  </a:ext>
                </a:extLst>
              </p:cNvPr>
              <p:cNvSpPr/>
              <p:nvPr/>
            </p:nvSpPr>
            <p:spPr>
              <a:xfrm>
                <a:off x="7694995" y="3896325"/>
                <a:ext cx="325771" cy="336787"/>
              </a:xfrm>
              <a:custGeom>
                <a:avLst/>
                <a:gdLst>
                  <a:gd name="connsiteX0" fmla="*/ 298910 w 325771"/>
                  <a:gd name="connsiteY0" fmla="*/ 161556 h 336787"/>
                  <a:gd name="connsiteX1" fmla="*/ 324906 w 325771"/>
                  <a:gd name="connsiteY1" fmla="*/ 172890 h 336787"/>
                  <a:gd name="connsiteX2" fmla="*/ 318822 w 325771"/>
                  <a:gd name="connsiteY2" fmla="*/ 185304 h 336787"/>
                  <a:gd name="connsiteX3" fmla="*/ 304441 w 325771"/>
                  <a:gd name="connsiteY3" fmla="*/ 193939 h 336787"/>
                  <a:gd name="connsiteX4" fmla="*/ 272362 w 325771"/>
                  <a:gd name="connsiteY4" fmla="*/ 187463 h 336787"/>
                  <a:gd name="connsiteX5" fmla="*/ 264619 w 325771"/>
                  <a:gd name="connsiteY5" fmla="*/ 201496 h 336787"/>
                  <a:gd name="connsiteX6" fmla="*/ 253557 w 325771"/>
                  <a:gd name="connsiteY6" fmla="*/ 196638 h 336787"/>
                  <a:gd name="connsiteX7" fmla="*/ 247473 w 325771"/>
                  <a:gd name="connsiteY7" fmla="*/ 189622 h 336787"/>
                  <a:gd name="connsiteX8" fmla="*/ 236964 w 325771"/>
                  <a:gd name="connsiteY8" fmla="*/ 196638 h 336787"/>
                  <a:gd name="connsiteX9" fmla="*/ 236411 w 325771"/>
                  <a:gd name="connsiteY9" fmla="*/ 211750 h 336787"/>
                  <a:gd name="connsiteX10" fmla="*/ 243601 w 325771"/>
                  <a:gd name="connsiteY10" fmla="*/ 228482 h 336787"/>
                  <a:gd name="connsiteX11" fmla="*/ 222584 w 325771"/>
                  <a:gd name="connsiteY11" fmla="*/ 302964 h 336787"/>
                  <a:gd name="connsiteX12" fmla="*/ 224243 w 325771"/>
                  <a:gd name="connsiteY12" fmla="*/ 314837 h 336787"/>
                  <a:gd name="connsiteX13" fmla="*/ 208756 w 325771"/>
                  <a:gd name="connsiteY13" fmla="*/ 336426 h 336787"/>
                  <a:gd name="connsiteX14" fmla="*/ 203779 w 325771"/>
                  <a:gd name="connsiteY14" fmla="*/ 331569 h 336787"/>
                  <a:gd name="connsiteX15" fmla="*/ 190504 w 325771"/>
                  <a:gd name="connsiteY15" fmla="*/ 321854 h 336787"/>
                  <a:gd name="connsiteX16" fmla="*/ 186633 w 325771"/>
                  <a:gd name="connsiteY16" fmla="*/ 297566 h 336787"/>
                  <a:gd name="connsiteX17" fmla="*/ 173912 w 325771"/>
                  <a:gd name="connsiteY17" fmla="*/ 253309 h 336787"/>
                  <a:gd name="connsiteX18" fmla="*/ 171699 w 325771"/>
                  <a:gd name="connsiteY18" fmla="*/ 211750 h 336787"/>
                  <a:gd name="connsiteX19" fmla="*/ 163403 w 325771"/>
                  <a:gd name="connsiteY19" fmla="*/ 180446 h 336787"/>
                  <a:gd name="connsiteX20" fmla="*/ 161744 w 325771"/>
                  <a:gd name="connsiteY20" fmla="*/ 173430 h 336787"/>
                  <a:gd name="connsiteX21" fmla="*/ 119156 w 325771"/>
                  <a:gd name="connsiteY21" fmla="*/ 145904 h 336787"/>
                  <a:gd name="connsiteX22" fmla="*/ 111965 w 325771"/>
                  <a:gd name="connsiteY22" fmla="*/ 135649 h 336787"/>
                  <a:gd name="connsiteX23" fmla="*/ 92054 w 325771"/>
                  <a:gd name="connsiteY23" fmla="*/ 115680 h 336787"/>
                  <a:gd name="connsiteX24" fmla="*/ 88735 w 325771"/>
                  <a:gd name="connsiteY24" fmla="*/ 104885 h 336787"/>
                  <a:gd name="connsiteX25" fmla="*/ 69377 w 325771"/>
                  <a:gd name="connsiteY25" fmla="*/ 87074 h 336787"/>
                  <a:gd name="connsiteX26" fmla="*/ 25130 w 325771"/>
                  <a:gd name="connsiteY26" fmla="*/ 38499 h 336787"/>
                  <a:gd name="connsiteX27" fmla="*/ 14621 w 325771"/>
                  <a:gd name="connsiteY27" fmla="*/ 35801 h 336787"/>
                  <a:gd name="connsiteX28" fmla="*/ -865 w 325771"/>
                  <a:gd name="connsiteY28" fmla="*/ 35801 h 336787"/>
                  <a:gd name="connsiteX29" fmla="*/ 1347 w 325771"/>
                  <a:gd name="connsiteY29" fmla="*/ 28244 h 336787"/>
                  <a:gd name="connsiteX30" fmla="*/ 19046 w 325771"/>
                  <a:gd name="connsiteY30" fmla="*/ 14212 h 336787"/>
                  <a:gd name="connsiteX31" fmla="*/ 53891 w 325771"/>
                  <a:gd name="connsiteY31" fmla="*/ -361 h 336787"/>
                  <a:gd name="connsiteX32" fmla="*/ 67165 w 325771"/>
                  <a:gd name="connsiteY32" fmla="*/ -361 h 336787"/>
                  <a:gd name="connsiteX33" fmla="*/ 100350 w 325771"/>
                  <a:gd name="connsiteY33" fmla="*/ 8275 h 336787"/>
                  <a:gd name="connsiteX34" fmla="*/ 111965 w 325771"/>
                  <a:gd name="connsiteY34" fmla="*/ 17990 h 336787"/>
                  <a:gd name="connsiteX35" fmla="*/ 145151 w 325771"/>
                  <a:gd name="connsiteY35" fmla="*/ 21228 h 336787"/>
                  <a:gd name="connsiteX36" fmla="*/ 156766 w 325771"/>
                  <a:gd name="connsiteY36" fmla="*/ 16370 h 336787"/>
                  <a:gd name="connsiteX37" fmla="*/ 166721 w 325771"/>
                  <a:gd name="connsiteY37" fmla="*/ 13132 h 336787"/>
                  <a:gd name="connsiteX38" fmla="*/ 174465 w 325771"/>
                  <a:gd name="connsiteY38" fmla="*/ 15291 h 336787"/>
                  <a:gd name="connsiteX39" fmla="*/ 182208 w 325771"/>
                  <a:gd name="connsiteY39" fmla="*/ 22307 h 336787"/>
                  <a:gd name="connsiteX40" fmla="*/ 194929 w 325771"/>
                  <a:gd name="connsiteY40" fmla="*/ 29324 h 336787"/>
                  <a:gd name="connsiteX41" fmla="*/ 204885 w 325771"/>
                  <a:gd name="connsiteY41" fmla="*/ 32562 h 336787"/>
                  <a:gd name="connsiteX42" fmla="*/ 215947 w 325771"/>
                  <a:gd name="connsiteY42" fmla="*/ 56310 h 336787"/>
                  <a:gd name="connsiteX43" fmla="*/ 225902 w 325771"/>
                  <a:gd name="connsiteY43" fmla="*/ 87614 h 336787"/>
                  <a:gd name="connsiteX44" fmla="*/ 248579 w 325771"/>
                  <a:gd name="connsiteY44" fmla="*/ 90852 h 336787"/>
                  <a:gd name="connsiteX45" fmla="*/ 255216 w 325771"/>
                  <a:gd name="connsiteY45" fmla="*/ 106504 h 336787"/>
                  <a:gd name="connsiteX46" fmla="*/ 291167 w 325771"/>
                  <a:gd name="connsiteY46" fmla="*/ 139967 h 336787"/>
                  <a:gd name="connsiteX47" fmla="*/ 298910 w 325771"/>
                  <a:gd name="connsiteY47" fmla="*/ 161556 h 33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325771" h="336787">
                    <a:moveTo>
                      <a:pt x="298910" y="161556"/>
                    </a:moveTo>
                    <a:cubicBezTo>
                      <a:pt x="311078" y="163715"/>
                      <a:pt x="314950" y="165334"/>
                      <a:pt x="324906" y="172890"/>
                    </a:cubicBezTo>
                    <a:lnTo>
                      <a:pt x="318822" y="185304"/>
                    </a:lnTo>
                    <a:lnTo>
                      <a:pt x="304441" y="193939"/>
                    </a:lnTo>
                    <a:lnTo>
                      <a:pt x="272362" y="187463"/>
                    </a:lnTo>
                    <a:lnTo>
                      <a:pt x="264619" y="201496"/>
                    </a:lnTo>
                    <a:lnTo>
                      <a:pt x="253557" y="196638"/>
                    </a:lnTo>
                    <a:lnTo>
                      <a:pt x="247473" y="189622"/>
                    </a:lnTo>
                    <a:lnTo>
                      <a:pt x="236964" y="196638"/>
                    </a:lnTo>
                    <a:lnTo>
                      <a:pt x="236411" y="211750"/>
                    </a:lnTo>
                    <a:lnTo>
                      <a:pt x="243601" y="228482"/>
                    </a:lnTo>
                    <a:lnTo>
                      <a:pt x="222584" y="302964"/>
                    </a:lnTo>
                    <a:lnTo>
                      <a:pt x="224243" y="314837"/>
                    </a:lnTo>
                    <a:lnTo>
                      <a:pt x="208756" y="336426"/>
                    </a:lnTo>
                    <a:cubicBezTo>
                      <a:pt x="207097" y="334807"/>
                      <a:pt x="205438" y="331029"/>
                      <a:pt x="203779" y="331569"/>
                    </a:cubicBezTo>
                    <a:cubicBezTo>
                      <a:pt x="200460" y="329410"/>
                      <a:pt x="192717" y="324552"/>
                      <a:pt x="190504" y="321854"/>
                    </a:cubicBezTo>
                    <a:cubicBezTo>
                      <a:pt x="184973" y="314837"/>
                      <a:pt x="188292" y="305122"/>
                      <a:pt x="186633" y="297566"/>
                    </a:cubicBezTo>
                    <a:cubicBezTo>
                      <a:pt x="183867" y="282454"/>
                      <a:pt x="176677" y="267882"/>
                      <a:pt x="173912" y="253309"/>
                    </a:cubicBezTo>
                    <a:cubicBezTo>
                      <a:pt x="171146" y="239816"/>
                      <a:pt x="173359" y="225783"/>
                      <a:pt x="171699" y="211750"/>
                    </a:cubicBezTo>
                    <a:cubicBezTo>
                      <a:pt x="170040" y="198257"/>
                      <a:pt x="165062" y="192320"/>
                      <a:pt x="163403" y="180446"/>
                    </a:cubicBezTo>
                    <a:cubicBezTo>
                      <a:pt x="163403" y="178287"/>
                      <a:pt x="162850" y="175589"/>
                      <a:pt x="161744" y="173430"/>
                    </a:cubicBezTo>
                    <a:cubicBezTo>
                      <a:pt x="147916" y="141586"/>
                      <a:pt x="126346" y="153460"/>
                      <a:pt x="119156" y="145904"/>
                    </a:cubicBezTo>
                    <a:cubicBezTo>
                      <a:pt x="116390" y="142666"/>
                      <a:pt x="114731" y="138348"/>
                      <a:pt x="111965" y="135649"/>
                    </a:cubicBezTo>
                    <a:cubicBezTo>
                      <a:pt x="104775" y="128093"/>
                      <a:pt x="97585" y="125934"/>
                      <a:pt x="92054" y="115680"/>
                    </a:cubicBezTo>
                    <a:cubicBezTo>
                      <a:pt x="90395" y="111901"/>
                      <a:pt x="90395" y="108123"/>
                      <a:pt x="88735" y="104885"/>
                    </a:cubicBezTo>
                    <a:cubicBezTo>
                      <a:pt x="84311" y="96789"/>
                      <a:pt x="75461" y="93551"/>
                      <a:pt x="69377" y="87074"/>
                    </a:cubicBezTo>
                    <a:cubicBezTo>
                      <a:pt x="57209" y="74661"/>
                      <a:pt x="41170" y="44976"/>
                      <a:pt x="25130" y="38499"/>
                    </a:cubicBezTo>
                    <a:cubicBezTo>
                      <a:pt x="21811" y="36880"/>
                      <a:pt x="17940" y="36880"/>
                      <a:pt x="14621" y="35801"/>
                    </a:cubicBezTo>
                    <a:cubicBezTo>
                      <a:pt x="9643" y="34721"/>
                      <a:pt x="4112" y="33102"/>
                      <a:pt x="-865" y="35801"/>
                    </a:cubicBezTo>
                    <a:lnTo>
                      <a:pt x="1347" y="28244"/>
                    </a:lnTo>
                    <a:lnTo>
                      <a:pt x="19046" y="14212"/>
                    </a:lnTo>
                    <a:lnTo>
                      <a:pt x="53891" y="-361"/>
                    </a:lnTo>
                    <a:lnTo>
                      <a:pt x="67165" y="-361"/>
                    </a:lnTo>
                    <a:lnTo>
                      <a:pt x="100350" y="8275"/>
                    </a:lnTo>
                    <a:lnTo>
                      <a:pt x="111965" y="17990"/>
                    </a:lnTo>
                    <a:lnTo>
                      <a:pt x="145151" y="21228"/>
                    </a:lnTo>
                    <a:lnTo>
                      <a:pt x="156766" y="16370"/>
                    </a:lnTo>
                    <a:cubicBezTo>
                      <a:pt x="159531" y="16910"/>
                      <a:pt x="163956" y="13672"/>
                      <a:pt x="166721" y="13132"/>
                    </a:cubicBezTo>
                    <a:cubicBezTo>
                      <a:pt x="168934" y="13132"/>
                      <a:pt x="172805" y="14212"/>
                      <a:pt x="174465" y="15291"/>
                    </a:cubicBezTo>
                    <a:cubicBezTo>
                      <a:pt x="177230" y="16910"/>
                      <a:pt x="179996" y="20688"/>
                      <a:pt x="182208" y="22307"/>
                    </a:cubicBezTo>
                    <a:cubicBezTo>
                      <a:pt x="185527" y="25006"/>
                      <a:pt x="191611" y="27165"/>
                      <a:pt x="194929" y="29324"/>
                    </a:cubicBezTo>
                    <a:lnTo>
                      <a:pt x="204885" y="32562"/>
                    </a:lnTo>
                    <a:lnTo>
                      <a:pt x="215947" y="56310"/>
                    </a:lnTo>
                    <a:lnTo>
                      <a:pt x="225902" y="87614"/>
                    </a:lnTo>
                    <a:lnTo>
                      <a:pt x="248579" y="90852"/>
                    </a:lnTo>
                    <a:lnTo>
                      <a:pt x="255216" y="106504"/>
                    </a:lnTo>
                    <a:lnTo>
                      <a:pt x="291167" y="139967"/>
                    </a:lnTo>
                    <a:lnTo>
                      <a:pt x="298910" y="161556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4" name="Freeform 1066">
                <a:extLst>
                  <a:ext uri="{FF2B5EF4-FFF2-40B4-BE49-F238E27FC236}">
                    <a16:creationId xmlns:a16="http://schemas.microsoft.com/office/drawing/2014/main" id="{B8E21E7B-F410-4738-97E9-8A23ED51CE9B}"/>
                  </a:ext>
                </a:extLst>
              </p:cNvPr>
              <p:cNvSpPr/>
              <p:nvPr/>
            </p:nvSpPr>
            <p:spPr>
              <a:xfrm>
                <a:off x="6160717" y="4659494"/>
                <a:ext cx="8849" cy="11873"/>
              </a:xfrm>
              <a:custGeom>
                <a:avLst/>
                <a:gdLst>
                  <a:gd name="connsiteX0" fmla="*/ 1005 w 8849"/>
                  <a:gd name="connsiteY0" fmla="*/ 11436 h 11873"/>
                  <a:gd name="connsiteX1" fmla="*/ -654 w 8849"/>
                  <a:gd name="connsiteY1" fmla="*/ 3880 h 11873"/>
                  <a:gd name="connsiteX2" fmla="*/ 4324 w 8849"/>
                  <a:gd name="connsiteY2" fmla="*/ -438 h 11873"/>
                  <a:gd name="connsiteX3" fmla="*/ 8195 w 8849"/>
                  <a:gd name="connsiteY3" fmla="*/ 2800 h 11873"/>
                  <a:gd name="connsiteX4" fmla="*/ 1005 w 8849"/>
                  <a:gd name="connsiteY4" fmla="*/ 11436 h 11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49" h="11873">
                    <a:moveTo>
                      <a:pt x="1005" y="11436"/>
                    </a:moveTo>
                    <a:lnTo>
                      <a:pt x="-654" y="3880"/>
                    </a:lnTo>
                    <a:lnTo>
                      <a:pt x="4324" y="-438"/>
                    </a:lnTo>
                    <a:lnTo>
                      <a:pt x="8195" y="2800"/>
                    </a:lnTo>
                    <a:cubicBezTo>
                      <a:pt x="5983" y="6039"/>
                      <a:pt x="4877" y="9817"/>
                      <a:pt x="1005" y="11436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5" name="Freeform 1067">
                <a:extLst>
                  <a:ext uri="{FF2B5EF4-FFF2-40B4-BE49-F238E27FC236}">
                    <a16:creationId xmlns:a16="http://schemas.microsoft.com/office/drawing/2014/main" id="{2636C302-8264-4814-A293-4A7923D7143F}"/>
                  </a:ext>
                </a:extLst>
              </p:cNvPr>
              <p:cNvSpPr/>
              <p:nvPr/>
            </p:nvSpPr>
            <p:spPr>
              <a:xfrm>
                <a:off x="7063363" y="2835229"/>
                <a:ext cx="481743" cy="293069"/>
              </a:xfrm>
              <a:custGeom>
                <a:avLst/>
                <a:gdLst>
                  <a:gd name="connsiteX0" fmla="*/ 433934 w 481743"/>
                  <a:gd name="connsiteY0" fmla="*/ 212968 h 293069"/>
                  <a:gd name="connsiteX1" fmla="*/ 450527 w 481743"/>
                  <a:gd name="connsiteY1" fmla="*/ 216207 h 293069"/>
                  <a:gd name="connsiteX2" fmla="*/ 457164 w 481743"/>
                  <a:gd name="connsiteY2" fmla="*/ 211889 h 293069"/>
                  <a:gd name="connsiteX3" fmla="*/ 453292 w 481743"/>
                  <a:gd name="connsiteY3" fmla="*/ 193538 h 293069"/>
                  <a:gd name="connsiteX4" fmla="*/ 480947 w 481743"/>
                  <a:gd name="connsiteY4" fmla="*/ 169251 h 293069"/>
                  <a:gd name="connsiteX5" fmla="*/ 480947 w 481743"/>
                  <a:gd name="connsiteY5" fmla="*/ 148741 h 293069"/>
                  <a:gd name="connsiteX6" fmla="*/ 467673 w 481743"/>
                  <a:gd name="connsiteY6" fmla="*/ 133089 h 293069"/>
                  <a:gd name="connsiteX7" fmla="*/ 452739 w 481743"/>
                  <a:gd name="connsiteY7" fmla="*/ 126613 h 293069"/>
                  <a:gd name="connsiteX8" fmla="*/ 443337 w 481743"/>
                  <a:gd name="connsiteY8" fmla="*/ 101246 h 293069"/>
                  <a:gd name="connsiteX9" fmla="*/ 436700 w 481743"/>
                  <a:gd name="connsiteY9" fmla="*/ 92610 h 293069"/>
                  <a:gd name="connsiteX10" fmla="*/ 421213 w 481743"/>
                  <a:gd name="connsiteY10" fmla="*/ 99087 h 293069"/>
                  <a:gd name="connsiteX11" fmla="*/ 411257 w 481743"/>
                  <a:gd name="connsiteY11" fmla="*/ 86673 h 293069"/>
                  <a:gd name="connsiteX12" fmla="*/ 422872 w 481743"/>
                  <a:gd name="connsiteY12" fmla="*/ 64005 h 293069"/>
                  <a:gd name="connsiteX13" fmla="*/ 425638 w 481743"/>
                  <a:gd name="connsiteY13" fmla="*/ 47813 h 293069"/>
                  <a:gd name="connsiteX14" fmla="*/ 401302 w 481743"/>
                  <a:gd name="connsiteY14" fmla="*/ 45114 h 293069"/>
                  <a:gd name="connsiteX15" fmla="*/ 396877 w 481743"/>
                  <a:gd name="connsiteY15" fmla="*/ 27304 h 293069"/>
                  <a:gd name="connsiteX16" fmla="*/ 376966 w 481743"/>
                  <a:gd name="connsiteY16" fmla="*/ 23525 h 293069"/>
                  <a:gd name="connsiteX17" fmla="*/ 348758 w 481743"/>
                  <a:gd name="connsiteY17" fmla="*/ 22446 h 293069"/>
                  <a:gd name="connsiteX18" fmla="*/ 335484 w 481743"/>
                  <a:gd name="connsiteY18" fmla="*/ 38098 h 293069"/>
                  <a:gd name="connsiteX19" fmla="*/ 298980 w 481743"/>
                  <a:gd name="connsiteY19" fmla="*/ 26764 h 293069"/>
                  <a:gd name="connsiteX20" fmla="*/ 290683 w 481743"/>
                  <a:gd name="connsiteY20" fmla="*/ 7334 h 293069"/>
                  <a:gd name="connsiteX21" fmla="*/ 216016 w 481743"/>
                  <a:gd name="connsiteY21" fmla="*/ -222 h 293069"/>
                  <a:gd name="connsiteX22" fmla="*/ 209379 w 481743"/>
                  <a:gd name="connsiteY22" fmla="*/ 12731 h 293069"/>
                  <a:gd name="connsiteX23" fmla="*/ 194445 w 481743"/>
                  <a:gd name="connsiteY23" fmla="*/ 17589 h 293069"/>
                  <a:gd name="connsiteX24" fmla="*/ 177299 w 481743"/>
                  <a:gd name="connsiteY24" fmla="*/ 43495 h 293069"/>
                  <a:gd name="connsiteX25" fmla="*/ 183936 w 481743"/>
                  <a:gd name="connsiteY25" fmla="*/ 59147 h 293069"/>
                  <a:gd name="connsiteX26" fmla="*/ 188361 w 481743"/>
                  <a:gd name="connsiteY26" fmla="*/ 68323 h 293069"/>
                  <a:gd name="connsiteX27" fmla="*/ 198870 w 481743"/>
                  <a:gd name="connsiteY27" fmla="*/ 83435 h 293069"/>
                  <a:gd name="connsiteX28" fmla="*/ 200529 w 481743"/>
                  <a:gd name="connsiteY28" fmla="*/ 95848 h 293069"/>
                  <a:gd name="connsiteX29" fmla="*/ 191127 w 481743"/>
                  <a:gd name="connsiteY29" fmla="*/ 127692 h 293069"/>
                  <a:gd name="connsiteX30" fmla="*/ 170109 w 481743"/>
                  <a:gd name="connsiteY30" fmla="*/ 143344 h 293069"/>
                  <a:gd name="connsiteX31" fmla="*/ 145773 w 481743"/>
                  <a:gd name="connsiteY31" fmla="*/ 146043 h 293069"/>
                  <a:gd name="connsiteX32" fmla="*/ 135264 w 481743"/>
                  <a:gd name="connsiteY32" fmla="*/ 141185 h 293069"/>
                  <a:gd name="connsiteX33" fmla="*/ 128627 w 481743"/>
                  <a:gd name="connsiteY33" fmla="*/ 117977 h 293069"/>
                  <a:gd name="connsiteX34" fmla="*/ 89358 w 481743"/>
                  <a:gd name="connsiteY34" fmla="*/ 91531 h 293069"/>
                  <a:gd name="connsiteX35" fmla="*/ 83827 w 481743"/>
                  <a:gd name="connsiteY35" fmla="*/ 88292 h 293069"/>
                  <a:gd name="connsiteX36" fmla="*/ 78849 w 481743"/>
                  <a:gd name="connsiteY36" fmla="*/ 72640 h 293069"/>
                  <a:gd name="connsiteX37" fmla="*/ 72212 w 481743"/>
                  <a:gd name="connsiteY37" fmla="*/ 72101 h 293069"/>
                  <a:gd name="connsiteX38" fmla="*/ 60597 w 481743"/>
                  <a:gd name="connsiteY38" fmla="*/ 78038 h 293069"/>
                  <a:gd name="connsiteX39" fmla="*/ 52854 w 481743"/>
                  <a:gd name="connsiteY39" fmla="*/ 87213 h 293069"/>
                  <a:gd name="connsiteX40" fmla="*/ 13031 w 481743"/>
                  <a:gd name="connsiteY40" fmla="*/ 130391 h 293069"/>
                  <a:gd name="connsiteX41" fmla="*/ 14137 w 481743"/>
                  <a:gd name="connsiteY41" fmla="*/ 163854 h 293069"/>
                  <a:gd name="connsiteX42" fmla="*/ -796 w 481743"/>
                  <a:gd name="connsiteY42" fmla="*/ 203793 h 293069"/>
                  <a:gd name="connsiteX43" fmla="*/ 863 w 481743"/>
                  <a:gd name="connsiteY43" fmla="*/ 210809 h 293069"/>
                  <a:gd name="connsiteX44" fmla="*/ 3075 w 481743"/>
                  <a:gd name="connsiteY44" fmla="*/ 244812 h 293069"/>
                  <a:gd name="connsiteX45" fmla="*/ 19668 w 481743"/>
                  <a:gd name="connsiteY45" fmla="*/ 292847 h 293069"/>
                  <a:gd name="connsiteX46" fmla="*/ 61150 w 481743"/>
                  <a:gd name="connsiteY46" fmla="*/ 239955 h 293069"/>
                  <a:gd name="connsiteX47" fmla="*/ 110375 w 481743"/>
                  <a:gd name="connsiteY47" fmla="*/ 223223 h 293069"/>
                  <a:gd name="connsiteX48" fmla="*/ 171768 w 481743"/>
                  <a:gd name="connsiteY48" fmla="*/ 210270 h 293069"/>
                  <a:gd name="connsiteX49" fmla="*/ 231502 w 481743"/>
                  <a:gd name="connsiteY49" fmla="*/ 214588 h 293069"/>
                  <a:gd name="connsiteX50" fmla="*/ 269113 w 481743"/>
                  <a:gd name="connsiteY50" fmla="*/ 185982 h 293069"/>
                  <a:gd name="connsiteX51" fmla="*/ 285705 w 481743"/>
                  <a:gd name="connsiteY51" fmla="*/ 201094 h 293069"/>
                  <a:gd name="connsiteX52" fmla="*/ 305617 w 481743"/>
                  <a:gd name="connsiteY52" fmla="*/ 206492 h 293069"/>
                  <a:gd name="connsiteX53" fmla="*/ 322763 w 481743"/>
                  <a:gd name="connsiteY53" fmla="*/ 201094 h 293069"/>
                  <a:gd name="connsiteX54" fmla="*/ 330506 w 481743"/>
                  <a:gd name="connsiteY54" fmla="*/ 211889 h 293069"/>
                  <a:gd name="connsiteX55" fmla="*/ 393558 w 481743"/>
                  <a:gd name="connsiteY55" fmla="*/ 252908 h 293069"/>
                  <a:gd name="connsiteX56" fmla="*/ 433934 w 481743"/>
                  <a:gd name="connsiteY56" fmla="*/ 212968 h 293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481743" h="293069">
                    <a:moveTo>
                      <a:pt x="433934" y="212968"/>
                    </a:moveTo>
                    <a:cubicBezTo>
                      <a:pt x="438359" y="214048"/>
                      <a:pt x="446102" y="216207"/>
                      <a:pt x="450527" y="216207"/>
                    </a:cubicBezTo>
                    <a:cubicBezTo>
                      <a:pt x="452739" y="216207"/>
                      <a:pt x="455505" y="212968"/>
                      <a:pt x="457164" y="211889"/>
                    </a:cubicBezTo>
                    <a:lnTo>
                      <a:pt x="453292" y="193538"/>
                    </a:lnTo>
                    <a:lnTo>
                      <a:pt x="480947" y="169251"/>
                    </a:lnTo>
                    <a:lnTo>
                      <a:pt x="480947" y="148741"/>
                    </a:lnTo>
                    <a:lnTo>
                      <a:pt x="467673" y="133089"/>
                    </a:lnTo>
                    <a:lnTo>
                      <a:pt x="452739" y="126613"/>
                    </a:lnTo>
                    <a:lnTo>
                      <a:pt x="443337" y="101246"/>
                    </a:lnTo>
                    <a:lnTo>
                      <a:pt x="436700" y="92610"/>
                    </a:lnTo>
                    <a:lnTo>
                      <a:pt x="421213" y="99087"/>
                    </a:lnTo>
                    <a:lnTo>
                      <a:pt x="411257" y="86673"/>
                    </a:lnTo>
                    <a:lnTo>
                      <a:pt x="422872" y="64005"/>
                    </a:lnTo>
                    <a:lnTo>
                      <a:pt x="425638" y="47813"/>
                    </a:lnTo>
                    <a:lnTo>
                      <a:pt x="401302" y="45114"/>
                    </a:lnTo>
                    <a:lnTo>
                      <a:pt x="396877" y="27304"/>
                    </a:lnTo>
                    <a:lnTo>
                      <a:pt x="376966" y="23525"/>
                    </a:lnTo>
                    <a:lnTo>
                      <a:pt x="348758" y="22446"/>
                    </a:lnTo>
                    <a:lnTo>
                      <a:pt x="335484" y="38098"/>
                    </a:lnTo>
                    <a:lnTo>
                      <a:pt x="298980" y="26764"/>
                    </a:lnTo>
                    <a:lnTo>
                      <a:pt x="290683" y="7334"/>
                    </a:lnTo>
                    <a:lnTo>
                      <a:pt x="216016" y="-222"/>
                    </a:lnTo>
                    <a:lnTo>
                      <a:pt x="209379" y="12731"/>
                    </a:lnTo>
                    <a:lnTo>
                      <a:pt x="194445" y="17589"/>
                    </a:lnTo>
                    <a:lnTo>
                      <a:pt x="177299" y="43495"/>
                    </a:lnTo>
                    <a:cubicBezTo>
                      <a:pt x="178959" y="48892"/>
                      <a:pt x="180065" y="55369"/>
                      <a:pt x="183936" y="59147"/>
                    </a:cubicBezTo>
                    <a:cubicBezTo>
                      <a:pt x="184490" y="60227"/>
                      <a:pt x="187808" y="66703"/>
                      <a:pt x="188361" y="68323"/>
                    </a:cubicBezTo>
                    <a:cubicBezTo>
                      <a:pt x="191680" y="73720"/>
                      <a:pt x="196104" y="78038"/>
                      <a:pt x="198870" y="83435"/>
                    </a:cubicBezTo>
                    <a:cubicBezTo>
                      <a:pt x="199976" y="86133"/>
                      <a:pt x="201082" y="93150"/>
                      <a:pt x="200529" y="95848"/>
                    </a:cubicBezTo>
                    <a:cubicBezTo>
                      <a:pt x="200529" y="103405"/>
                      <a:pt x="196104" y="121755"/>
                      <a:pt x="191127" y="127692"/>
                    </a:cubicBezTo>
                    <a:cubicBezTo>
                      <a:pt x="187808" y="132550"/>
                      <a:pt x="175640" y="141725"/>
                      <a:pt x="170109" y="143344"/>
                    </a:cubicBezTo>
                    <a:cubicBezTo>
                      <a:pt x="162919" y="145503"/>
                      <a:pt x="152963" y="148202"/>
                      <a:pt x="145773" y="146043"/>
                    </a:cubicBezTo>
                    <a:cubicBezTo>
                      <a:pt x="143561" y="144963"/>
                      <a:pt x="136924" y="142265"/>
                      <a:pt x="135264" y="141185"/>
                    </a:cubicBezTo>
                    <a:cubicBezTo>
                      <a:pt x="130287" y="136867"/>
                      <a:pt x="131393" y="124454"/>
                      <a:pt x="128627" y="117977"/>
                    </a:cubicBezTo>
                    <a:cubicBezTo>
                      <a:pt x="121437" y="99087"/>
                      <a:pt x="105950" y="99087"/>
                      <a:pt x="89358" y="91531"/>
                    </a:cubicBezTo>
                    <a:cubicBezTo>
                      <a:pt x="87698" y="90991"/>
                      <a:pt x="84933" y="89372"/>
                      <a:pt x="83827" y="88292"/>
                    </a:cubicBezTo>
                    <a:cubicBezTo>
                      <a:pt x="79402" y="84514"/>
                      <a:pt x="78849" y="72640"/>
                      <a:pt x="78849" y="72640"/>
                    </a:cubicBezTo>
                    <a:cubicBezTo>
                      <a:pt x="78296" y="72101"/>
                      <a:pt x="72765" y="71561"/>
                      <a:pt x="72212" y="72101"/>
                    </a:cubicBezTo>
                    <a:cubicBezTo>
                      <a:pt x="69446" y="72640"/>
                      <a:pt x="62256" y="76418"/>
                      <a:pt x="60597" y="78038"/>
                    </a:cubicBezTo>
                    <a:cubicBezTo>
                      <a:pt x="57278" y="80736"/>
                      <a:pt x="56172" y="85054"/>
                      <a:pt x="52854" y="87213"/>
                    </a:cubicBezTo>
                    <a:cubicBezTo>
                      <a:pt x="32942" y="102325"/>
                      <a:pt x="13584" y="99626"/>
                      <a:pt x="13031" y="130391"/>
                    </a:cubicBezTo>
                    <a:cubicBezTo>
                      <a:pt x="12478" y="139026"/>
                      <a:pt x="16350" y="156297"/>
                      <a:pt x="14137" y="163854"/>
                    </a:cubicBezTo>
                    <a:cubicBezTo>
                      <a:pt x="11372" y="174108"/>
                      <a:pt x="-243" y="194078"/>
                      <a:pt x="-796" y="203793"/>
                    </a:cubicBezTo>
                    <a:cubicBezTo>
                      <a:pt x="-796" y="205952"/>
                      <a:pt x="310" y="208651"/>
                      <a:pt x="863" y="210809"/>
                    </a:cubicBezTo>
                    <a:cubicBezTo>
                      <a:pt x="1969" y="222144"/>
                      <a:pt x="1416" y="233478"/>
                      <a:pt x="3075" y="244812"/>
                    </a:cubicBezTo>
                    <a:cubicBezTo>
                      <a:pt x="5288" y="262623"/>
                      <a:pt x="11925" y="277195"/>
                      <a:pt x="19668" y="292847"/>
                    </a:cubicBezTo>
                    <a:lnTo>
                      <a:pt x="61150" y="239955"/>
                    </a:lnTo>
                    <a:lnTo>
                      <a:pt x="110375" y="223223"/>
                    </a:lnTo>
                    <a:lnTo>
                      <a:pt x="171768" y="210270"/>
                    </a:lnTo>
                    <a:lnTo>
                      <a:pt x="231502" y="214588"/>
                    </a:lnTo>
                    <a:lnTo>
                      <a:pt x="269113" y="185982"/>
                    </a:lnTo>
                    <a:lnTo>
                      <a:pt x="285705" y="201094"/>
                    </a:lnTo>
                    <a:lnTo>
                      <a:pt x="305617" y="206492"/>
                    </a:lnTo>
                    <a:lnTo>
                      <a:pt x="322763" y="201094"/>
                    </a:lnTo>
                    <a:lnTo>
                      <a:pt x="330506" y="211889"/>
                    </a:lnTo>
                    <a:lnTo>
                      <a:pt x="393558" y="252908"/>
                    </a:lnTo>
                    <a:lnTo>
                      <a:pt x="433934" y="212968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6" name="Freeform 1068">
                <a:extLst>
                  <a:ext uri="{FF2B5EF4-FFF2-40B4-BE49-F238E27FC236}">
                    <a16:creationId xmlns:a16="http://schemas.microsoft.com/office/drawing/2014/main" id="{4F04DCFA-2F2D-4BD1-8411-B1F93D7FF2A8}"/>
                  </a:ext>
                </a:extLst>
              </p:cNvPr>
              <p:cNvSpPr/>
              <p:nvPr/>
            </p:nvSpPr>
            <p:spPr>
              <a:xfrm>
                <a:off x="6034059" y="3906040"/>
                <a:ext cx="61393" cy="84736"/>
              </a:xfrm>
              <a:custGeom>
                <a:avLst/>
                <a:gdLst>
                  <a:gd name="connsiteX0" fmla="*/ 59646 w 61393"/>
                  <a:gd name="connsiteY0" fmla="*/ 54166 h 84736"/>
                  <a:gd name="connsiteX1" fmla="*/ 60752 w 61393"/>
                  <a:gd name="connsiteY1" fmla="*/ 44451 h 84736"/>
                  <a:gd name="connsiteX2" fmla="*/ 45265 w 61393"/>
                  <a:gd name="connsiteY2" fmla="*/ 40133 h 84736"/>
                  <a:gd name="connsiteX3" fmla="*/ 36416 w 61393"/>
                  <a:gd name="connsiteY3" fmla="*/ 31498 h 84736"/>
                  <a:gd name="connsiteX4" fmla="*/ 30885 w 61393"/>
                  <a:gd name="connsiteY4" fmla="*/ 19624 h 84736"/>
                  <a:gd name="connsiteX5" fmla="*/ 32544 w 61393"/>
                  <a:gd name="connsiteY5" fmla="*/ 3432 h 84736"/>
                  <a:gd name="connsiteX6" fmla="*/ 24248 w 61393"/>
                  <a:gd name="connsiteY6" fmla="*/ 194 h 84736"/>
                  <a:gd name="connsiteX7" fmla="*/ 22588 w 61393"/>
                  <a:gd name="connsiteY7" fmla="*/ -346 h 84736"/>
                  <a:gd name="connsiteX8" fmla="*/ 17057 w 61393"/>
                  <a:gd name="connsiteY8" fmla="*/ 3972 h 84736"/>
                  <a:gd name="connsiteX9" fmla="*/ -641 w 61393"/>
                  <a:gd name="connsiteY9" fmla="*/ 40673 h 84736"/>
                  <a:gd name="connsiteX10" fmla="*/ 11527 w 61393"/>
                  <a:gd name="connsiteY10" fmla="*/ 59563 h 84736"/>
                  <a:gd name="connsiteX11" fmla="*/ 4336 w 61393"/>
                  <a:gd name="connsiteY11" fmla="*/ 71977 h 84736"/>
                  <a:gd name="connsiteX12" fmla="*/ 17057 w 61393"/>
                  <a:gd name="connsiteY12" fmla="*/ 84390 h 84736"/>
                  <a:gd name="connsiteX13" fmla="*/ 38628 w 61393"/>
                  <a:gd name="connsiteY13" fmla="*/ 77914 h 84736"/>
                  <a:gd name="connsiteX14" fmla="*/ 45265 w 61393"/>
                  <a:gd name="connsiteY14" fmla="*/ 78993 h 84736"/>
                  <a:gd name="connsiteX15" fmla="*/ 50243 w 61393"/>
                  <a:gd name="connsiteY15" fmla="*/ 69278 h 84736"/>
                  <a:gd name="connsiteX16" fmla="*/ 59646 w 61393"/>
                  <a:gd name="connsiteY16" fmla="*/ 54166 h 84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1393" h="84736">
                    <a:moveTo>
                      <a:pt x="59646" y="54166"/>
                    </a:moveTo>
                    <a:lnTo>
                      <a:pt x="60752" y="44451"/>
                    </a:lnTo>
                    <a:lnTo>
                      <a:pt x="45265" y="40133"/>
                    </a:lnTo>
                    <a:lnTo>
                      <a:pt x="36416" y="31498"/>
                    </a:lnTo>
                    <a:lnTo>
                      <a:pt x="30885" y="19624"/>
                    </a:lnTo>
                    <a:lnTo>
                      <a:pt x="32544" y="3432"/>
                    </a:lnTo>
                    <a:lnTo>
                      <a:pt x="24248" y="194"/>
                    </a:lnTo>
                    <a:lnTo>
                      <a:pt x="22588" y="-346"/>
                    </a:lnTo>
                    <a:lnTo>
                      <a:pt x="17057" y="3972"/>
                    </a:lnTo>
                    <a:lnTo>
                      <a:pt x="-641" y="40673"/>
                    </a:lnTo>
                    <a:lnTo>
                      <a:pt x="11527" y="59563"/>
                    </a:lnTo>
                    <a:lnTo>
                      <a:pt x="4336" y="71977"/>
                    </a:lnTo>
                    <a:lnTo>
                      <a:pt x="17057" y="84390"/>
                    </a:lnTo>
                    <a:lnTo>
                      <a:pt x="38628" y="77914"/>
                    </a:lnTo>
                    <a:lnTo>
                      <a:pt x="45265" y="78993"/>
                    </a:lnTo>
                    <a:lnTo>
                      <a:pt x="50243" y="69278"/>
                    </a:lnTo>
                    <a:cubicBezTo>
                      <a:pt x="53008" y="63881"/>
                      <a:pt x="55774" y="58484"/>
                      <a:pt x="59646" y="54166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7" name="Freeform 1069">
                <a:extLst>
                  <a:ext uri="{FF2B5EF4-FFF2-40B4-BE49-F238E27FC236}">
                    <a16:creationId xmlns:a16="http://schemas.microsoft.com/office/drawing/2014/main" id="{16C243CD-62D8-4A6B-BFC9-86F808269B56}"/>
                  </a:ext>
                </a:extLst>
              </p:cNvPr>
              <p:cNvSpPr/>
              <p:nvPr/>
            </p:nvSpPr>
            <p:spPr>
              <a:xfrm>
                <a:off x="7083828" y="3021434"/>
                <a:ext cx="402097" cy="316817"/>
              </a:xfrm>
              <a:custGeom>
                <a:avLst/>
                <a:gdLst>
                  <a:gd name="connsiteX0" fmla="*/ 107612 w 402097"/>
                  <a:gd name="connsiteY0" fmla="*/ 199990 h 316817"/>
                  <a:gd name="connsiteX1" fmla="*/ 128077 w 402097"/>
                  <a:gd name="connsiteY1" fmla="*/ 202149 h 316817"/>
                  <a:gd name="connsiteX2" fmla="*/ 152413 w 402097"/>
                  <a:gd name="connsiteY2" fmla="*/ 217801 h 316817"/>
                  <a:gd name="connsiteX3" fmla="*/ 152966 w 402097"/>
                  <a:gd name="connsiteY3" fmla="*/ 225896 h 316817"/>
                  <a:gd name="connsiteX4" fmla="*/ 142457 w 402097"/>
                  <a:gd name="connsiteY4" fmla="*/ 243168 h 316817"/>
                  <a:gd name="connsiteX5" fmla="*/ 157944 w 402097"/>
                  <a:gd name="connsiteY5" fmla="*/ 270154 h 316817"/>
                  <a:gd name="connsiteX6" fmla="*/ 170665 w 402097"/>
                  <a:gd name="connsiteY6" fmla="*/ 269074 h 316817"/>
                  <a:gd name="connsiteX7" fmla="*/ 207722 w 402097"/>
                  <a:gd name="connsiteY7" fmla="*/ 283647 h 316817"/>
                  <a:gd name="connsiteX8" fmla="*/ 212147 w 402097"/>
                  <a:gd name="connsiteY8" fmla="*/ 291203 h 316817"/>
                  <a:gd name="connsiteX9" fmla="*/ 216571 w 402097"/>
                  <a:gd name="connsiteY9" fmla="*/ 316570 h 316817"/>
                  <a:gd name="connsiteX10" fmla="*/ 234823 w 402097"/>
                  <a:gd name="connsiteY10" fmla="*/ 312252 h 316817"/>
                  <a:gd name="connsiteX11" fmla="*/ 246991 w 402097"/>
                  <a:gd name="connsiteY11" fmla="*/ 298759 h 316817"/>
                  <a:gd name="connsiteX12" fmla="*/ 280730 w 402097"/>
                  <a:gd name="connsiteY12" fmla="*/ 305236 h 316817"/>
                  <a:gd name="connsiteX13" fmla="*/ 289579 w 402097"/>
                  <a:gd name="connsiteY13" fmla="*/ 300918 h 316817"/>
                  <a:gd name="connsiteX14" fmla="*/ 331061 w 402097"/>
                  <a:gd name="connsiteY14" fmla="*/ 247485 h 316817"/>
                  <a:gd name="connsiteX15" fmla="*/ 337698 w 402097"/>
                  <a:gd name="connsiteY15" fmla="*/ 248565 h 316817"/>
                  <a:gd name="connsiteX16" fmla="*/ 344336 w 402097"/>
                  <a:gd name="connsiteY16" fmla="*/ 260439 h 316817"/>
                  <a:gd name="connsiteX17" fmla="*/ 349866 w 402097"/>
                  <a:gd name="connsiteY17" fmla="*/ 264756 h 316817"/>
                  <a:gd name="connsiteX18" fmla="*/ 364800 w 402097"/>
                  <a:gd name="connsiteY18" fmla="*/ 249644 h 316817"/>
                  <a:gd name="connsiteX19" fmla="*/ 368672 w 402097"/>
                  <a:gd name="connsiteY19" fmla="*/ 238310 h 316817"/>
                  <a:gd name="connsiteX20" fmla="*/ 350420 w 402097"/>
                  <a:gd name="connsiteY20" fmla="*/ 222118 h 316817"/>
                  <a:gd name="connsiteX21" fmla="*/ 352079 w 402097"/>
                  <a:gd name="connsiteY21" fmla="*/ 166527 h 316817"/>
                  <a:gd name="connsiteX22" fmla="*/ 363141 w 402097"/>
                  <a:gd name="connsiteY22" fmla="*/ 147097 h 316817"/>
                  <a:gd name="connsiteX23" fmla="*/ 401304 w 402097"/>
                  <a:gd name="connsiteY23" fmla="*/ 105538 h 316817"/>
                  <a:gd name="connsiteX24" fmla="*/ 385264 w 402097"/>
                  <a:gd name="connsiteY24" fmla="*/ 101220 h 316817"/>
                  <a:gd name="connsiteX25" fmla="*/ 382499 w 402097"/>
                  <a:gd name="connsiteY25" fmla="*/ 80171 h 316817"/>
                  <a:gd name="connsiteX26" fmla="*/ 373096 w 402097"/>
                  <a:gd name="connsiteY26" fmla="*/ 66678 h 316817"/>
                  <a:gd name="connsiteX27" fmla="*/ 310044 w 402097"/>
                  <a:gd name="connsiteY27" fmla="*/ 25659 h 316817"/>
                  <a:gd name="connsiteX28" fmla="*/ 302301 w 402097"/>
                  <a:gd name="connsiteY28" fmla="*/ 14865 h 316817"/>
                  <a:gd name="connsiteX29" fmla="*/ 285155 w 402097"/>
                  <a:gd name="connsiteY29" fmla="*/ 20262 h 316817"/>
                  <a:gd name="connsiteX30" fmla="*/ 265243 w 402097"/>
                  <a:gd name="connsiteY30" fmla="*/ 14865 h 316817"/>
                  <a:gd name="connsiteX31" fmla="*/ 248651 w 402097"/>
                  <a:gd name="connsiteY31" fmla="*/ -248 h 316817"/>
                  <a:gd name="connsiteX32" fmla="*/ 211040 w 402097"/>
                  <a:gd name="connsiteY32" fmla="*/ 28358 h 316817"/>
                  <a:gd name="connsiteX33" fmla="*/ 151306 w 402097"/>
                  <a:gd name="connsiteY33" fmla="*/ 24040 h 316817"/>
                  <a:gd name="connsiteX34" fmla="*/ 89913 w 402097"/>
                  <a:gd name="connsiteY34" fmla="*/ 36993 h 316817"/>
                  <a:gd name="connsiteX35" fmla="*/ 40688 w 402097"/>
                  <a:gd name="connsiteY35" fmla="*/ 53725 h 316817"/>
                  <a:gd name="connsiteX36" fmla="*/ -794 w 402097"/>
                  <a:gd name="connsiteY36" fmla="*/ 106618 h 316817"/>
                  <a:gd name="connsiteX37" fmla="*/ 8609 w 402097"/>
                  <a:gd name="connsiteY37" fmla="*/ 139001 h 316817"/>
                  <a:gd name="connsiteX38" fmla="*/ 20777 w 402097"/>
                  <a:gd name="connsiteY38" fmla="*/ 164368 h 316817"/>
                  <a:gd name="connsiteX39" fmla="*/ 31285 w 402097"/>
                  <a:gd name="connsiteY39" fmla="*/ 186497 h 316817"/>
                  <a:gd name="connsiteX40" fmla="*/ 53409 w 402097"/>
                  <a:gd name="connsiteY40" fmla="*/ 190275 h 316817"/>
                  <a:gd name="connsiteX41" fmla="*/ 66683 w 402097"/>
                  <a:gd name="connsiteY41" fmla="*/ 198910 h 316817"/>
                  <a:gd name="connsiteX42" fmla="*/ 107612 w 402097"/>
                  <a:gd name="connsiteY42" fmla="*/ 199990 h 316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02097" h="316817">
                    <a:moveTo>
                      <a:pt x="107612" y="199990"/>
                    </a:moveTo>
                    <a:lnTo>
                      <a:pt x="128077" y="202149"/>
                    </a:lnTo>
                    <a:lnTo>
                      <a:pt x="152413" y="217801"/>
                    </a:lnTo>
                    <a:lnTo>
                      <a:pt x="152966" y="225896"/>
                    </a:lnTo>
                    <a:lnTo>
                      <a:pt x="142457" y="243168"/>
                    </a:lnTo>
                    <a:lnTo>
                      <a:pt x="157944" y="270154"/>
                    </a:lnTo>
                    <a:lnTo>
                      <a:pt x="170665" y="269074"/>
                    </a:lnTo>
                    <a:lnTo>
                      <a:pt x="207722" y="283647"/>
                    </a:lnTo>
                    <a:lnTo>
                      <a:pt x="212147" y="291203"/>
                    </a:lnTo>
                    <a:lnTo>
                      <a:pt x="216571" y="316570"/>
                    </a:lnTo>
                    <a:lnTo>
                      <a:pt x="234823" y="312252"/>
                    </a:lnTo>
                    <a:lnTo>
                      <a:pt x="246991" y="298759"/>
                    </a:lnTo>
                    <a:lnTo>
                      <a:pt x="280730" y="305236"/>
                    </a:lnTo>
                    <a:lnTo>
                      <a:pt x="289579" y="300918"/>
                    </a:lnTo>
                    <a:lnTo>
                      <a:pt x="331061" y="247485"/>
                    </a:lnTo>
                    <a:lnTo>
                      <a:pt x="337698" y="248565"/>
                    </a:lnTo>
                    <a:lnTo>
                      <a:pt x="344336" y="260439"/>
                    </a:lnTo>
                    <a:lnTo>
                      <a:pt x="349866" y="264756"/>
                    </a:lnTo>
                    <a:lnTo>
                      <a:pt x="364800" y="249644"/>
                    </a:lnTo>
                    <a:lnTo>
                      <a:pt x="368672" y="238310"/>
                    </a:lnTo>
                    <a:lnTo>
                      <a:pt x="350420" y="222118"/>
                    </a:lnTo>
                    <a:lnTo>
                      <a:pt x="352079" y="166527"/>
                    </a:lnTo>
                    <a:lnTo>
                      <a:pt x="363141" y="147097"/>
                    </a:lnTo>
                    <a:lnTo>
                      <a:pt x="401304" y="105538"/>
                    </a:lnTo>
                    <a:lnTo>
                      <a:pt x="385264" y="101220"/>
                    </a:lnTo>
                    <a:lnTo>
                      <a:pt x="382499" y="80171"/>
                    </a:lnTo>
                    <a:lnTo>
                      <a:pt x="373096" y="66678"/>
                    </a:lnTo>
                    <a:lnTo>
                      <a:pt x="310044" y="25659"/>
                    </a:lnTo>
                    <a:lnTo>
                      <a:pt x="302301" y="14865"/>
                    </a:lnTo>
                    <a:lnTo>
                      <a:pt x="285155" y="20262"/>
                    </a:lnTo>
                    <a:lnTo>
                      <a:pt x="265243" y="14865"/>
                    </a:lnTo>
                    <a:lnTo>
                      <a:pt x="248651" y="-248"/>
                    </a:lnTo>
                    <a:lnTo>
                      <a:pt x="211040" y="28358"/>
                    </a:lnTo>
                    <a:lnTo>
                      <a:pt x="151306" y="24040"/>
                    </a:lnTo>
                    <a:lnTo>
                      <a:pt x="89913" y="36993"/>
                    </a:lnTo>
                    <a:lnTo>
                      <a:pt x="40688" y="53725"/>
                    </a:lnTo>
                    <a:lnTo>
                      <a:pt x="-794" y="106618"/>
                    </a:lnTo>
                    <a:cubicBezTo>
                      <a:pt x="4184" y="116333"/>
                      <a:pt x="4737" y="128746"/>
                      <a:pt x="8609" y="139001"/>
                    </a:cubicBezTo>
                    <a:cubicBezTo>
                      <a:pt x="11927" y="147637"/>
                      <a:pt x="17458" y="155732"/>
                      <a:pt x="20777" y="164368"/>
                    </a:cubicBezTo>
                    <a:cubicBezTo>
                      <a:pt x="24648" y="175162"/>
                      <a:pt x="20224" y="177321"/>
                      <a:pt x="31285" y="186497"/>
                    </a:cubicBezTo>
                    <a:cubicBezTo>
                      <a:pt x="44007" y="188655"/>
                      <a:pt x="48984" y="188655"/>
                      <a:pt x="53409" y="190275"/>
                    </a:cubicBezTo>
                    <a:cubicBezTo>
                      <a:pt x="58387" y="192434"/>
                      <a:pt x="61706" y="197291"/>
                      <a:pt x="66683" y="198910"/>
                    </a:cubicBezTo>
                    <a:cubicBezTo>
                      <a:pt x="80511" y="203768"/>
                      <a:pt x="93785" y="203228"/>
                      <a:pt x="107612" y="199990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8" name="Freeform 1070">
                <a:extLst>
                  <a:ext uri="{FF2B5EF4-FFF2-40B4-BE49-F238E27FC236}">
                    <a16:creationId xmlns:a16="http://schemas.microsoft.com/office/drawing/2014/main" id="{8232A8AA-B7B5-4A65-8450-FD536BDDC7C0}"/>
                  </a:ext>
                </a:extLst>
              </p:cNvPr>
              <p:cNvSpPr/>
              <p:nvPr/>
            </p:nvSpPr>
            <p:spPr>
              <a:xfrm>
                <a:off x="6337966" y="4248225"/>
                <a:ext cx="13568" cy="26446"/>
              </a:xfrm>
              <a:custGeom>
                <a:avLst/>
                <a:gdLst>
                  <a:gd name="connsiteX0" fmla="*/ 2936 w 13568"/>
                  <a:gd name="connsiteY0" fmla="*/ -386 h 26446"/>
                  <a:gd name="connsiteX1" fmla="*/ 12892 w 13568"/>
                  <a:gd name="connsiteY1" fmla="*/ 10948 h 26446"/>
                  <a:gd name="connsiteX2" fmla="*/ 11233 w 13568"/>
                  <a:gd name="connsiteY2" fmla="*/ 26060 h 26446"/>
                  <a:gd name="connsiteX3" fmla="*/ -382 w 13568"/>
                  <a:gd name="connsiteY3" fmla="*/ 23901 h 26446"/>
                  <a:gd name="connsiteX4" fmla="*/ 2936 w 13568"/>
                  <a:gd name="connsiteY4" fmla="*/ -386 h 26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68" h="26446">
                    <a:moveTo>
                      <a:pt x="2936" y="-386"/>
                    </a:moveTo>
                    <a:lnTo>
                      <a:pt x="12892" y="10948"/>
                    </a:lnTo>
                    <a:lnTo>
                      <a:pt x="11233" y="26060"/>
                    </a:lnTo>
                    <a:lnTo>
                      <a:pt x="-382" y="23901"/>
                    </a:lnTo>
                    <a:cubicBezTo>
                      <a:pt x="-1488" y="14186"/>
                      <a:pt x="724" y="6630"/>
                      <a:pt x="2936" y="-386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39" name="Freeform 1071">
                <a:extLst>
                  <a:ext uri="{FF2B5EF4-FFF2-40B4-BE49-F238E27FC236}">
                    <a16:creationId xmlns:a16="http://schemas.microsoft.com/office/drawing/2014/main" id="{F8C0CDC4-0548-46B1-8A1A-C6C9CD6BEEC8}"/>
                  </a:ext>
                </a:extLst>
              </p:cNvPr>
              <p:cNvSpPr/>
              <p:nvPr/>
            </p:nvSpPr>
            <p:spPr>
              <a:xfrm>
                <a:off x="8903501" y="5238077"/>
                <a:ext cx="100109" cy="230461"/>
              </a:xfrm>
              <a:custGeom>
                <a:avLst/>
                <a:gdLst>
                  <a:gd name="connsiteX0" fmla="*/ 22781 w 100109"/>
                  <a:gd name="connsiteY0" fmla="*/ 18364 h 230461"/>
                  <a:gd name="connsiteX1" fmla="*/ 48776 w 100109"/>
                  <a:gd name="connsiteY1" fmla="*/ 10269 h 230461"/>
                  <a:gd name="connsiteX2" fmla="*/ 52095 w 100109"/>
                  <a:gd name="connsiteY2" fmla="*/ 14 h 230461"/>
                  <a:gd name="connsiteX3" fmla="*/ 68134 w 100109"/>
                  <a:gd name="connsiteY3" fmla="*/ -526 h 230461"/>
                  <a:gd name="connsiteX4" fmla="*/ 64263 w 100109"/>
                  <a:gd name="connsiteY4" fmla="*/ 15666 h 230461"/>
                  <a:gd name="connsiteX5" fmla="*/ 75324 w 100109"/>
                  <a:gd name="connsiteY5" fmla="*/ 16745 h 230461"/>
                  <a:gd name="connsiteX6" fmla="*/ 87492 w 100109"/>
                  <a:gd name="connsiteY6" fmla="*/ 23222 h 230461"/>
                  <a:gd name="connsiteX7" fmla="*/ 85833 w 100109"/>
                  <a:gd name="connsiteY7" fmla="*/ 28619 h 230461"/>
                  <a:gd name="connsiteX8" fmla="*/ 99107 w 100109"/>
                  <a:gd name="connsiteY8" fmla="*/ 46430 h 230461"/>
                  <a:gd name="connsiteX9" fmla="*/ 93576 w 100109"/>
                  <a:gd name="connsiteY9" fmla="*/ 65860 h 230461"/>
                  <a:gd name="connsiteX10" fmla="*/ 82515 w 100109"/>
                  <a:gd name="connsiteY10" fmla="*/ 71797 h 230461"/>
                  <a:gd name="connsiteX11" fmla="*/ 78090 w 100109"/>
                  <a:gd name="connsiteY11" fmla="*/ 87449 h 230461"/>
                  <a:gd name="connsiteX12" fmla="*/ 89705 w 100109"/>
                  <a:gd name="connsiteY12" fmla="*/ 96085 h 230461"/>
                  <a:gd name="connsiteX13" fmla="*/ 70347 w 100109"/>
                  <a:gd name="connsiteY13" fmla="*/ 102022 h 230461"/>
                  <a:gd name="connsiteX14" fmla="*/ 63709 w 100109"/>
                  <a:gd name="connsiteY14" fmla="*/ 106879 h 230461"/>
                  <a:gd name="connsiteX15" fmla="*/ 58732 w 100109"/>
                  <a:gd name="connsiteY15" fmla="*/ 133325 h 230461"/>
                  <a:gd name="connsiteX16" fmla="*/ 67581 w 100109"/>
                  <a:gd name="connsiteY16" fmla="*/ 137643 h 230461"/>
                  <a:gd name="connsiteX17" fmla="*/ 43245 w 100109"/>
                  <a:gd name="connsiteY17" fmla="*/ 191616 h 230461"/>
                  <a:gd name="connsiteX18" fmla="*/ 37161 w 100109"/>
                  <a:gd name="connsiteY18" fmla="*/ 192695 h 230461"/>
                  <a:gd name="connsiteX19" fmla="*/ 29971 w 100109"/>
                  <a:gd name="connsiteY19" fmla="*/ 215903 h 230461"/>
                  <a:gd name="connsiteX20" fmla="*/ -1002 w 100109"/>
                  <a:gd name="connsiteY20" fmla="*/ 229936 h 230461"/>
                  <a:gd name="connsiteX21" fmla="*/ 1763 w 100109"/>
                  <a:gd name="connsiteY21" fmla="*/ 213205 h 230461"/>
                  <a:gd name="connsiteX22" fmla="*/ 104 w 100109"/>
                  <a:gd name="connsiteY22" fmla="*/ 197553 h 230461"/>
                  <a:gd name="connsiteX23" fmla="*/ 6741 w 100109"/>
                  <a:gd name="connsiteY23" fmla="*/ 153835 h 230461"/>
                  <a:gd name="connsiteX24" fmla="*/ 7847 w 100109"/>
                  <a:gd name="connsiteY24" fmla="*/ 124150 h 230461"/>
                  <a:gd name="connsiteX25" fmla="*/ 13378 w 100109"/>
                  <a:gd name="connsiteY25" fmla="*/ 109578 h 230461"/>
                  <a:gd name="connsiteX26" fmla="*/ 10060 w 100109"/>
                  <a:gd name="connsiteY26" fmla="*/ 86909 h 230461"/>
                  <a:gd name="connsiteX27" fmla="*/ 11166 w 100109"/>
                  <a:gd name="connsiteY27" fmla="*/ 67479 h 230461"/>
                  <a:gd name="connsiteX28" fmla="*/ 15590 w 100109"/>
                  <a:gd name="connsiteY28" fmla="*/ 51288 h 230461"/>
                  <a:gd name="connsiteX29" fmla="*/ 27758 w 100109"/>
                  <a:gd name="connsiteY29" fmla="*/ 27540 h 230461"/>
                  <a:gd name="connsiteX30" fmla="*/ 22781 w 100109"/>
                  <a:gd name="connsiteY30" fmla="*/ 18364 h 23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00109" h="230461">
                    <a:moveTo>
                      <a:pt x="22781" y="18364"/>
                    </a:moveTo>
                    <a:lnTo>
                      <a:pt x="48776" y="10269"/>
                    </a:lnTo>
                    <a:lnTo>
                      <a:pt x="52095" y="14"/>
                    </a:lnTo>
                    <a:lnTo>
                      <a:pt x="68134" y="-526"/>
                    </a:lnTo>
                    <a:lnTo>
                      <a:pt x="64263" y="15666"/>
                    </a:lnTo>
                    <a:lnTo>
                      <a:pt x="75324" y="16745"/>
                    </a:lnTo>
                    <a:lnTo>
                      <a:pt x="87492" y="23222"/>
                    </a:lnTo>
                    <a:lnTo>
                      <a:pt x="85833" y="28619"/>
                    </a:lnTo>
                    <a:lnTo>
                      <a:pt x="99107" y="46430"/>
                    </a:lnTo>
                    <a:lnTo>
                      <a:pt x="93576" y="65860"/>
                    </a:lnTo>
                    <a:lnTo>
                      <a:pt x="82515" y="71797"/>
                    </a:lnTo>
                    <a:lnTo>
                      <a:pt x="78090" y="87449"/>
                    </a:lnTo>
                    <a:lnTo>
                      <a:pt x="89705" y="96085"/>
                    </a:lnTo>
                    <a:lnTo>
                      <a:pt x="70347" y="102022"/>
                    </a:lnTo>
                    <a:lnTo>
                      <a:pt x="63709" y="106879"/>
                    </a:lnTo>
                    <a:lnTo>
                      <a:pt x="58732" y="133325"/>
                    </a:lnTo>
                    <a:lnTo>
                      <a:pt x="67581" y="137643"/>
                    </a:lnTo>
                    <a:lnTo>
                      <a:pt x="43245" y="191616"/>
                    </a:lnTo>
                    <a:lnTo>
                      <a:pt x="37161" y="192695"/>
                    </a:lnTo>
                    <a:lnTo>
                      <a:pt x="29971" y="215903"/>
                    </a:lnTo>
                    <a:lnTo>
                      <a:pt x="-1002" y="229936"/>
                    </a:lnTo>
                    <a:cubicBezTo>
                      <a:pt x="104" y="224539"/>
                      <a:pt x="1210" y="218602"/>
                      <a:pt x="1763" y="213205"/>
                    </a:cubicBezTo>
                    <a:cubicBezTo>
                      <a:pt x="1763" y="207807"/>
                      <a:pt x="104" y="202410"/>
                      <a:pt x="104" y="197553"/>
                    </a:cubicBezTo>
                    <a:cubicBezTo>
                      <a:pt x="657" y="183520"/>
                      <a:pt x="5635" y="167868"/>
                      <a:pt x="6741" y="153835"/>
                    </a:cubicBezTo>
                    <a:cubicBezTo>
                      <a:pt x="7847" y="144120"/>
                      <a:pt x="6188" y="133865"/>
                      <a:pt x="7847" y="124150"/>
                    </a:cubicBezTo>
                    <a:cubicBezTo>
                      <a:pt x="8953" y="119293"/>
                      <a:pt x="12825" y="114975"/>
                      <a:pt x="13378" y="109578"/>
                    </a:cubicBezTo>
                    <a:cubicBezTo>
                      <a:pt x="13931" y="102022"/>
                      <a:pt x="10613" y="94465"/>
                      <a:pt x="10060" y="86909"/>
                    </a:cubicBezTo>
                    <a:cubicBezTo>
                      <a:pt x="10060" y="80433"/>
                      <a:pt x="10060" y="73416"/>
                      <a:pt x="11166" y="67479"/>
                    </a:cubicBezTo>
                    <a:cubicBezTo>
                      <a:pt x="11719" y="62082"/>
                      <a:pt x="13931" y="56145"/>
                      <a:pt x="15590" y="51288"/>
                    </a:cubicBezTo>
                    <a:cubicBezTo>
                      <a:pt x="17803" y="46430"/>
                      <a:pt x="27758" y="31318"/>
                      <a:pt x="27758" y="27540"/>
                    </a:cubicBezTo>
                    <a:cubicBezTo>
                      <a:pt x="27758" y="23762"/>
                      <a:pt x="25546" y="20523"/>
                      <a:pt x="22781" y="18364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0" name="Freeform 1072">
                <a:extLst>
                  <a:ext uri="{FF2B5EF4-FFF2-40B4-BE49-F238E27FC236}">
                    <a16:creationId xmlns:a16="http://schemas.microsoft.com/office/drawing/2014/main" id="{CF58876F-9097-4F43-A9E5-A052D02F7E44}"/>
                  </a:ext>
                </a:extLst>
              </p:cNvPr>
              <p:cNvSpPr/>
              <p:nvPr/>
            </p:nvSpPr>
            <p:spPr>
              <a:xfrm>
                <a:off x="9062791" y="1514526"/>
                <a:ext cx="806408" cy="2111127"/>
              </a:xfrm>
              <a:custGeom>
                <a:avLst/>
                <a:gdLst>
                  <a:gd name="connsiteX0" fmla="*/ 518287 w 806408"/>
                  <a:gd name="connsiteY0" fmla="*/ 570858 h 2111127"/>
                  <a:gd name="connsiteX1" fmla="*/ 516628 w 806408"/>
                  <a:gd name="connsiteY1" fmla="*/ 588669 h 2111127"/>
                  <a:gd name="connsiteX2" fmla="*/ 532114 w 806408"/>
                  <a:gd name="connsiteY2" fmla="*/ 605400 h 2111127"/>
                  <a:gd name="connsiteX3" fmla="*/ 546495 w 806408"/>
                  <a:gd name="connsiteY3" fmla="*/ 611337 h 2111127"/>
                  <a:gd name="connsiteX4" fmla="*/ 625034 w 806408"/>
                  <a:gd name="connsiteY4" fmla="*/ 598923 h 2111127"/>
                  <a:gd name="connsiteX5" fmla="*/ 628352 w 806408"/>
                  <a:gd name="connsiteY5" fmla="*/ 610257 h 2111127"/>
                  <a:gd name="connsiteX6" fmla="*/ 623375 w 806408"/>
                  <a:gd name="connsiteY6" fmla="*/ 623751 h 2111127"/>
                  <a:gd name="connsiteX7" fmla="*/ 616738 w 806408"/>
                  <a:gd name="connsiteY7" fmla="*/ 631307 h 2111127"/>
                  <a:gd name="connsiteX8" fmla="*/ 595720 w 806408"/>
                  <a:gd name="connsiteY8" fmla="*/ 643181 h 2111127"/>
                  <a:gd name="connsiteX9" fmla="*/ 580787 w 806408"/>
                  <a:gd name="connsiteY9" fmla="*/ 694454 h 2111127"/>
                  <a:gd name="connsiteX10" fmla="*/ 629459 w 806408"/>
                  <a:gd name="connsiteY10" fmla="*/ 717662 h 2111127"/>
                  <a:gd name="connsiteX11" fmla="*/ 621162 w 806408"/>
                  <a:gd name="connsiteY11" fmla="*/ 762459 h 2111127"/>
                  <a:gd name="connsiteX12" fmla="*/ 622268 w 806408"/>
                  <a:gd name="connsiteY12" fmla="*/ 792144 h 2111127"/>
                  <a:gd name="connsiteX13" fmla="*/ 631118 w 806408"/>
                  <a:gd name="connsiteY13" fmla="*/ 789985 h 2111127"/>
                  <a:gd name="connsiteX14" fmla="*/ 653242 w 806408"/>
                  <a:gd name="connsiteY14" fmla="*/ 795922 h 2111127"/>
                  <a:gd name="connsiteX15" fmla="*/ 664857 w 806408"/>
                  <a:gd name="connsiteY15" fmla="*/ 790525 h 2111127"/>
                  <a:gd name="connsiteX16" fmla="*/ 701914 w 806408"/>
                  <a:gd name="connsiteY16" fmla="*/ 791065 h 2111127"/>
                  <a:gd name="connsiteX17" fmla="*/ 716847 w 806408"/>
                  <a:gd name="connsiteY17" fmla="*/ 783509 h 2111127"/>
                  <a:gd name="connsiteX18" fmla="*/ 758329 w 806408"/>
                  <a:gd name="connsiteY18" fmla="*/ 782969 h 2111127"/>
                  <a:gd name="connsiteX19" fmla="*/ 770497 w 806408"/>
                  <a:gd name="connsiteY19" fmla="*/ 800780 h 2111127"/>
                  <a:gd name="connsiteX20" fmla="*/ 777134 w 806408"/>
                  <a:gd name="connsiteY20" fmla="*/ 859070 h 2111127"/>
                  <a:gd name="connsiteX21" fmla="*/ 768285 w 806408"/>
                  <a:gd name="connsiteY21" fmla="*/ 877420 h 2111127"/>
                  <a:gd name="connsiteX22" fmla="*/ 727909 w 806408"/>
                  <a:gd name="connsiteY22" fmla="*/ 914122 h 2111127"/>
                  <a:gd name="connsiteX23" fmla="*/ 719060 w 806408"/>
                  <a:gd name="connsiteY23" fmla="*/ 918439 h 2111127"/>
                  <a:gd name="connsiteX24" fmla="*/ 710210 w 806408"/>
                  <a:gd name="connsiteY24" fmla="*/ 958919 h 2111127"/>
                  <a:gd name="connsiteX25" fmla="*/ 678684 w 806408"/>
                  <a:gd name="connsiteY25" fmla="*/ 967015 h 2111127"/>
                  <a:gd name="connsiteX26" fmla="*/ 620056 w 806408"/>
                  <a:gd name="connsiteY26" fmla="*/ 981047 h 2111127"/>
                  <a:gd name="connsiteX27" fmla="*/ 602357 w 806408"/>
                  <a:gd name="connsiteY27" fmla="*/ 969713 h 2111127"/>
                  <a:gd name="connsiteX28" fmla="*/ 556450 w 806408"/>
                  <a:gd name="connsiteY28" fmla="*/ 986984 h 2111127"/>
                  <a:gd name="connsiteX29" fmla="*/ 556450 w 806408"/>
                  <a:gd name="connsiteY29" fmla="*/ 996160 h 2111127"/>
                  <a:gd name="connsiteX30" fmla="*/ 566406 w 806408"/>
                  <a:gd name="connsiteY30" fmla="*/ 1015050 h 2111127"/>
                  <a:gd name="connsiteX31" fmla="*/ 565853 w 806408"/>
                  <a:gd name="connsiteY31" fmla="*/ 1028003 h 2111127"/>
                  <a:gd name="connsiteX32" fmla="*/ 550920 w 806408"/>
                  <a:gd name="connsiteY32" fmla="*/ 1036099 h 2111127"/>
                  <a:gd name="connsiteX33" fmla="*/ 530455 w 806408"/>
                  <a:gd name="connsiteY33" fmla="*/ 1032321 h 2111127"/>
                  <a:gd name="connsiteX34" fmla="*/ 506672 w 806408"/>
                  <a:gd name="connsiteY34" fmla="*/ 1068483 h 2111127"/>
                  <a:gd name="connsiteX35" fmla="*/ 497270 w 806408"/>
                  <a:gd name="connsiteY35" fmla="*/ 1073880 h 2111127"/>
                  <a:gd name="connsiteX36" fmla="*/ 481230 w 806408"/>
                  <a:gd name="connsiteY36" fmla="*/ 1144584 h 2111127"/>
                  <a:gd name="connsiteX37" fmla="*/ 471827 w 806408"/>
                  <a:gd name="connsiteY37" fmla="*/ 1152679 h 2111127"/>
                  <a:gd name="connsiteX38" fmla="*/ 451916 w 806408"/>
                  <a:gd name="connsiteY38" fmla="*/ 1150520 h 2111127"/>
                  <a:gd name="connsiteX39" fmla="*/ 406563 w 806408"/>
                  <a:gd name="connsiteY39" fmla="*/ 1163474 h 2111127"/>
                  <a:gd name="connsiteX40" fmla="*/ 429792 w 806408"/>
                  <a:gd name="connsiteY40" fmla="*/ 1215827 h 2111127"/>
                  <a:gd name="connsiteX41" fmla="*/ 424815 w 806408"/>
                  <a:gd name="connsiteY41" fmla="*/ 1217986 h 2111127"/>
                  <a:gd name="connsiteX42" fmla="*/ 407116 w 806408"/>
                  <a:gd name="connsiteY42" fmla="*/ 1213128 h 2111127"/>
                  <a:gd name="connsiteX43" fmla="*/ 397713 w 806408"/>
                  <a:gd name="connsiteY43" fmla="*/ 1204493 h 2111127"/>
                  <a:gd name="connsiteX44" fmla="*/ 389970 w 806408"/>
                  <a:gd name="connsiteY44" fmla="*/ 1186682 h 2111127"/>
                  <a:gd name="connsiteX45" fmla="*/ 342957 w 806408"/>
                  <a:gd name="connsiteY45" fmla="*/ 1174808 h 2111127"/>
                  <a:gd name="connsiteX46" fmla="*/ 289307 w 806408"/>
                  <a:gd name="connsiteY46" fmla="*/ 1175348 h 2111127"/>
                  <a:gd name="connsiteX47" fmla="*/ 284882 w 806408"/>
                  <a:gd name="connsiteY47" fmla="*/ 1172649 h 2111127"/>
                  <a:gd name="connsiteX48" fmla="*/ 282670 w 806408"/>
                  <a:gd name="connsiteY48" fmla="*/ 1165093 h 2111127"/>
                  <a:gd name="connsiteX49" fmla="*/ 225148 w 806408"/>
                  <a:gd name="connsiteY49" fmla="*/ 1194778 h 2111127"/>
                  <a:gd name="connsiteX50" fmla="*/ 214086 w 806408"/>
                  <a:gd name="connsiteY50" fmla="*/ 1191000 h 2111127"/>
                  <a:gd name="connsiteX51" fmla="*/ 206343 w 806408"/>
                  <a:gd name="connsiteY51" fmla="*/ 1181824 h 2111127"/>
                  <a:gd name="connsiteX52" fmla="*/ 177582 w 806408"/>
                  <a:gd name="connsiteY52" fmla="*/ 1212589 h 2111127"/>
                  <a:gd name="connsiteX53" fmla="*/ 172051 w 806408"/>
                  <a:gd name="connsiteY53" fmla="*/ 1229860 h 2111127"/>
                  <a:gd name="connsiteX54" fmla="*/ 160437 w 806408"/>
                  <a:gd name="connsiteY54" fmla="*/ 1242813 h 2111127"/>
                  <a:gd name="connsiteX55" fmla="*/ 147715 w 806408"/>
                  <a:gd name="connsiteY55" fmla="*/ 1246591 h 2111127"/>
                  <a:gd name="connsiteX56" fmla="*/ 141078 w 806408"/>
                  <a:gd name="connsiteY56" fmla="*/ 1241194 h 2111127"/>
                  <a:gd name="connsiteX57" fmla="*/ 122826 w 806408"/>
                  <a:gd name="connsiteY57" fmla="*/ 1253068 h 2111127"/>
                  <a:gd name="connsiteX58" fmla="*/ 101256 w 806408"/>
                  <a:gd name="connsiteY58" fmla="*/ 1254687 h 2111127"/>
                  <a:gd name="connsiteX59" fmla="*/ 102362 w 806408"/>
                  <a:gd name="connsiteY59" fmla="*/ 1280594 h 2111127"/>
                  <a:gd name="connsiteX60" fmla="*/ 96831 w 806408"/>
                  <a:gd name="connsiteY60" fmla="*/ 1296246 h 2111127"/>
                  <a:gd name="connsiteX61" fmla="*/ 104021 w 806408"/>
                  <a:gd name="connsiteY61" fmla="*/ 1338344 h 2111127"/>
                  <a:gd name="connsiteX62" fmla="*/ 87428 w 806408"/>
                  <a:gd name="connsiteY62" fmla="*/ 1380443 h 2111127"/>
                  <a:gd name="connsiteX63" fmla="*/ 76920 w 806408"/>
                  <a:gd name="connsiteY63" fmla="*/ 1452766 h 2111127"/>
                  <a:gd name="connsiteX64" fmla="*/ 69176 w 806408"/>
                  <a:gd name="connsiteY64" fmla="*/ 1464100 h 2111127"/>
                  <a:gd name="connsiteX65" fmla="*/ 67517 w 806408"/>
                  <a:gd name="connsiteY65" fmla="*/ 1470576 h 2111127"/>
                  <a:gd name="connsiteX66" fmla="*/ 109552 w 806408"/>
                  <a:gd name="connsiteY66" fmla="*/ 1533184 h 2111127"/>
                  <a:gd name="connsiteX67" fmla="*/ 109552 w 806408"/>
                  <a:gd name="connsiteY67" fmla="*/ 1539661 h 2111127"/>
                  <a:gd name="connsiteX68" fmla="*/ 103468 w 806408"/>
                  <a:gd name="connsiteY68" fmla="*/ 1549376 h 2111127"/>
                  <a:gd name="connsiteX69" fmla="*/ 88535 w 806408"/>
                  <a:gd name="connsiteY69" fmla="*/ 1558551 h 2111127"/>
                  <a:gd name="connsiteX70" fmla="*/ 40 w 806408"/>
                  <a:gd name="connsiteY70" fmla="*/ 1529946 h 2111127"/>
                  <a:gd name="connsiteX71" fmla="*/ -1066 w 806408"/>
                  <a:gd name="connsiteY71" fmla="*/ 1559091 h 2111127"/>
                  <a:gd name="connsiteX72" fmla="*/ 3912 w 806408"/>
                  <a:gd name="connsiteY72" fmla="*/ 1582299 h 2111127"/>
                  <a:gd name="connsiteX73" fmla="*/ 1146 w 806408"/>
                  <a:gd name="connsiteY73" fmla="*/ 1616302 h 2111127"/>
                  <a:gd name="connsiteX74" fmla="*/ 9442 w 806408"/>
                  <a:gd name="connsiteY74" fmla="*/ 1643828 h 2111127"/>
                  <a:gd name="connsiteX75" fmla="*/ 27694 w 806408"/>
                  <a:gd name="connsiteY75" fmla="*/ 1689164 h 2111127"/>
                  <a:gd name="connsiteX76" fmla="*/ 34332 w 806408"/>
                  <a:gd name="connsiteY76" fmla="*/ 1692942 h 2111127"/>
                  <a:gd name="connsiteX77" fmla="*/ 40416 w 806408"/>
                  <a:gd name="connsiteY77" fmla="*/ 1696720 h 2111127"/>
                  <a:gd name="connsiteX78" fmla="*/ 32672 w 806408"/>
                  <a:gd name="connsiteY78" fmla="*/ 1722087 h 2111127"/>
                  <a:gd name="connsiteX79" fmla="*/ 55902 w 806408"/>
                  <a:gd name="connsiteY79" fmla="*/ 1780378 h 2111127"/>
                  <a:gd name="connsiteX80" fmla="*/ 94619 w 806408"/>
                  <a:gd name="connsiteY80" fmla="*/ 1774980 h 2111127"/>
                  <a:gd name="connsiteX81" fmla="*/ 102362 w 806408"/>
                  <a:gd name="connsiteY81" fmla="*/ 1777139 h 2111127"/>
                  <a:gd name="connsiteX82" fmla="*/ 125039 w 806408"/>
                  <a:gd name="connsiteY82" fmla="*/ 1810602 h 2111127"/>
                  <a:gd name="connsiteX83" fmla="*/ 141631 w 806408"/>
                  <a:gd name="connsiteY83" fmla="*/ 1806284 h 2111127"/>
                  <a:gd name="connsiteX84" fmla="*/ 144397 w 806408"/>
                  <a:gd name="connsiteY84" fmla="*/ 1796030 h 2111127"/>
                  <a:gd name="connsiteX85" fmla="*/ 154906 w 806408"/>
                  <a:gd name="connsiteY85" fmla="*/ 1781997 h 2111127"/>
                  <a:gd name="connsiteX86" fmla="*/ 183666 w 806408"/>
                  <a:gd name="connsiteY86" fmla="*/ 1764726 h 2111127"/>
                  <a:gd name="connsiteX87" fmla="*/ 191963 w 806408"/>
                  <a:gd name="connsiteY87" fmla="*/ 1763106 h 2111127"/>
                  <a:gd name="connsiteX88" fmla="*/ 251697 w 806408"/>
                  <a:gd name="connsiteY88" fmla="*/ 1805745 h 2111127"/>
                  <a:gd name="connsiteX89" fmla="*/ 298710 w 806408"/>
                  <a:gd name="connsiteY89" fmla="*/ 1858637 h 2111127"/>
                  <a:gd name="connsiteX90" fmla="*/ 273820 w 806408"/>
                  <a:gd name="connsiteY90" fmla="*/ 1867813 h 2111127"/>
                  <a:gd name="connsiteX91" fmla="*/ 281011 w 806408"/>
                  <a:gd name="connsiteY91" fmla="*/ 1878607 h 2111127"/>
                  <a:gd name="connsiteX92" fmla="*/ 296497 w 806408"/>
                  <a:gd name="connsiteY92" fmla="*/ 1869972 h 2111127"/>
                  <a:gd name="connsiteX93" fmla="*/ 305900 w 806408"/>
                  <a:gd name="connsiteY93" fmla="*/ 1866733 h 2111127"/>
                  <a:gd name="connsiteX94" fmla="*/ 320833 w 806408"/>
                  <a:gd name="connsiteY94" fmla="*/ 1860257 h 2111127"/>
                  <a:gd name="connsiteX95" fmla="*/ 355125 w 806408"/>
                  <a:gd name="connsiteY95" fmla="*/ 1858098 h 2111127"/>
                  <a:gd name="connsiteX96" fmla="*/ 356231 w 806408"/>
                  <a:gd name="connsiteY96" fmla="*/ 1851081 h 2111127"/>
                  <a:gd name="connsiteX97" fmla="*/ 366187 w 806408"/>
                  <a:gd name="connsiteY97" fmla="*/ 1842985 h 2111127"/>
                  <a:gd name="connsiteX98" fmla="*/ 371165 w 806408"/>
                  <a:gd name="connsiteY98" fmla="*/ 1837049 h 2111127"/>
                  <a:gd name="connsiteX99" fmla="*/ 388864 w 806408"/>
                  <a:gd name="connsiteY99" fmla="*/ 1821397 h 2111127"/>
                  <a:gd name="connsiteX100" fmla="*/ 399925 w 806408"/>
                  <a:gd name="connsiteY100" fmla="*/ 1790632 h 2111127"/>
                  <a:gd name="connsiteX101" fmla="*/ 407669 w 806408"/>
                  <a:gd name="connsiteY101" fmla="*/ 1761487 h 2111127"/>
                  <a:gd name="connsiteX102" fmla="*/ 419284 w 806408"/>
                  <a:gd name="connsiteY102" fmla="*/ 1745296 h 2111127"/>
                  <a:gd name="connsiteX103" fmla="*/ 451916 w 806408"/>
                  <a:gd name="connsiteY103" fmla="*/ 1695641 h 2111127"/>
                  <a:gd name="connsiteX104" fmla="*/ 482889 w 806408"/>
                  <a:gd name="connsiteY104" fmla="*/ 1692942 h 2111127"/>
                  <a:gd name="connsiteX105" fmla="*/ 498376 w 806408"/>
                  <a:gd name="connsiteY105" fmla="*/ 1689164 h 2111127"/>
                  <a:gd name="connsiteX106" fmla="*/ 515522 w 806408"/>
                  <a:gd name="connsiteY106" fmla="*/ 1688625 h 2111127"/>
                  <a:gd name="connsiteX107" fmla="*/ 518287 w 806408"/>
                  <a:gd name="connsiteY107" fmla="*/ 1687005 h 2111127"/>
                  <a:gd name="connsiteX108" fmla="*/ 534327 w 806408"/>
                  <a:gd name="connsiteY108" fmla="*/ 1655162 h 2111127"/>
                  <a:gd name="connsiteX109" fmla="*/ 547048 w 806408"/>
                  <a:gd name="connsiteY109" fmla="*/ 1645447 h 2111127"/>
                  <a:gd name="connsiteX110" fmla="*/ 561428 w 806408"/>
                  <a:gd name="connsiteY110" fmla="*/ 1635192 h 2111127"/>
                  <a:gd name="connsiteX111" fmla="*/ 582999 w 806408"/>
                  <a:gd name="connsiteY111" fmla="*/ 1635192 h 2111127"/>
                  <a:gd name="connsiteX112" fmla="*/ 586871 w 806408"/>
                  <a:gd name="connsiteY112" fmla="*/ 1639510 h 2111127"/>
                  <a:gd name="connsiteX113" fmla="*/ 599039 w 806408"/>
                  <a:gd name="connsiteY113" fmla="*/ 1646526 h 2111127"/>
                  <a:gd name="connsiteX114" fmla="*/ 601804 w 806408"/>
                  <a:gd name="connsiteY114" fmla="*/ 1663797 h 2111127"/>
                  <a:gd name="connsiteX115" fmla="*/ 629459 w 806408"/>
                  <a:gd name="connsiteY115" fmla="*/ 1694022 h 2111127"/>
                  <a:gd name="connsiteX116" fmla="*/ 636096 w 806408"/>
                  <a:gd name="connsiteY116" fmla="*/ 1726405 h 2111127"/>
                  <a:gd name="connsiteX117" fmla="*/ 641627 w 806408"/>
                  <a:gd name="connsiteY117" fmla="*/ 1777139 h 2111127"/>
                  <a:gd name="connsiteX118" fmla="*/ 644392 w 806408"/>
                  <a:gd name="connsiteY118" fmla="*/ 1782536 h 2111127"/>
                  <a:gd name="connsiteX119" fmla="*/ 684768 w 806408"/>
                  <a:gd name="connsiteY119" fmla="*/ 1778219 h 2111127"/>
                  <a:gd name="connsiteX120" fmla="*/ 686980 w 806408"/>
                  <a:gd name="connsiteY120" fmla="*/ 1780917 h 2111127"/>
                  <a:gd name="connsiteX121" fmla="*/ 657666 w 806408"/>
                  <a:gd name="connsiteY121" fmla="*/ 1812221 h 2111127"/>
                  <a:gd name="connsiteX122" fmla="*/ 628352 w 806408"/>
                  <a:gd name="connsiteY122" fmla="*/ 1823016 h 2111127"/>
                  <a:gd name="connsiteX123" fmla="*/ 606782 w 806408"/>
                  <a:gd name="connsiteY123" fmla="*/ 1836509 h 2111127"/>
                  <a:gd name="connsiteX124" fmla="*/ 596826 w 806408"/>
                  <a:gd name="connsiteY124" fmla="*/ 1844605 h 2111127"/>
                  <a:gd name="connsiteX125" fmla="*/ 582446 w 806408"/>
                  <a:gd name="connsiteY125" fmla="*/ 1853780 h 2111127"/>
                  <a:gd name="connsiteX126" fmla="*/ 573596 w 806408"/>
                  <a:gd name="connsiteY126" fmla="*/ 1867273 h 2111127"/>
                  <a:gd name="connsiteX127" fmla="*/ 564194 w 806408"/>
                  <a:gd name="connsiteY127" fmla="*/ 1879147 h 2111127"/>
                  <a:gd name="connsiteX128" fmla="*/ 569172 w 806408"/>
                  <a:gd name="connsiteY128" fmla="*/ 1899117 h 2111127"/>
                  <a:gd name="connsiteX129" fmla="*/ 575256 w 806408"/>
                  <a:gd name="connsiteY129" fmla="*/ 1910451 h 2111127"/>
                  <a:gd name="connsiteX130" fmla="*/ 568618 w 806408"/>
                  <a:gd name="connsiteY130" fmla="*/ 1923404 h 2111127"/>
                  <a:gd name="connsiteX131" fmla="*/ 574149 w 806408"/>
                  <a:gd name="connsiteY131" fmla="*/ 1948232 h 2111127"/>
                  <a:gd name="connsiteX132" fmla="*/ 593508 w 806408"/>
                  <a:gd name="connsiteY132" fmla="*/ 1954168 h 2111127"/>
                  <a:gd name="connsiteX133" fmla="*/ 605123 w 806408"/>
                  <a:gd name="connsiteY133" fmla="*/ 1958486 h 2111127"/>
                  <a:gd name="connsiteX134" fmla="*/ 623928 w 806408"/>
                  <a:gd name="connsiteY134" fmla="*/ 1949851 h 2111127"/>
                  <a:gd name="connsiteX135" fmla="*/ 625034 w 806408"/>
                  <a:gd name="connsiteY135" fmla="*/ 1952010 h 2111127"/>
                  <a:gd name="connsiteX136" fmla="*/ 622268 w 806408"/>
                  <a:gd name="connsiteY136" fmla="*/ 1957947 h 2111127"/>
                  <a:gd name="connsiteX137" fmla="*/ 612313 w 806408"/>
                  <a:gd name="connsiteY137" fmla="*/ 1962804 h 2111127"/>
                  <a:gd name="connsiteX138" fmla="*/ 596826 w 806408"/>
                  <a:gd name="connsiteY138" fmla="*/ 1977377 h 2111127"/>
                  <a:gd name="connsiteX139" fmla="*/ 576362 w 806408"/>
                  <a:gd name="connsiteY139" fmla="*/ 1977916 h 2111127"/>
                  <a:gd name="connsiteX140" fmla="*/ 569725 w 806408"/>
                  <a:gd name="connsiteY140" fmla="*/ 1981694 h 2111127"/>
                  <a:gd name="connsiteX141" fmla="*/ 553685 w 806408"/>
                  <a:gd name="connsiteY141" fmla="*/ 1993029 h 2111127"/>
                  <a:gd name="connsiteX142" fmla="*/ 537645 w 806408"/>
                  <a:gd name="connsiteY142" fmla="*/ 1997886 h 2111127"/>
                  <a:gd name="connsiteX143" fmla="*/ 534327 w 806408"/>
                  <a:gd name="connsiteY143" fmla="*/ 2002204 h 2111127"/>
                  <a:gd name="connsiteX144" fmla="*/ 544282 w 806408"/>
                  <a:gd name="connsiteY144" fmla="*/ 2031889 h 2111127"/>
                  <a:gd name="connsiteX145" fmla="*/ 596826 w 806408"/>
                  <a:gd name="connsiteY145" fmla="*/ 2025412 h 2111127"/>
                  <a:gd name="connsiteX146" fmla="*/ 613972 w 806408"/>
                  <a:gd name="connsiteY146" fmla="*/ 2045382 h 2111127"/>
                  <a:gd name="connsiteX147" fmla="*/ 632224 w 806408"/>
                  <a:gd name="connsiteY147" fmla="*/ 2054557 h 2111127"/>
                  <a:gd name="connsiteX148" fmla="*/ 648264 w 806408"/>
                  <a:gd name="connsiteY148" fmla="*/ 2064812 h 2111127"/>
                  <a:gd name="connsiteX149" fmla="*/ 666516 w 806408"/>
                  <a:gd name="connsiteY149" fmla="*/ 2069669 h 2111127"/>
                  <a:gd name="connsiteX150" fmla="*/ 670387 w 806408"/>
                  <a:gd name="connsiteY150" fmla="*/ 2071828 h 2111127"/>
                  <a:gd name="connsiteX151" fmla="*/ 680896 w 806408"/>
                  <a:gd name="connsiteY151" fmla="*/ 2085861 h 2111127"/>
                  <a:gd name="connsiteX152" fmla="*/ 686980 w 806408"/>
                  <a:gd name="connsiteY152" fmla="*/ 2110688 h 2111127"/>
                  <a:gd name="connsiteX153" fmla="*/ 716294 w 806408"/>
                  <a:gd name="connsiteY153" fmla="*/ 2090179 h 2111127"/>
                  <a:gd name="connsiteX154" fmla="*/ 721825 w 806408"/>
                  <a:gd name="connsiteY154" fmla="*/ 2094497 h 2111127"/>
                  <a:gd name="connsiteX155" fmla="*/ 734546 w 806408"/>
                  <a:gd name="connsiteY155" fmla="*/ 2099354 h 2111127"/>
                  <a:gd name="connsiteX156" fmla="*/ 748373 w 806408"/>
                  <a:gd name="connsiteY156" fmla="*/ 2107990 h 2111127"/>
                  <a:gd name="connsiteX157" fmla="*/ 755011 w 806408"/>
                  <a:gd name="connsiteY157" fmla="*/ 2110149 h 2111127"/>
                  <a:gd name="connsiteX158" fmla="*/ 768285 w 806408"/>
                  <a:gd name="connsiteY158" fmla="*/ 2093957 h 2111127"/>
                  <a:gd name="connsiteX159" fmla="*/ 777134 w 806408"/>
                  <a:gd name="connsiteY159" fmla="*/ 2096655 h 2111127"/>
                  <a:gd name="connsiteX160" fmla="*/ 784877 w 806408"/>
                  <a:gd name="connsiteY160" fmla="*/ 2088560 h 2111127"/>
                  <a:gd name="connsiteX161" fmla="*/ 805342 w 806408"/>
                  <a:gd name="connsiteY161" fmla="*/ 2077765 h 2111127"/>
                  <a:gd name="connsiteX162" fmla="*/ 805342 w 806408"/>
                  <a:gd name="connsiteY162" fmla="*/ -170 h 2111127"/>
                  <a:gd name="connsiteX163" fmla="*/ 782665 w 806408"/>
                  <a:gd name="connsiteY163" fmla="*/ 5767 h 2111127"/>
                  <a:gd name="connsiteX164" fmla="*/ 763860 w 806408"/>
                  <a:gd name="connsiteY164" fmla="*/ 15482 h 2111127"/>
                  <a:gd name="connsiteX165" fmla="*/ 752798 w 806408"/>
                  <a:gd name="connsiteY165" fmla="*/ 16562 h 2111127"/>
                  <a:gd name="connsiteX166" fmla="*/ 751139 w 806408"/>
                  <a:gd name="connsiteY166" fmla="*/ 34912 h 2111127"/>
                  <a:gd name="connsiteX167" fmla="*/ 753351 w 806408"/>
                  <a:gd name="connsiteY167" fmla="*/ 45167 h 2111127"/>
                  <a:gd name="connsiteX168" fmla="*/ 741736 w 806408"/>
                  <a:gd name="connsiteY168" fmla="*/ 79709 h 2111127"/>
                  <a:gd name="connsiteX169" fmla="*/ 745608 w 806408"/>
                  <a:gd name="connsiteY169" fmla="*/ 105616 h 2111127"/>
                  <a:gd name="connsiteX170" fmla="*/ 760541 w 806408"/>
                  <a:gd name="connsiteY170" fmla="*/ 125586 h 2111127"/>
                  <a:gd name="connsiteX171" fmla="*/ 753351 w 806408"/>
                  <a:gd name="connsiteY171" fmla="*/ 141238 h 2111127"/>
                  <a:gd name="connsiteX172" fmla="*/ 744502 w 806408"/>
                  <a:gd name="connsiteY172" fmla="*/ 148254 h 2111127"/>
                  <a:gd name="connsiteX173" fmla="*/ 705232 w 806408"/>
                  <a:gd name="connsiteY173" fmla="*/ 243785 h 2111127"/>
                  <a:gd name="connsiteX174" fmla="*/ 696383 w 806408"/>
                  <a:gd name="connsiteY174" fmla="*/ 253500 h 2111127"/>
                  <a:gd name="connsiteX175" fmla="*/ 683109 w 806408"/>
                  <a:gd name="connsiteY175" fmla="*/ 292900 h 2111127"/>
                  <a:gd name="connsiteX176" fmla="*/ 674259 w 806408"/>
                  <a:gd name="connsiteY176" fmla="*/ 309632 h 2111127"/>
                  <a:gd name="connsiteX177" fmla="*/ 670941 w 806408"/>
                  <a:gd name="connsiteY177" fmla="*/ 329062 h 2111127"/>
                  <a:gd name="connsiteX178" fmla="*/ 656007 w 806408"/>
                  <a:gd name="connsiteY178" fmla="*/ 340396 h 2111127"/>
                  <a:gd name="connsiteX179" fmla="*/ 635543 w 806408"/>
                  <a:gd name="connsiteY179" fmla="*/ 393828 h 2111127"/>
                  <a:gd name="connsiteX180" fmla="*/ 627799 w 806408"/>
                  <a:gd name="connsiteY180" fmla="*/ 407321 h 2111127"/>
                  <a:gd name="connsiteX181" fmla="*/ 622822 w 806408"/>
                  <a:gd name="connsiteY181" fmla="*/ 422973 h 2111127"/>
                  <a:gd name="connsiteX182" fmla="*/ 599592 w 806408"/>
                  <a:gd name="connsiteY182" fmla="*/ 452658 h 2111127"/>
                  <a:gd name="connsiteX183" fmla="*/ 591848 w 806408"/>
                  <a:gd name="connsiteY183" fmla="*/ 470469 h 2111127"/>
                  <a:gd name="connsiteX184" fmla="*/ 587424 w 806408"/>
                  <a:gd name="connsiteY184" fmla="*/ 476406 h 2111127"/>
                  <a:gd name="connsiteX185" fmla="*/ 574703 w 806408"/>
                  <a:gd name="connsiteY185" fmla="*/ 494757 h 2111127"/>
                  <a:gd name="connsiteX186" fmla="*/ 561981 w 806408"/>
                  <a:gd name="connsiteY186" fmla="*/ 507710 h 2111127"/>
                  <a:gd name="connsiteX187" fmla="*/ 548154 w 806408"/>
                  <a:gd name="connsiteY187" fmla="*/ 518504 h 2111127"/>
                  <a:gd name="connsiteX188" fmla="*/ 539305 w 806408"/>
                  <a:gd name="connsiteY188" fmla="*/ 529839 h 2111127"/>
                  <a:gd name="connsiteX189" fmla="*/ 522712 w 806408"/>
                  <a:gd name="connsiteY189" fmla="*/ 547110 h 2111127"/>
                  <a:gd name="connsiteX190" fmla="*/ 518287 w 806408"/>
                  <a:gd name="connsiteY190" fmla="*/ 570858 h 2111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</a:cxnLst>
                <a:rect l="l" t="t" r="r" b="b"/>
                <a:pathLst>
                  <a:path w="806408" h="2111127">
                    <a:moveTo>
                      <a:pt x="518287" y="570858"/>
                    </a:moveTo>
                    <a:lnTo>
                      <a:pt x="516628" y="588669"/>
                    </a:lnTo>
                    <a:lnTo>
                      <a:pt x="532114" y="605400"/>
                    </a:lnTo>
                    <a:lnTo>
                      <a:pt x="546495" y="611337"/>
                    </a:lnTo>
                    <a:lnTo>
                      <a:pt x="625034" y="598923"/>
                    </a:lnTo>
                    <a:lnTo>
                      <a:pt x="628352" y="610257"/>
                    </a:lnTo>
                    <a:lnTo>
                      <a:pt x="623375" y="623751"/>
                    </a:lnTo>
                    <a:lnTo>
                      <a:pt x="616738" y="631307"/>
                    </a:lnTo>
                    <a:lnTo>
                      <a:pt x="595720" y="643181"/>
                    </a:lnTo>
                    <a:lnTo>
                      <a:pt x="580787" y="694454"/>
                    </a:lnTo>
                    <a:lnTo>
                      <a:pt x="629459" y="717662"/>
                    </a:lnTo>
                    <a:lnTo>
                      <a:pt x="621162" y="762459"/>
                    </a:lnTo>
                    <a:lnTo>
                      <a:pt x="622268" y="792144"/>
                    </a:lnTo>
                    <a:lnTo>
                      <a:pt x="631118" y="789985"/>
                    </a:lnTo>
                    <a:lnTo>
                      <a:pt x="653242" y="795922"/>
                    </a:lnTo>
                    <a:lnTo>
                      <a:pt x="664857" y="790525"/>
                    </a:lnTo>
                    <a:lnTo>
                      <a:pt x="701914" y="791065"/>
                    </a:lnTo>
                    <a:lnTo>
                      <a:pt x="716847" y="783509"/>
                    </a:lnTo>
                    <a:lnTo>
                      <a:pt x="758329" y="782969"/>
                    </a:lnTo>
                    <a:lnTo>
                      <a:pt x="770497" y="800780"/>
                    </a:lnTo>
                    <a:lnTo>
                      <a:pt x="777134" y="859070"/>
                    </a:lnTo>
                    <a:lnTo>
                      <a:pt x="768285" y="877420"/>
                    </a:lnTo>
                    <a:lnTo>
                      <a:pt x="727909" y="914122"/>
                    </a:lnTo>
                    <a:lnTo>
                      <a:pt x="719060" y="918439"/>
                    </a:lnTo>
                    <a:lnTo>
                      <a:pt x="710210" y="958919"/>
                    </a:lnTo>
                    <a:lnTo>
                      <a:pt x="678684" y="967015"/>
                    </a:lnTo>
                    <a:lnTo>
                      <a:pt x="620056" y="981047"/>
                    </a:lnTo>
                    <a:lnTo>
                      <a:pt x="602357" y="969713"/>
                    </a:lnTo>
                    <a:lnTo>
                      <a:pt x="556450" y="986984"/>
                    </a:lnTo>
                    <a:lnTo>
                      <a:pt x="556450" y="996160"/>
                    </a:lnTo>
                    <a:lnTo>
                      <a:pt x="566406" y="1015050"/>
                    </a:lnTo>
                    <a:lnTo>
                      <a:pt x="565853" y="1028003"/>
                    </a:lnTo>
                    <a:lnTo>
                      <a:pt x="550920" y="1036099"/>
                    </a:lnTo>
                    <a:lnTo>
                      <a:pt x="530455" y="1032321"/>
                    </a:lnTo>
                    <a:lnTo>
                      <a:pt x="506672" y="1068483"/>
                    </a:lnTo>
                    <a:lnTo>
                      <a:pt x="497270" y="1073880"/>
                    </a:lnTo>
                    <a:lnTo>
                      <a:pt x="481230" y="1144584"/>
                    </a:lnTo>
                    <a:lnTo>
                      <a:pt x="471827" y="1152679"/>
                    </a:lnTo>
                    <a:lnTo>
                      <a:pt x="451916" y="1150520"/>
                    </a:lnTo>
                    <a:lnTo>
                      <a:pt x="406563" y="1163474"/>
                    </a:lnTo>
                    <a:lnTo>
                      <a:pt x="429792" y="1215827"/>
                    </a:lnTo>
                    <a:lnTo>
                      <a:pt x="424815" y="1217986"/>
                    </a:lnTo>
                    <a:lnTo>
                      <a:pt x="407116" y="1213128"/>
                    </a:lnTo>
                    <a:lnTo>
                      <a:pt x="397713" y="1204493"/>
                    </a:lnTo>
                    <a:lnTo>
                      <a:pt x="389970" y="1186682"/>
                    </a:lnTo>
                    <a:lnTo>
                      <a:pt x="342957" y="1174808"/>
                    </a:lnTo>
                    <a:lnTo>
                      <a:pt x="289307" y="1175348"/>
                    </a:lnTo>
                    <a:lnTo>
                      <a:pt x="284882" y="1172649"/>
                    </a:lnTo>
                    <a:lnTo>
                      <a:pt x="282670" y="1165093"/>
                    </a:lnTo>
                    <a:lnTo>
                      <a:pt x="225148" y="1194778"/>
                    </a:lnTo>
                    <a:lnTo>
                      <a:pt x="214086" y="1191000"/>
                    </a:lnTo>
                    <a:lnTo>
                      <a:pt x="206343" y="1181824"/>
                    </a:lnTo>
                    <a:lnTo>
                      <a:pt x="177582" y="1212589"/>
                    </a:lnTo>
                    <a:lnTo>
                      <a:pt x="172051" y="1229860"/>
                    </a:lnTo>
                    <a:lnTo>
                      <a:pt x="160437" y="1242813"/>
                    </a:lnTo>
                    <a:lnTo>
                      <a:pt x="147715" y="1246591"/>
                    </a:lnTo>
                    <a:lnTo>
                      <a:pt x="141078" y="1241194"/>
                    </a:lnTo>
                    <a:lnTo>
                      <a:pt x="122826" y="1253068"/>
                    </a:lnTo>
                    <a:lnTo>
                      <a:pt x="101256" y="1254687"/>
                    </a:lnTo>
                    <a:lnTo>
                      <a:pt x="102362" y="1280594"/>
                    </a:lnTo>
                    <a:lnTo>
                      <a:pt x="96831" y="1296246"/>
                    </a:lnTo>
                    <a:lnTo>
                      <a:pt x="104021" y="1338344"/>
                    </a:lnTo>
                    <a:lnTo>
                      <a:pt x="87428" y="1380443"/>
                    </a:lnTo>
                    <a:lnTo>
                      <a:pt x="76920" y="1452766"/>
                    </a:lnTo>
                    <a:lnTo>
                      <a:pt x="69176" y="1464100"/>
                    </a:lnTo>
                    <a:lnTo>
                      <a:pt x="67517" y="1470576"/>
                    </a:lnTo>
                    <a:lnTo>
                      <a:pt x="109552" y="1533184"/>
                    </a:lnTo>
                    <a:lnTo>
                      <a:pt x="109552" y="1539661"/>
                    </a:lnTo>
                    <a:lnTo>
                      <a:pt x="103468" y="1549376"/>
                    </a:lnTo>
                    <a:lnTo>
                      <a:pt x="88535" y="1558551"/>
                    </a:lnTo>
                    <a:lnTo>
                      <a:pt x="40" y="1529946"/>
                    </a:lnTo>
                    <a:lnTo>
                      <a:pt x="-1066" y="1559091"/>
                    </a:lnTo>
                    <a:lnTo>
                      <a:pt x="3912" y="1582299"/>
                    </a:lnTo>
                    <a:lnTo>
                      <a:pt x="1146" y="1616302"/>
                    </a:lnTo>
                    <a:lnTo>
                      <a:pt x="9442" y="1643828"/>
                    </a:lnTo>
                    <a:lnTo>
                      <a:pt x="27694" y="1689164"/>
                    </a:lnTo>
                    <a:lnTo>
                      <a:pt x="34332" y="1692942"/>
                    </a:lnTo>
                    <a:lnTo>
                      <a:pt x="40416" y="1696720"/>
                    </a:lnTo>
                    <a:lnTo>
                      <a:pt x="32672" y="1722087"/>
                    </a:lnTo>
                    <a:lnTo>
                      <a:pt x="55902" y="1780378"/>
                    </a:lnTo>
                    <a:lnTo>
                      <a:pt x="94619" y="1774980"/>
                    </a:lnTo>
                    <a:lnTo>
                      <a:pt x="102362" y="1777139"/>
                    </a:lnTo>
                    <a:lnTo>
                      <a:pt x="125039" y="1810602"/>
                    </a:lnTo>
                    <a:lnTo>
                      <a:pt x="141631" y="1806284"/>
                    </a:lnTo>
                    <a:lnTo>
                      <a:pt x="144397" y="1796030"/>
                    </a:lnTo>
                    <a:lnTo>
                      <a:pt x="154906" y="1781997"/>
                    </a:lnTo>
                    <a:lnTo>
                      <a:pt x="183666" y="1764726"/>
                    </a:lnTo>
                    <a:lnTo>
                      <a:pt x="191963" y="1763106"/>
                    </a:lnTo>
                    <a:lnTo>
                      <a:pt x="251697" y="1805745"/>
                    </a:lnTo>
                    <a:lnTo>
                      <a:pt x="298710" y="1858637"/>
                    </a:lnTo>
                    <a:lnTo>
                      <a:pt x="273820" y="1867813"/>
                    </a:lnTo>
                    <a:lnTo>
                      <a:pt x="281011" y="1878607"/>
                    </a:lnTo>
                    <a:cubicBezTo>
                      <a:pt x="288201" y="1874829"/>
                      <a:pt x="288754" y="1873750"/>
                      <a:pt x="296497" y="1869972"/>
                    </a:cubicBezTo>
                    <a:cubicBezTo>
                      <a:pt x="298710" y="1868352"/>
                      <a:pt x="303134" y="1867813"/>
                      <a:pt x="305900" y="1866733"/>
                    </a:cubicBezTo>
                    <a:cubicBezTo>
                      <a:pt x="309771" y="1865114"/>
                      <a:pt x="316409" y="1861336"/>
                      <a:pt x="320833" y="1860257"/>
                    </a:cubicBezTo>
                    <a:cubicBezTo>
                      <a:pt x="329683" y="1858637"/>
                      <a:pt x="345722" y="1858637"/>
                      <a:pt x="355125" y="1858098"/>
                    </a:cubicBezTo>
                    <a:cubicBezTo>
                      <a:pt x="354572" y="1855939"/>
                      <a:pt x="354019" y="1853780"/>
                      <a:pt x="356231" y="1851081"/>
                    </a:cubicBezTo>
                    <a:cubicBezTo>
                      <a:pt x="357337" y="1849462"/>
                      <a:pt x="363974" y="1845144"/>
                      <a:pt x="366187" y="1842985"/>
                    </a:cubicBezTo>
                    <a:cubicBezTo>
                      <a:pt x="367846" y="1841366"/>
                      <a:pt x="368952" y="1838668"/>
                      <a:pt x="371165" y="1837049"/>
                    </a:cubicBezTo>
                    <a:cubicBezTo>
                      <a:pt x="377249" y="1831651"/>
                      <a:pt x="384992" y="1830572"/>
                      <a:pt x="388864" y="1821397"/>
                    </a:cubicBezTo>
                    <a:cubicBezTo>
                      <a:pt x="393841" y="1812221"/>
                      <a:pt x="396607" y="1800347"/>
                      <a:pt x="399925" y="1790632"/>
                    </a:cubicBezTo>
                    <a:cubicBezTo>
                      <a:pt x="402691" y="1780917"/>
                      <a:pt x="403797" y="1770123"/>
                      <a:pt x="407669" y="1761487"/>
                    </a:cubicBezTo>
                    <a:cubicBezTo>
                      <a:pt x="410434" y="1755550"/>
                      <a:pt x="415965" y="1751233"/>
                      <a:pt x="419284" y="1745296"/>
                    </a:cubicBezTo>
                    <a:cubicBezTo>
                      <a:pt x="432558" y="1723167"/>
                      <a:pt x="431452" y="1715611"/>
                      <a:pt x="451916" y="1695641"/>
                    </a:cubicBezTo>
                    <a:cubicBezTo>
                      <a:pt x="463531" y="1683767"/>
                      <a:pt x="474593" y="1693482"/>
                      <a:pt x="482889" y="1692942"/>
                    </a:cubicBezTo>
                    <a:cubicBezTo>
                      <a:pt x="488420" y="1692403"/>
                      <a:pt x="493398" y="1689704"/>
                      <a:pt x="498376" y="1689164"/>
                    </a:cubicBezTo>
                    <a:cubicBezTo>
                      <a:pt x="501694" y="1688625"/>
                      <a:pt x="514415" y="1688625"/>
                      <a:pt x="515522" y="1688625"/>
                    </a:cubicBezTo>
                    <a:lnTo>
                      <a:pt x="518287" y="1687005"/>
                    </a:lnTo>
                    <a:cubicBezTo>
                      <a:pt x="522712" y="1685386"/>
                      <a:pt x="531008" y="1660559"/>
                      <a:pt x="534327" y="1655162"/>
                    </a:cubicBezTo>
                    <a:cubicBezTo>
                      <a:pt x="536539" y="1650844"/>
                      <a:pt x="543176" y="1647606"/>
                      <a:pt x="547048" y="1645447"/>
                    </a:cubicBezTo>
                    <a:cubicBezTo>
                      <a:pt x="550366" y="1642748"/>
                      <a:pt x="557557" y="1636271"/>
                      <a:pt x="561428" y="1635192"/>
                    </a:cubicBezTo>
                    <a:cubicBezTo>
                      <a:pt x="565300" y="1634113"/>
                      <a:pt x="578021" y="1635192"/>
                      <a:pt x="582999" y="1635192"/>
                    </a:cubicBezTo>
                    <a:cubicBezTo>
                      <a:pt x="583552" y="1635192"/>
                      <a:pt x="586317" y="1638970"/>
                      <a:pt x="586871" y="1639510"/>
                    </a:cubicBezTo>
                    <a:cubicBezTo>
                      <a:pt x="590189" y="1641669"/>
                      <a:pt x="596826" y="1643828"/>
                      <a:pt x="599039" y="1646526"/>
                    </a:cubicBezTo>
                    <a:cubicBezTo>
                      <a:pt x="601251" y="1649765"/>
                      <a:pt x="600698" y="1659480"/>
                      <a:pt x="601804" y="1663797"/>
                    </a:cubicBezTo>
                    <a:cubicBezTo>
                      <a:pt x="607335" y="1681608"/>
                      <a:pt x="622268" y="1672973"/>
                      <a:pt x="629459" y="1694022"/>
                    </a:cubicBezTo>
                    <a:cubicBezTo>
                      <a:pt x="632777" y="1703737"/>
                      <a:pt x="634990" y="1716151"/>
                      <a:pt x="636096" y="1726405"/>
                    </a:cubicBezTo>
                    <a:cubicBezTo>
                      <a:pt x="638861" y="1743137"/>
                      <a:pt x="638308" y="1760948"/>
                      <a:pt x="641627" y="1777139"/>
                    </a:cubicBezTo>
                    <a:cubicBezTo>
                      <a:pt x="641627" y="1778758"/>
                      <a:pt x="643286" y="1781457"/>
                      <a:pt x="644392" y="1782536"/>
                    </a:cubicBezTo>
                    <a:cubicBezTo>
                      <a:pt x="655454" y="1798728"/>
                      <a:pt x="671494" y="1774441"/>
                      <a:pt x="684768" y="1778219"/>
                    </a:cubicBezTo>
                    <a:lnTo>
                      <a:pt x="686980" y="1780917"/>
                    </a:lnTo>
                    <a:cubicBezTo>
                      <a:pt x="684768" y="1794950"/>
                      <a:pt x="669834" y="1806284"/>
                      <a:pt x="657666" y="1812221"/>
                    </a:cubicBezTo>
                    <a:cubicBezTo>
                      <a:pt x="648264" y="1817079"/>
                      <a:pt x="637755" y="1818158"/>
                      <a:pt x="628352" y="1823016"/>
                    </a:cubicBezTo>
                    <a:cubicBezTo>
                      <a:pt x="620609" y="1826254"/>
                      <a:pt x="612866" y="1831651"/>
                      <a:pt x="606782" y="1836509"/>
                    </a:cubicBezTo>
                    <a:cubicBezTo>
                      <a:pt x="602910" y="1838668"/>
                      <a:pt x="600698" y="1841906"/>
                      <a:pt x="596826" y="1844605"/>
                    </a:cubicBezTo>
                    <a:cubicBezTo>
                      <a:pt x="592401" y="1847843"/>
                      <a:pt x="586317" y="1850002"/>
                      <a:pt x="582446" y="1853780"/>
                    </a:cubicBezTo>
                    <a:cubicBezTo>
                      <a:pt x="578574" y="1857558"/>
                      <a:pt x="576915" y="1863495"/>
                      <a:pt x="573596" y="1867273"/>
                    </a:cubicBezTo>
                    <a:cubicBezTo>
                      <a:pt x="570278" y="1871591"/>
                      <a:pt x="563641" y="1872670"/>
                      <a:pt x="564194" y="1879147"/>
                    </a:cubicBezTo>
                    <a:cubicBezTo>
                      <a:pt x="564747" y="1885084"/>
                      <a:pt x="566959" y="1893719"/>
                      <a:pt x="569172" y="1899117"/>
                    </a:cubicBezTo>
                    <a:cubicBezTo>
                      <a:pt x="570278" y="1902355"/>
                      <a:pt x="575256" y="1907752"/>
                      <a:pt x="575256" y="1910451"/>
                    </a:cubicBezTo>
                    <a:cubicBezTo>
                      <a:pt x="576362" y="1915308"/>
                      <a:pt x="570278" y="1919086"/>
                      <a:pt x="568618" y="1923404"/>
                    </a:cubicBezTo>
                    <a:cubicBezTo>
                      <a:pt x="565300" y="1930960"/>
                      <a:pt x="565300" y="1944993"/>
                      <a:pt x="574149" y="1948232"/>
                    </a:cubicBezTo>
                    <a:cubicBezTo>
                      <a:pt x="580233" y="1950930"/>
                      <a:pt x="587424" y="1951470"/>
                      <a:pt x="593508" y="1954168"/>
                    </a:cubicBezTo>
                    <a:cubicBezTo>
                      <a:pt x="596826" y="1955248"/>
                      <a:pt x="600145" y="1960105"/>
                      <a:pt x="605123" y="1958486"/>
                    </a:cubicBezTo>
                    <a:cubicBezTo>
                      <a:pt x="612313" y="1955788"/>
                      <a:pt x="613419" y="1946612"/>
                      <a:pt x="623928" y="1949851"/>
                    </a:cubicBezTo>
                    <a:lnTo>
                      <a:pt x="625034" y="1952010"/>
                    </a:lnTo>
                    <a:cubicBezTo>
                      <a:pt x="625034" y="1953629"/>
                      <a:pt x="623928" y="1956867"/>
                      <a:pt x="622268" y="1957947"/>
                    </a:cubicBezTo>
                    <a:cubicBezTo>
                      <a:pt x="620056" y="1960105"/>
                      <a:pt x="615078" y="1960645"/>
                      <a:pt x="612313" y="1962804"/>
                    </a:cubicBezTo>
                    <a:cubicBezTo>
                      <a:pt x="608994" y="1965503"/>
                      <a:pt x="605123" y="1975218"/>
                      <a:pt x="596826" y="1977377"/>
                    </a:cubicBezTo>
                    <a:cubicBezTo>
                      <a:pt x="590742" y="1979535"/>
                      <a:pt x="582999" y="1976837"/>
                      <a:pt x="576362" y="1977916"/>
                    </a:cubicBezTo>
                    <a:cubicBezTo>
                      <a:pt x="574703" y="1978456"/>
                      <a:pt x="571384" y="1980615"/>
                      <a:pt x="569725" y="1981694"/>
                    </a:cubicBezTo>
                    <a:cubicBezTo>
                      <a:pt x="564747" y="1984933"/>
                      <a:pt x="559769" y="1990870"/>
                      <a:pt x="553685" y="1993029"/>
                    </a:cubicBezTo>
                    <a:cubicBezTo>
                      <a:pt x="549260" y="1995187"/>
                      <a:pt x="545942" y="1991409"/>
                      <a:pt x="537645" y="1997886"/>
                    </a:cubicBezTo>
                    <a:cubicBezTo>
                      <a:pt x="536539" y="1998966"/>
                      <a:pt x="534880" y="2000585"/>
                      <a:pt x="534327" y="2002204"/>
                    </a:cubicBezTo>
                    <a:cubicBezTo>
                      <a:pt x="531561" y="2010839"/>
                      <a:pt x="534880" y="2027571"/>
                      <a:pt x="544282" y="2031889"/>
                    </a:cubicBezTo>
                    <a:cubicBezTo>
                      <a:pt x="564194" y="2040524"/>
                      <a:pt x="583552" y="2018935"/>
                      <a:pt x="596826" y="2025412"/>
                    </a:cubicBezTo>
                    <a:cubicBezTo>
                      <a:pt x="606229" y="2029730"/>
                      <a:pt x="603463" y="2038905"/>
                      <a:pt x="613972" y="2045382"/>
                    </a:cubicBezTo>
                    <a:cubicBezTo>
                      <a:pt x="619503" y="2049160"/>
                      <a:pt x="626140" y="2051319"/>
                      <a:pt x="632224" y="2054557"/>
                    </a:cubicBezTo>
                    <a:cubicBezTo>
                      <a:pt x="637755" y="2057795"/>
                      <a:pt x="642733" y="2062113"/>
                      <a:pt x="648264" y="2064812"/>
                    </a:cubicBezTo>
                    <a:cubicBezTo>
                      <a:pt x="654348" y="2066971"/>
                      <a:pt x="660432" y="2067510"/>
                      <a:pt x="666516" y="2069669"/>
                    </a:cubicBezTo>
                    <a:cubicBezTo>
                      <a:pt x="667622" y="2070209"/>
                      <a:pt x="669281" y="2070749"/>
                      <a:pt x="670387" y="2071828"/>
                    </a:cubicBezTo>
                    <a:cubicBezTo>
                      <a:pt x="672600" y="2073987"/>
                      <a:pt x="679237" y="2083162"/>
                      <a:pt x="680896" y="2085861"/>
                    </a:cubicBezTo>
                    <a:cubicBezTo>
                      <a:pt x="683662" y="2091798"/>
                      <a:pt x="685874" y="2109609"/>
                      <a:pt x="686980" y="2110688"/>
                    </a:cubicBezTo>
                    <a:cubicBezTo>
                      <a:pt x="700807" y="2113387"/>
                      <a:pt x="706892" y="2095036"/>
                      <a:pt x="716294" y="2090179"/>
                    </a:cubicBezTo>
                    <a:cubicBezTo>
                      <a:pt x="719613" y="2090718"/>
                      <a:pt x="719613" y="2092877"/>
                      <a:pt x="721825" y="2094497"/>
                    </a:cubicBezTo>
                    <a:cubicBezTo>
                      <a:pt x="725697" y="2096655"/>
                      <a:pt x="730674" y="2097195"/>
                      <a:pt x="734546" y="2099354"/>
                    </a:cubicBezTo>
                    <a:cubicBezTo>
                      <a:pt x="739524" y="2102053"/>
                      <a:pt x="743396" y="2105831"/>
                      <a:pt x="748373" y="2107990"/>
                    </a:cubicBezTo>
                    <a:cubicBezTo>
                      <a:pt x="750033" y="2109069"/>
                      <a:pt x="753351" y="2110149"/>
                      <a:pt x="755011" y="2110149"/>
                    </a:cubicBezTo>
                    <a:cubicBezTo>
                      <a:pt x="762201" y="2106910"/>
                      <a:pt x="760541" y="2097195"/>
                      <a:pt x="768285" y="2093957"/>
                    </a:cubicBezTo>
                    <a:cubicBezTo>
                      <a:pt x="771050" y="2094497"/>
                      <a:pt x="774369" y="2096655"/>
                      <a:pt x="777134" y="2096655"/>
                    </a:cubicBezTo>
                    <a:cubicBezTo>
                      <a:pt x="782112" y="2093957"/>
                      <a:pt x="781559" y="2091798"/>
                      <a:pt x="784877" y="2088560"/>
                    </a:cubicBezTo>
                    <a:cubicBezTo>
                      <a:pt x="788749" y="2084242"/>
                      <a:pt x="798152" y="2077225"/>
                      <a:pt x="805342" y="2077765"/>
                    </a:cubicBezTo>
                    <a:lnTo>
                      <a:pt x="805342" y="-170"/>
                    </a:lnTo>
                    <a:lnTo>
                      <a:pt x="782665" y="5767"/>
                    </a:lnTo>
                    <a:lnTo>
                      <a:pt x="763860" y="15482"/>
                    </a:lnTo>
                    <a:lnTo>
                      <a:pt x="752798" y="16562"/>
                    </a:lnTo>
                    <a:lnTo>
                      <a:pt x="751139" y="34912"/>
                    </a:lnTo>
                    <a:lnTo>
                      <a:pt x="753351" y="45167"/>
                    </a:lnTo>
                    <a:lnTo>
                      <a:pt x="741736" y="79709"/>
                    </a:lnTo>
                    <a:lnTo>
                      <a:pt x="745608" y="105616"/>
                    </a:lnTo>
                    <a:lnTo>
                      <a:pt x="760541" y="125586"/>
                    </a:lnTo>
                    <a:lnTo>
                      <a:pt x="753351" y="141238"/>
                    </a:lnTo>
                    <a:lnTo>
                      <a:pt x="744502" y="148254"/>
                    </a:lnTo>
                    <a:lnTo>
                      <a:pt x="705232" y="243785"/>
                    </a:lnTo>
                    <a:lnTo>
                      <a:pt x="696383" y="253500"/>
                    </a:lnTo>
                    <a:lnTo>
                      <a:pt x="683109" y="292900"/>
                    </a:lnTo>
                    <a:lnTo>
                      <a:pt x="674259" y="309632"/>
                    </a:lnTo>
                    <a:lnTo>
                      <a:pt x="670941" y="329062"/>
                    </a:lnTo>
                    <a:lnTo>
                      <a:pt x="656007" y="340396"/>
                    </a:lnTo>
                    <a:cubicBezTo>
                      <a:pt x="655454" y="353349"/>
                      <a:pt x="638308" y="378716"/>
                      <a:pt x="635543" y="393828"/>
                    </a:cubicBezTo>
                    <a:cubicBezTo>
                      <a:pt x="633330" y="398146"/>
                      <a:pt x="630012" y="402464"/>
                      <a:pt x="627799" y="407321"/>
                    </a:cubicBezTo>
                    <a:cubicBezTo>
                      <a:pt x="625587" y="412179"/>
                      <a:pt x="625587" y="418116"/>
                      <a:pt x="622822" y="422973"/>
                    </a:cubicBezTo>
                    <a:cubicBezTo>
                      <a:pt x="616738" y="433768"/>
                      <a:pt x="606229" y="441864"/>
                      <a:pt x="599592" y="452658"/>
                    </a:cubicBezTo>
                    <a:cubicBezTo>
                      <a:pt x="595720" y="458055"/>
                      <a:pt x="594614" y="465072"/>
                      <a:pt x="591848" y="470469"/>
                    </a:cubicBezTo>
                    <a:cubicBezTo>
                      <a:pt x="590189" y="472628"/>
                      <a:pt x="588530" y="474247"/>
                      <a:pt x="587424" y="476406"/>
                    </a:cubicBezTo>
                    <a:cubicBezTo>
                      <a:pt x="584658" y="480184"/>
                      <a:pt x="577468" y="492598"/>
                      <a:pt x="574703" y="494757"/>
                    </a:cubicBezTo>
                    <a:cubicBezTo>
                      <a:pt x="569725" y="498535"/>
                      <a:pt x="566959" y="503392"/>
                      <a:pt x="561981" y="507710"/>
                    </a:cubicBezTo>
                    <a:cubicBezTo>
                      <a:pt x="558110" y="511488"/>
                      <a:pt x="552579" y="514726"/>
                      <a:pt x="548154" y="518504"/>
                    </a:cubicBezTo>
                    <a:cubicBezTo>
                      <a:pt x="544836" y="521743"/>
                      <a:pt x="542623" y="526061"/>
                      <a:pt x="539305" y="529839"/>
                    </a:cubicBezTo>
                    <a:cubicBezTo>
                      <a:pt x="533774" y="535236"/>
                      <a:pt x="524924" y="539554"/>
                      <a:pt x="522712" y="547110"/>
                    </a:cubicBezTo>
                    <a:cubicBezTo>
                      <a:pt x="520499" y="554126"/>
                      <a:pt x="521606" y="564921"/>
                      <a:pt x="518287" y="570858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1" name="Freeform 1073">
                <a:extLst>
                  <a:ext uri="{FF2B5EF4-FFF2-40B4-BE49-F238E27FC236}">
                    <a16:creationId xmlns:a16="http://schemas.microsoft.com/office/drawing/2014/main" id="{FAF4C89D-9B12-471A-9812-9E532005CC94}"/>
                  </a:ext>
                </a:extLst>
              </p:cNvPr>
              <p:cNvSpPr/>
              <p:nvPr/>
            </p:nvSpPr>
            <p:spPr>
              <a:xfrm>
                <a:off x="8958810" y="5295828"/>
                <a:ext cx="362275" cy="436096"/>
              </a:xfrm>
              <a:custGeom>
                <a:avLst/>
                <a:gdLst>
                  <a:gd name="connsiteX0" fmla="*/ -1026 w 362275"/>
                  <a:gd name="connsiteY0" fmla="*/ 201850 h 436096"/>
                  <a:gd name="connsiteX1" fmla="*/ -1026 w 362275"/>
                  <a:gd name="connsiteY1" fmla="*/ 205628 h 436096"/>
                  <a:gd name="connsiteX2" fmla="*/ 3952 w 362275"/>
                  <a:gd name="connsiteY2" fmla="*/ 215883 h 436096"/>
                  <a:gd name="connsiteX3" fmla="*/ 8377 w 362275"/>
                  <a:gd name="connsiteY3" fmla="*/ 236932 h 436096"/>
                  <a:gd name="connsiteX4" fmla="*/ 13355 w 362275"/>
                  <a:gd name="connsiteY4" fmla="*/ 265537 h 436096"/>
                  <a:gd name="connsiteX5" fmla="*/ 20545 w 362275"/>
                  <a:gd name="connsiteY5" fmla="*/ 299540 h 436096"/>
                  <a:gd name="connsiteX6" fmla="*/ 31054 w 362275"/>
                  <a:gd name="connsiteY6" fmla="*/ 348115 h 436096"/>
                  <a:gd name="connsiteX7" fmla="*/ 37138 w 362275"/>
                  <a:gd name="connsiteY7" fmla="*/ 388054 h 436096"/>
                  <a:gd name="connsiteX8" fmla="*/ 40456 w 362275"/>
                  <a:gd name="connsiteY8" fmla="*/ 405325 h 436096"/>
                  <a:gd name="connsiteX9" fmla="*/ 44881 w 362275"/>
                  <a:gd name="connsiteY9" fmla="*/ 422597 h 436096"/>
                  <a:gd name="connsiteX10" fmla="*/ 42669 w 362275"/>
                  <a:gd name="connsiteY10" fmla="*/ 435550 h 436096"/>
                  <a:gd name="connsiteX11" fmla="*/ 277733 w 362275"/>
                  <a:gd name="connsiteY11" fmla="*/ 435550 h 436096"/>
                  <a:gd name="connsiteX12" fmla="*/ 279945 w 362275"/>
                  <a:gd name="connsiteY12" fmla="*/ 400468 h 436096"/>
                  <a:gd name="connsiteX13" fmla="*/ 304281 w 362275"/>
                  <a:gd name="connsiteY13" fmla="*/ 367005 h 436096"/>
                  <a:gd name="connsiteX14" fmla="*/ 178729 w 362275"/>
                  <a:gd name="connsiteY14" fmla="*/ 288206 h 436096"/>
                  <a:gd name="connsiteX15" fmla="*/ 342445 w 362275"/>
                  <a:gd name="connsiteY15" fmla="*/ 154354 h 436096"/>
                  <a:gd name="connsiteX16" fmla="*/ 361250 w 362275"/>
                  <a:gd name="connsiteY16" fmla="*/ 113875 h 436096"/>
                  <a:gd name="connsiteX17" fmla="*/ 270543 w 362275"/>
                  <a:gd name="connsiteY17" fmla="*/ -546 h 436096"/>
                  <a:gd name="connsiteX18" fmla="*/ 131163 w 362275"/>
                  <a:gd name="connsiteY18" fmla="*/ 196992 h 436096"/>
                  <a:gd name="connsiteX19" fmla="*/ 86363 w 362275"/>
                  <a:gd name="connsiteY19" fmla="*/ 205628 h 436096"/>
                  <a:gd name="connsiteX20" fmla="*/ 64239 w 362275"/>
                  <a:gd name="connsiteY20" fmla="*/ 195913 h 436096"/>
                  <a:gd name="connsiteX21" fmla="*/ 55390 w 362275"/>
                  <a:gd name="connsiteY21" fmla="*/ 202390 h 436096"/>
                  <a:gd name="connsiteX22" fmla="*/ 45987 w 362275"/>
                  <a:gd name="connsiteY22" fmla="*/ 188896 h 436096"/>
                  <a:gd name="connsiteX23" fmla="*/ 21098 w 362275"/>
                  <a:gd name="connsiteY23" fmla="*/ 186738 h 436096"/>
                  <a:gd name="connsiteX24" fmla="*/ -1026 w 362275"/>
                  <a:gd name="connsiteY24" fmla="*/ 201850 h 436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62275" h="436096">
                    <a:moveTo>
                      <a:pt x="-1026" y="201850"/>
                    </a:moveTo>
                    <a:lnTo>
                      <a:pt x="-1026" y="205628"/>
                    </a:lnTo>
                    <a:cubicBezTo>
                      <a:pt x="81" y="208326"/>
                      <a:pt x="3399" y="212644"/>
                      <a:pt x="3952" y="215883"/>
                    </a:cubicBezTo>
                    <a:cubicBezTo>
                      <a:pt x="5612" y="221280"/>
                      <a:pt x="7271" y="230995"/>
                      <a:pt x="8377" y="236932"/>
                    </a:cubicBezTo>
                    <a:cubicBezTo>
                      <a:pt x="10589" y="246107"/>
                      <a:pt x="11696" y="255822"/>
                      <a:pt x="13355" y="265537"/>
                    </a:cubicBezTo>
                    <a:cubicBezTo>
                      <a:pt x="16120" y="276871"/>
                      <a:pt x="18886" y="287666"/>
                      <a:pt x="20545" y="299540"/>
                    </a:cubicBezTo>
                    <a:lnTo>
                      <a:pt x="31054" y="348115"/>
                    </a:lnTo>
                    <a:lnTo>
                      <a:pt x="37138" y="388054"/>
                    </a:lnTo>
                    <a:cubicBezTo>
                      <a:pt x="37691" y="393452"/>
                      <a:pt x="38797" y="400468"/>
                      <a:pt x="40456" y="405325"/>
                    </a:cubicBezTo>
                    <a:cubicBezTo>
                      <a:pt x="42116" y="410723"/>
                      <a:pt x="44881" y="416660"/>
                      <a:pt x="44881" y="422597"/>
                    </a:cubicBezTo>
                    <a:cubicBezTo>
                      <a:pt x="44328" y="426914"/>
                      <a:pt x="43775" y="431232"/>
                      <a:pt x="42669" y="435550"/>
                    </a:cubicBezTo>
                    <a:cubicBezTo>
                      <a:pt x="42116" y="435010"/>
                      <a:pt x="277733" y="435550"/>
                      <a:pt x="277733" y="435550"/>
                    </a:cubicBezTo>
                    <a:lnTo>
                      <a:pt x="279945" y="400468"/>
                    </a:lnTo>
                    <a:lnTo>
                      <a:pt x="304281" y="367005"/>
                    </a:lnTo>
                    <a:lnTo>
                      <a:pt x="178729" y="288206"/>
                    </a:lnTo>
                    <a:lnTo>
                      <a:pt x="342445" y="154354"/>
                    </a:lnTo>
                    <a:lnTo>
                      <a:pt x="361250" y="113875"/>
                    </a:lnTo>
                    <a:lnTo>
                      <a:pt x="270543" y="-546"/>
                    </a:lnTo>
                    <a:lnTo>
                      <a:pt x="131163" y="196992"/>
                    </a:lnTo>
                    <a:lnTo>
                      <a:pt x="86363" y="205628"/>
                    </a:lnTo>
                    <a:lnTo>
                      <a:pt x="64239" y="195913"/>
                    </a:lnTo>
                    <a:lnTo>
                      <a:pt x="55390" y="202390"/>
                    </a:lnTo>
                    <a:lnTo>
                      <a:pt x="45987" y="188896"/>
                    </a:lnTo>
                    <a:lnTo>
                      <a:pt x="21098" y="186738"/>
                    </a:lnTo>
                    <a:lnTo>
                      <a:pt x="-1026" y="201850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2" name="Freeform 1074">
                <a:extLst>
                  <a:ext uri="{FF2B5EF4-FFF2-40B4-BE49-F238E27FC236}">
                    <a16:creationId xmlns:a16="http://schemas.microsoft.com/office/drawing/2014/main" id="{B20CFD38-48B7-43E2-ADBE-44C86D240679}"/>
                  </a:ext>
                </a:extLst>
              </p:cNvPr>
              <p:cNvSpPr/>
              <p:nvPr/>
            </p:nvSpPr>
            <p:spPr>
              <a:xfrm>
                <a:off x="6099324" y="4256321"/>
                <a:ext cx="1086411" cy="1210599"/>
              </a:xfrm>
              <a:custGeom>
                <a:avLst/>
                <a:gdLst>
                  <a:gd name="connsiteX0" fmla="*/ 813991 w 1086411"/>
                  <a:gd name="connsiteY0" fmla="*/ 1210136 h 1210599"/>
                  <a:gd name="connsiteX1" fmla="*/ 799611 w 1086411"/>
                  <a:gd name="connsiteY1" fmla="*/ 1205819 h 1210599"/>
                  <a:gd name="connsiteX2" fmla="*/ 783571 w 1086411"/>
                  <a:gd name="connsiteY2" fmla="*/ 1209057 h 1210599"/>
                  <a:gd name="connsiteX3" fmla="*/ 761447 w 1086411"/>
                  <a:gd name="connsiteY3" fmla="*/ 1206898 h 1210599"/>
                  <a:gd name="connsiteX4" fmla="*/ 732133 w 1086411"/>
                  <a:gd name="connsiteY4" fmla="*/ 1173435 h 1210599"/>
                  <a:gd name="connsiteX5" fmla="*/ 711116 w 1086411"/>
                  <a:gd name="connsiteY5" fmla="*/ 1167498 h 1210599"/>
                  <a:gd name="connsiteX6" fmla="*/ 687886 w 1086411"/>
                  <a:gd name="connsiteY6" fmla="*/ 1165879 h 1210599"/>
                  <a:gd name="connsiteX7" fmla="*/ 685121 w 1086411"/>
                  <a:gd name="connsiteY7" fmla="*/ 1163720 h 1210599"/>
                  <a:gd name="connsiteX8" fmla="*/ 671293 w 1086411"/>
                  <a:gd name="connsiteY8" fmla="*/ 1158323 h 1210599"/>
                  <a:gd name="connsiteX9" fmla="*/ 665209 w 1086411"/>
                  <a:gd name="connsiteY9" fmla="*/ 1153465 h 1210599"/>
                  <a:gd name="connsiteX10" fmla="*/ 649723 w 1086411"/>
                  <a:gd name="connsiteY10" fmla="*/ 1146449 h 1210599"/>
                  <a:gd name="connsiteX11" fmla="*/ 625940 w 1086411"/>
                  <a:gd name="connsiteY11" fmla="*/ 1131877 h 1210599"/>
                  <a:gd name="connsiteX12" fmla="*/ 611006 w 1086411"/>
                  <a:gd name="connsiteY12" fmla="*/ 1127559 h 1210599"/>
                  <a:gd name="connsiteX13" fmla="*/ 599391 w 1086411"/>
                  <a:gd name="connsiteY13" fmla="*/ 1121082 h 1210599"/>
                  <a:gd name="connsiteX14" fmla="*/ 566206 w 1086411"/>
                  <a:gd name="connsiteY14" fmla="*/ 1117844 h 1210599"/>
                  <a:gd name="connsiteX15" fmla="*/ 561781 w 1086411"/>
                  <a:gd name="connsiteY15" fmla="*/ 1113526 h 1210599"/>
                  <a:gd name="connsiteX16" fmla="*/ 557356 w 1086411"/>
                  <a:gd name="connsiteY16" fmla="*/ 1110288 h 1210599"/>
                  <a:gd name="connsiteX17" fmla="*/ 550719 w 1086411"/>
                  <a:gd name="connsiteY17" fmla="*/ 1097334 h 1210599"/>
                  <a:gd name="connsiteX18" fmla="*/ 559016 w 1086411"/>
                  <a:gd name="connsiteY18" fmla="*/ 1064411 h 1210599"/>
                  <a:gd name="connsiteX19" fmla="*/ 567312 w 1086411"/>
                  <a:gd name="connsiteY19" fmla="*/ 1056855 h 1210599"/>
                  <a:gd name="connsiteX20" fmla="*/ 574502 w 1086411"/>
                  <a:gd name="connsiteY20" fmla="*/ 1053617 h 1210599"/>
                  <a:gd name="connsiteX21" fmla="*/ 585011 w 1086411"/>
                  <a:gd name="connsiteY21" fmla="*/ 1063332 h 1210599"/>
                  <a:gd name="connsiteX22" fmla="*/ 596626 w 1086411"/>
                  <a:gd name="connsiteY22" fmla="*/ 1064951 h 1210599"/>
                  <a:gd name="connsiteX23" fmla="*/ 605475 w 1086411"/>
                  <a:gd name="connsiteY23" fmla="*/ 1050378 h 1210599"/>
                  <a:gd name="connsiteX24" fmla="*/ 609900 w 1086411"/>
                  <a:gd name="connsiteY24" fmla="*/ 1048219 h 1210599"/>
                  <a:gd name="connsiteX25" fmla="*/ 620962 w 1086411"/>
                  <a:gd name="connsiteY25" fmla="*/ 1042822 h 1210599"/>
                  <a:gd name="connsiteX26" fmla="*/ 632577 w 1086411"/>
                  <a:gd name="connsiteY26" fmla="*/ 1044441 h 1210599"/>
                  <a:gd name="connsiteX27" fmla="*/ 640873 w 1086411"/>
                  <a:gd name="connsiteY27" fmla="*/ 1050918 h 1210599"/>
                  <a:gd name="connsiteX28" fmla="*/ 649723 w 1086411"/>
                  <a:gd name="connsiteY28" fmla="*/ 1055236 h 1210599"/>
                  <a:gd name="connsiteX29" fmla="*/ 651382 w 1086411"/>
                  <a:gd name="connsiteY29" fmla="*/ 1057934 h 1210599"/>
                  <a:gd name="connsiteX30" fmla="*/ 667975 w 1086411"/>
                  <a:gd name="connsiteY30" fmla="*/ 1066570 h 1210599"/>
                  <a:gd name="connsiteX31" fmla="*/ 697289 w 1086411"/>
                  <a:gd name="connsiteY31" fmla="*/ 1056315 h 1210599"/>
                  <a:gd name="connsiteX32" fmla="*/ 719412 w 1086411"/>
                  <a:gd name="connsiteY32" fmla="*/ 1057395 h 1210599"/>
                  <a:gd name="connsiteX33" fmla="*/ 743748 w 1086411"/>
                  <a:gd name="connsiteY33" fmla="*/ 1052537 h 1210599"/>
                  <a:gd name="connsiteX34" fmla="*/ 774721 w 1086411"/>
                  <a:gd name="connsiteY34" fmla="*/ 1034187 h 1210599"/>
                  <a:gd name="connsiteX35" fmla="*/ 797951 w 1086411"/>
                  <a:gd name="connsiteY35" fmla="*/ 1036885 h 1210599"/>
                  <a:gd name="connsiteX36" fmla="*/ 811225 w 1086411"/>
                  <a:gd name="connsiteY36" fmla="*/ 1025551 h 1210599"/>
                  <a:gd name="connsiteX37" fmla="*/ 820075 w 1086411"/>
                  <a:gd name="connsiteY37" fmla="*/ 1025551 h 1210599"/>
                  <a:gd name="connsiteX38" fmla="*/ 836668 w 1086411"/>
                  <a:gd name="connsiteY38" fmla="*/ 1015296 h 1210599"/>
                  <a:gd name="connsiteX39" fmla="*/ 843305 w 1086411"/>
                  <a:gd name="connsiteY39" fmla="*/ 1014217 h 1210599"/>
                  <a:gd name="connsiteX40" fmla="*/ 843858 w 1086411"/>
                  <a:gd name="connsiteY40" fmla="*/ 1017455 h 1210599"/>
                  <a:gd name="connsiteX41" fmla="*/ 828924 w 1086411"/>
                  <a:gd name="connsiteY41" fmla="*/ 1052537 h 1210599"/>
                  <a:gd name="connsiteX42" fmla="*/ 820628 w 1086411"/>
                  <a:gd name="connsiteY42" fmla="*/ 1066030 h 1210599"/>
                  <a:gd name="connsiteX43" fmla="*/ 806248 w 1086411"/>
                  <a:gd name="connsiteY43" fmla="*/ 1119463 h 1210599"/>
                  <a:gd name="connsiteX44" fmla="*/ 819522 w 1086411"/>
                  <a:gd name="connsiteY44" fmla="*/ 1139433 h 1210599"/>
                  <a:gd name="connsiteX45" fmla="*/ 820628 w 1086411"/>
                  <a:gd name="connsiteY45" fmla="*/ 1150767 h 1210599"/>
                  <a:gd name="connsiteX46" fmla="*/ 831137 w 1086411"/>
                  <a:gd name="connsiteY46" fmla="*/ 1166959 h 1210599"/>
                  <a:gd name="connsiteX47" fmla="*/ 821181 w 1086411"/>
                  <a:gd name="connsiteY47" fmla="*/ 1183690 h 1210599"/>
                  <a:gd name="connsiteX48" fmla="*/ 813991 w 1086411"/>
                  <a:gd name="connsiteY48" fmla="*/ 1210136 h 1210599"/>
                  <a:gd name="connsiteX49" fmla="*/ 141431 w 1086411"/>
                  <a:gd name="connsiteY49" fmla="*/ 737879 h 1210599"/>
                  <a:gd name="connsiteX50" fmla="*/ 161895 w 1086411"/>
                  <a:gd name="connsiteY50" fmla="*/ 749752 h 1210599"/>
                  <a:gd name="connsiteX51" fmla="*/ 181254 w 1086411"/>
                  <a:gd name="connsiteY51" fmla="*/ 739498 h 1210599"/>
                  <a:gd name="connsiteX52" fmla="*/ 190103 w 1086411"/>
                  <a:gd name="connsiteY52" fmla="*/ 737879 h 1210599"/>
                  <a:gd name="connsiteX53" fmla="*/ 210014 w 1086411"/>
                  <a:gd name="connsiteY53" fmla="*/ 718988 h 1210599"/>
                  <a:gd name="connsiteX54" fmla="*/ 219970 w 1086411"/>
                  <a:gd name="connsiteY54" fmla="*/ 713591 h 1210599"/>
                  <a:gd name="connsiteX55" fmla="*/ 229926 w 1086411"/>
                  <a:gd name="connsiteY55" fmla="*/ 701717 h 1210599"/>
                  <a:gd name="connsiteX56" fmla="*/ 243753 w 1086411"/>
                  <a:gd name="connsiteY56" fmla="*/ 704955 h 1210599"/>
                  <a:gd name="connsiteX57" fmla="*/ 248731 w 1086411"/>
                  <a:gd name="connsiteY57" fmla="*/ 712512 h 1210599"/>
                  <a:gd name="connsiteX58" fmla="*/ 258133 w 1086411"/>
                  <a:gd name="connsiteY58" fmla="*/ 715210 h 1210599"/>
                  <a:gd name="connsiteX59" fmla="*/ 264771 w 1086411"/>
                  <a:gd name="connsiteY59" fmla="*/ 734100 h 1210599"/>
                  <a:gd name="connsiteX60" fmla="*/ 276385 w 1086411"/>
                  <a:gd name="connsiteY60" fmla="*/ 746514 h 1210599"/>
                  <a:gd name="connsiteX61" fmla="*/ 276385 w 1086411"/>
                  <a:gd name="connsiteY61" fmla="*/ 749752 h 1210599"/>
                  <a:gd name="connsiteX62" fmla="*/ 278598 w 1086411"/>
                  <a:gd name="connsiteY62" fmla="*/ 767024 h 1210599"/>
                  <a:gd name="connsiteX63" fmla="*/ 283576 w 1086411"/>
                  <a:gd name="connsiteY63" fmla="*/ 781056 h 1210599"/>
                  <a:gd name="connsiteX64" fmla="*/ 271961 w 1086411"/>
                  <a:gd name="connsiteY64" fmla="*/ 822075 h 1210599"/>
                  <a:gd name="connsiteX65" fmla="*/ 278045 w 1086411"/>
                  <a:gd name="connsiteY65" fmla="*/ 837188 h 1210599"/>
                  <a:gd name="connsiteX66" fmla="*/ 285235 w 1086411"/>
                  <a:gd name="connsiteY66" fmla="*/ 847442 h 1210599"/>
                  <a:gd name="connsiteX67" fmla="*/ 278598 w 1086411"/>
                  <a:gd name="connsiteY67" fmla="*/ 886842 h 1210599"/>
                  <a:gd name="connsiteX68" fmla="*/ 271961 w 1086411"/>
                  <a:gd name="connsiteY68" fmla="*/ 940814 h 1210599"/>
                  <a:gd name="connsiteX69" fmla="*/ 261452 w 1086411"/>
                  <a:gd name="connsiteY69" fmla="*/ 953768 h 1210599"/>
                  <a:gd name="connsiteX70" fmla="*/ 251496 w 1086411"/>
                  <a:gd name="connsiteY70" fmla="*/ 949990 h 1210599"/>
                  <a:gd name="connsiteX71" fmla="*/ 250390 w 1086411"/>
                  <a:gd name="connsiteY71" fmla="*/ 947291 h 1210599"/>
                  <a:gd name="connsiteX72" fmla="*/ 242094 w 1086411"/>
                  <a:gd name="connsiteY72" fmla="*/ 939195 h 1210599"/>
                  <a:gd name="connsiteX73" fmla="*/ 228820 w 1086411"/>
                  <a:gd name="connsiteY73" fmla="*/ 940275 h 1210599"/>
                  <a:gd name="connsiteX74" fmla="*/ 217205 w 1086411"/>
                  <a:gd name="connsiteY74" fmla="*/ 938656 h 1210599"/>
                  <a:gd name="connsiteX75" fmla="*/ 221076 w 1086411"/>
                  <a:gd name="connsiteY75" fmla="*/ 954308 h 1210599"/>
                  <a:gd name="connsiteX76" fmla="*/ 212780 w 1086411"/>
                  <a:gd name="connsiteY76" fmla="*/ 980214 h 1210599"/>
                  <a:gd name="connsiteX77" fmla="*/ 195634 w 1086411"/>
                  <a:gd name="connsiteY77" fmla="*/ 976976 h 1210599"/>
                  <a:gd name="connsiteX78" fmla="*/ 182913 w 1086411"/>
                  <a:gd name="connsiteY78" fmla="*/ 980754 h 1210599"/>
                  <a:gd name="connsiteX79" fmla="*/ 171851 w 1086411"/>
                  <a:gd name="connsiteY79" fmla="*/ 958086 h 1210599"/>
                  <a:gd name="connsiteX80" fmla="*/ 169639 w 1086411"/>
                  <a:gd name="connsiteY80" fmla="*/ 958625 h 1210599"/>
                  <a:gd name="connsiteX81" fmla="*/ 164108 w 1086411"/>
                  <a:gd name="connsiteY81" fmla="*/ 967801 h 1210599"/>
                  <a:gd name="connsiteX82" fmla="*/ 155811 w 1086411"/>
                  <a:gd name="connsiteY82" fmla="*/ 958625 h 1210599"/>
                  <a:gd name="connsiteX83" fmla="*/ 161895 w 1086411"/>
                  <a:gd name="connsiteY83" fmla="*/ 947831 h 1210599"/>
                  <a:gd name="connsiteX84" fmla="*/ 159683 w 1086411"/>
                  <a:gd name="connsiteY84" fmla="*/ 931099 h 1210599"/>
                  <a:gd name="connsiteX85" fmla="*/ 161342 w 1086411"/>
                  <a:gd name="connsiteY85" fmla="*/ 885763 h 1210599"/>
                  <a:gd name="connsiteX86" fmla="*/ 167979 w 1086411"/>
                  <a:gd name="connsiteY86" fmla="*/ 878207 h 1210599"/>
                  <a:gd name="connsiteX87" fmla="*/ 170745 w 1086411"/>
                  <a:gd name="connsiteY87" fmla="*/ 864174 h 1210599"/>
                  <a:gd name="connsiteX88" fmla="*/ 158577 w 1086411"/>
                  <a:gd name="connsiteY88" fmla="*/ 854459 h 1210599"/>
                  <a:gd name="connsiteX89" fmla="*/ 161895 w 1086411"/>
                  <a:gd name="connsiteY89" fmla="*/ 816678 h 1210599"/>
                  <a:gd name="connsiteX90" fmla="*/ 156918 w 1086411"/>
                  <a:gd name="connsiteY90" fmla="*/ 809122 h 1210599"/>
                  <a:gd name="connsiteX91" fmla="*/ 144750 w 1086411"/>
                  <a:gd name="connsiteY91" fmla="*/ 782136 h 1210599"/>
                  <a:gd name="connsiteX92" fmla="*/ 132028 w 1086411"/>
                  <a:gd name="connsiteY92" fmla="*/ 771341 h 1210599"/>
                  <a:gd name="connsiteX93" fmla="*/ 131475 w 1086411"/>
                  <a:gd name="connsiteY93" fmla="*/ 767563 h 1210599"/>
                  <a:gd name="connsiteX94" fmla="*/ 137559 w 1086411"/>
                  <a:gd name="connsiteY94" fmla="*/ 755150 h 1210599"/>
                  <a:gd name="connsiteX95" fmla="*/ 141984 w 1086411"/>
                  <a:gd name="connsiteY95" fmla="*/ 749752 h 1210599"/>
                  <a:gd name="connsiteX96" fmla="*/ 141431 w 1086411"/>
                  <a:gd name="connsiteY96" fmla="*/ 737879 h 1210599"/>
                  <a:gd name="connsiteX97" fmla="*/ 500388 w 1086411"/>
                  <a:gd name="connsiteY97" fmla="*/ 371406 h 1210599"/>
                  <a:gd name="connsiteX98" fmla="*/ 502047 w 1086411"/>
                  <a:gd name="connsiteY98" fmla="*/ 377883 h 1210599"/>
                  <a:gd name="connsiteX99" fmla="*/ 508684 w 1086411"/>
                  <a:gd name="connsiteY99" fmla="*/ 379502 h 1210599"/>
                  <a:gd name="connsiteX100" fmla="*/ 511450 w 1086411"/>
                  <a:gd name="connsiteY100" fmla="*/ 374105 h 1210599"/>
                  <a:gd name="connsiteX101" fmla="*/ 510343 w 1086411"/>
                  <a:gd name="connsiteY101" fmla="*/ 366549 h 1210599"/>
                  <a:gd name="connsiteX102" fmla="*/ 500388 w 1086411"/>
                  <a:gd name="connsiteY102" fmla="*/ 371406 h 1210599"/>
                  <a:gd name="connsiteX103" fmla="*/ 456693 w 1086411"/>
                  <a:gd name="connsiteY103" fmla="*/ -463 h 1210599"/>
                  <a:gd name="connsiteX104" fmla="*/ 455587 w 1086411"/>
                  <a:gd name="connsiteY104" fmla="*/ 15189 h 1210599"/>
                  <a:gd name="connsiteX105" fmla="*/ 470521 w 1086411"/>
                  <a:gd name="connsiteY105" fmla="*/ 36778 h 1210599"/>
                  <a:gd name="connsiteX106" fmla="*/ 485454 w 1086411"/>
                  <a:gd name="connsiteY106" fmla="*/ 46493 h 1210599"/>
                  <a:gd name="connsiteX107" fmla="*/ 508684 w 1086411"/>
                  <a:gd name="connsiteY107" fmla="*/ 50271 h 1210599"/>
                  <a:gd name="connsiteX108" fmla="*/ 591095 w 1086411"/>
                  <a:gd name="connsiteY108" fmla="*/ 60526 h 1210599"/>
                  <a:gd name="connsiteX109" fmla="*/ 563440 w 1086411"/>
                  <a:gd name="connsiteY109" fmla="*/ 90750 h 1210599"/>
                  <a:gd name="connsiteX110" fmla="*/ 567312 w 1086411"/>
                  <a:gd name="connsiteY110" fmla="*/ 99386 h 1210599"/>
                  <a:gd name="connsiteX111" fmla="*/ 580033 w 1086411"/>
                  <a:gd name="connsiteY111" fmla="*/ 100465 h 1210599"/>
                  <a:gd name="connsiteX112" fmla="*/ 589989 w 1086411"/>
                  <a:gd name="connsiteY112" fmla="*/ 105863 h 1210599"/>
                  <a:gd name="connsiteX113" fmla="*/ 577268 w 1086411"/>
                  <a:gd name="connsiteY113" fmla="*/ 118276 h 1210599"/>
                  <a:gd name="connsiteX114" fmla="*/ 575608 w 1086411"/>
                  <a:gd name="connsiteY114" fmla="*/ 126372 h 1210599"/>
                  <a:gd name="connsiteX115" fmla="*/ 588883 w 1086411"/>
                  <a:gd name="connsiteY115" fmla="*/ 131769 h 1210599"/>
                  <a:gd name="connsiteX116" fmla="*/ 595520 w 1086411"/>
                  <a:gd name="connsiteY116" fmla="*/ 141484 h 1210599"/>
                  <a:gd name="connsiteX117" fmla="*/ 605475 w 1086411"/>
                  <a:gd name="connsiteY117" fmla="*/ 146882 h 1210599"/>
                  <a:gd name="connsiteX118" fmla="*/ 617643 w 1086411"/>
                  <a:gd name="connsiteY118" fmla="*/ 161454 h 1210599"/>
                  <a:gd name="connsiteX119" fmla="*/ 611559 w 1086411"/>
                  <a:gd name="connsiteY119" fmla="*/ 167391 h 1210599"/>
                  <a:gd name="connsiteX120" fmla="*/ 605475 w 1086411"/>
                  <a:gd name="connsiteY120" fmla="*/ 166312 h 1210599"/>
                  <a:gd name="connsiteX121" fmla="*/ 603263 w 1086411"/>
                  <a:gd name="connsiteY121" fmla="*/ 154977 h 1210599"/>
                  <a:gd name="connsiteX122" fmla="*/ 597179 w 1086411"/>
                  <a:gd name="connsiteY122" fmla="*/ 152279 h 1210599"/>
                  <a:gd name="connsiteX123" fmla="*/ 583905 w 1086411"/>
                  <a:gd name="connsiteY123" fmla="*/ 147961 h 1210599"/>
                  <a:gd name="connsiteX124" fmla="*/ 571737 w 1086411"/>
                  <a:gd name="connsiteY124" fmla="*/ 157676 h 1210599"/>
                  <a:gd name="connsiteX125" fmla="*/ 568418 w 1086411"/>
                  <a:gd name="connsiteY125" fmla="*/ 151199 h 1210599"/>
                  <a:gd name="connsiteX126" fmla="*/ 559016 w 1086411"/>
                  <a:gd name="connsiteY126" fmla="*/ 151739 h 1210599"/>
                  <a:gd name="connsiteX127" fmla="*/ 550719 w 1086411"/>
                  <a:gd name="connsiteY127" fmla="*/ 151739 h 1210599"/>
                  <a:gd name="connsiteX128" fmla="*/ 547954 w 1086411"/>
                  <a:gd name="connsiteY128" fmla="*/ 152818 h 1210599"/>
                  <a:gd name="connsiteX129" fmla="*/ 546294 w 1086411"/>
                  <a:gd name="connsiteY129" fmla="*/ 159295 h 1210599"/>
                  <a:gd name="connsiteX130" fmla="*/ 544635 w 1086411"/>
                  <a:gd name="connsiteY130" fmla="*/ 163613 h 1210599"/>
                  <a:gd name="connsiteX131" fmla="*/ 525277 w 1086411"/>
                  <a:gd name="connsiteY131" fmla="*/ 171709 h 1210599"/>
                  <a:gd name="connsiteX132" fmla="*/ 521958 w 1086411"/>
                  <a:gd name="connsiteY132" fmla="*/ 175487 h 1210599"/>
                  <a:gd name="connsiteX133" fmla="*/ 515321 w 1086411"/>
                  <a:gd name="connsiteY133" fmla="*/ 180344 h 1210599"/>
                  <a:gd name="connsiteX134" fmla="*/ 495963 w 1086411"/>
                  <a:gd name="connsiteY134" fmla="*/ 195996 h 1210599"/>
                  <a:gd name="connsiteX135" fmla="*/ 493751 w 1086411"/>
                  <a:gd name="connsiteY135" fmla="*/ 194377 h 1210599"/>
                  <a:gd name="connsiteX136" fmla="*/ 500941 w 1086411"/>
                  <a:gd name="connsiteY136" fmla="*/ 178725 h 1210599"/>
                  <a:gd name="connsiteX137" fmla="*/ 494304 w 1086411"/>
                  <a:gd name="connsiteY137" fmla="*/ 177646 h 1210599"/>
                  <a:gd name="connsiteX138" fmla="*/ 489879 w 1086411"/>
                  <a:gd name="connsiteY138" fmla="*/ 183583 h 1210599"/>
                  <a:gd name="connsiteX139" fmla="*/ 472733 w 1086411"/>
                  <a:gd name="connsiteY139" fmla="*/ 200854 h 1210599"/>
                  <a:gd name="connsiteX140" fmla="*/ 472733 w 1086411"/>
                  <a:gd name="connsiteY140" fmla="*/ 213807 h 1210599"/>
                  <a:gd name="connsiteX141" fmla="*/ 487114 w 1086411"/>
                  <a:gd name="connsiteY141" fmla="*/ 239174 h 1210599"/>
                  <a:gd name="connsiteX142" fmla="*/ 504813 w 1086411"/>
                  <a:gd name="connsiteY142" fmla="*/ 254826 h 1210599"/>
                  <a:gd name="connsiteX143" fmla="*/ 495410 w 1086411"/>
                  <a:gd name="connsiteY143" fmla="*/ 266160 h 1210599"/>
                  <a:gd name="connsiteX144" fmla="*/ 492091 w 1086411"/>
                  <a:gd name="connsiteY144" fmla="*/ 265081 h 1210599"/>
                  <a:gd name="connsiteX145" fmla="*/ 483795 w 1086411"/>
                  <a:gd name="connsiteY145" fmla="*/ 264001 h 1210599"/>
                  <a:gd name="connsiteX146" fmla="*/ 484901 w 1086411"/>
                  <a:gd name="connsiteY146" fmla="*/ 298544 h 1210599"/>
                  <a:gd name="connsiteX147" fmla="*/ 492091 w 1086411"/>
                  <a:gd name="connsiteY147" fmla="*/ 333626 h 1210599"/>
                  <a:gd name="connsiteX148" fmla="*/ 497069 w 1086411"/>
                  <a:gd name="connsiteY148" fmla="*/ 341182 h 1210599"/>
                  <a:gd name="connsiteX149" fmla="*/ 499282 w 1086411"/>
                  <a:gd name="connsiteY149" fmla="*/ 342801 h 1210599"/>
                  <a:gd name="connsiteX150" fmla="*/ 505366 w 1086411"/>
                  <a:gd name="connsiteY150" fmla="*/ 351976 h 1210599"/>
                  <a:gd name="connsiteX151" fmla="*/ 533020 w 1086411"/>
                  <a:gd name="connsiteY151" fmla="*/ 368168 h 1210599"/>
                  <a:gd name="connsiteX152" fmla="*/ 576161 w 1086411"/>
                  <a:gd name="connsiteY152" fmla="*/ 394075 h 1210599"/>
                  <a:gd name="connsiteX153" fmla="*/ 600497 w 1086411"/>
                  <a:gd name="connsiteY153" fmla="*/ 404869 h 1210599"/>
                  <a:gd name="connsiteX154" fmla="*/ 617090 w 1086411"/>
                  <a:gd name="connsiteY154" fmla="*/ 419981 h 1210599"/>
                  <a:gd name="connsiteX155" fmla="*/ 629811 w 1086411"/>
                  <a:gd name="connsiteY155" fmla="*/ 450746 h 1210599"/>
                  <a:gd name="connsiteX156" fmla="*/ 633683 w 1086411"/>
                  <a:gd name="connsiteY156" fmla="*/ 466937 h 1210599"/>
                  <a:gd name="connsiteX157" fmla="*/ 640873 w 1086411"/>
                  <a:gd name="connsiteY157" fmla="*/ 480431 h 1210599"/>
                  <a:gd name="connsiteX158" fmla="*/ 646404 w 1086411"/>
                  <a:gd name="connsiteY158" fmla="*/ 495543 h 1210599"/>
                  <a:gd name="connsiteX159" fmla="*/ 650276 w 1086411"/>
                  <a:gd name="connsiteY159" fmla="*/ 500400 h 1210599"/>
                  <a:gd name="connsiteX160" fmla="*/ 655807 w 1086411"/>
                  <a:gd name="connsiteY160" fmla="*/ 517132 h 1210599"/>
                  <a:gd name="connsiteX161" fmla="*/ 675718 w 1086411"/>
                  <a:gd name="connsiteY161" fmla="*/ 536562 h 1210599"/>
                  <a:gd name="connsiteX162" fmla="*/ 683461 w 1086411"/>
                  <a:gd name="connsiteY162" fmla="*/ 544118 h 1210599"/>
                  <a:gd name="connsiteX163" fmla="*/ 695076 w 1086411"/>
                  <a:gd name="connsiteY163" fmla="*/ 549515 h 1210599"/>
                  <a:gd name="connsiteX164" fmla="*/ 705585 w 1086411"/>
                  <a:gd name="connsiteY164" fmla="*/ 558151 h 1210599"/>
                  <a:gd name="connsiteX165" fmla="*/ 728262 w 1086411"/>
                  <a:gd name="connsiteY165" fmla="*/ 574882 h 1210599"/>
                  <a:gd name="connsiteX166" fmla="*/ 756469 w 1086411"/>
                  <a:gd name="connsiteY166" fmla="*/ 586216 h 1210599"/>
                  <a:gd name="connsiteX167" fmla="*/ 773615 w 1086411"/>
                  <a:gd name="connsiteY167" fmla="*/ 589455 h 1210599"/>
                  <a:gd name="connsiteX168" fmla="*/ 806801 w 1086411"/>
                  <a:gd name="connsiteY168" fmla="*/ 586216 h 1210599"/>
                  <a:gd name="connsiteX169" fmla="*/ 832796 w 1086411"/>
                  <a:gd name="connsiteY169" fmla="*/ 580819 h 1210599"/>
                  <a:gd name="connsiteX170" fmla="*/ 852154 w 1086411"/>
                  <a:gd name="connsiteY170" fmla="*/ 584597 h 1210599"/>
                  <a:gd name="connsiteX171" fmla="*/ 854367 w 1086411"/>
                  <a:gd name="connsiteY171" fmla="*/ 592153 h 1210599"/>
                  <a:gd name="connsiteX172" fmla="*/ 849942 w 1086411"/>
                  <a:gd name="connsiteY172" fmla="*/ 607265 h 1210599"/>
                  <a:gd name="connsiteX173" fmla="*/ 836668 w 1086411"/>
                  <a:gd name="connsiteY173" fmla="*/ 635871 h 1210599"/>
                  <a:gd name="connsiteX174" fmla="*/ 861557 w 1086411"/>
                  <a:gd name="connsiteY174" fmla="*/ 650983 h 1210599"/>
                  <a:gd name="connsiteX175" fmla="*/ 951711 w 1086411"/>
                  <a:gd name="connsiteY175" fmla="*/ 674191 h 1210599"/>
                  <a:gd name="connsiteX176" fmla="*/ 972728 w 1086411"/>
                  <a:gd name="connsiteY176" fmla="*/ 687684 h 1210599"/>
                  <a:gd name="connsiteX177" fmla="*/ 1021400 w 1086411"/>
                  <a:gd name="connsiteY177" fmla="*/ 701717 h 1210599"/>
                  <a:gd name="connsiteX178" fmla="*/ 1029144 w 1086411"/>
                  <a:gd name="connsiteY178" fmla="*/ 709813 h 1210599"/>
                  <a:gd name="connsiteX179" fmla="*/ 1035781 w 1086411"/>
                  <a:gd name="connsiteY179" fmla="*/ 713051 h 1210599"/>
                  <a:gd name="connsiteX180" fmla="*/ 1042971 w 1086411"/>
                  <a:gd name="connsiteY180" fmla="*/ 723846 h 1210599"/>
                  <a:gd name="connsiteX181" fmla="*/ 1054586 w 1086411"/>
                  <a:gd name="connsiteY181" fmla="*/ 728703 h 1210599"/>
                  <a:gd name="connsiteX182" fmla="*/ 1081134 w 1086411"/>
                  <a:gd name="connsiteY182" fmla="*/ 754070 h 1210599"/>
                  <a:gd name="connsiteX183" fmla="*/ 1085559 w 1086411"/>
                  <a:gd name="connsiteY183" fmla="*/ 779437 h 1210599"/>
                  <a:gd name="connsiteX184" fmla="*/ 1085006 w 1086411"/>
                  <a:gd name="connsiteY184" fmla="*/ 805344 h 1210599"/>
                  <a:gd name="connsiteX185" fmla="*/ 1062882 w 1086411"/>
                  <a:gd name="connsiteY185" fmla="*/ 801566 h 1210599"/>
                  <a:gd name="connsiteX186" fmla="*/ 1038546 w 1086411"/>
                  <a:gd name="connsiteY186" fmla="*/ 767563 h 1210599"/>
                  <a:gd name="connsiteX187" fmla="*/ 1027484 w 1086411"/>
                  <a:gd name="connsiteY187" fmla="*/ 758388 h 1210599"/>
                  <a:gd name="connsiteX188" fmla="*/ 997064 w 1086411"/>
                  <a:gd name="connsiteY188" fmla="*/ 755689 h 1210599"/>
                  <a:gd name="connsiteX189" fmla="*/ 966091 w 1086411"/>
                  <a:gd name="connsiteY189" fmla="*/ 747594 h 1210599"/>
                  <a:gd name="connsiteX190" fmla="*/ 976600 w 1086411"/>
                  <a:gd name="connsiteY190" fmla="*/ 740037 h 1210599"/>
                  <a:gd name="connsiteX191" fmla="*/ 951158 w 1086411"/>
                  <a:gd name="connsiteY191" fmla="*/ 737339 h 1210599"/>
                  <a:gd name="connsiteX192" fmla="*/ 936224 w 1086411"/>
                  <a:gd name="connsiteY192" fmla="*/ 756769 h 1210599"/>
                  <a:gd name="connsiteX193" fmla="*/ 919632 w 1086411"/>
                  <a:gd name="connsiteY193" fmla="*/ 785374 h 1210599"/>
                  <a:gd name="connsiteX194" fmla="*/ 920738 w 1086411"/>
                  <a:gd name="connsiteY194" fmla="*/ 806963 h 1210599"/>
                  <a:gd name="connsiteX195" fmla="*/ 911335 w 1086411"/>
                  <a:gd name="connsiteY195" fmla="*/ 823155 h 1210599"/>
                  <a:gd name="connsiteX196" fmla="*/ 917419 w 1086411"/>
                  <a:gd name="connsiteY196" fmla="*/ 845823 h 1210599"/>
                  <a:gd name="connsiteX197" fmla="*/ 936777 w 1086411"/>
                  <a:gd name="connsiteY197" fmla="*/ 846903 h 1210599"/>
                  <a:gd name="connsiteX198" fmla="*/ 942861 w 1086411"/>
                  <a:gd name="connsiteY198" fmla="*/ 853919 h 1210599"/>
                  <a:gd name="connsiteX199" fmla="*/ 967197 w 1086411"/>
                  <a:gd name="connsiteY199" fmla="*/ 863634 h 1210599"/>
                  <a:gd name="connsiteX200" fmla="*/ 973835 w 1086411"/>
                  <a:gd name="connsiteY200" fmla="*/ 868492 h 1210599"/>
                  <a:gd name="connsiteX201" fmla="*/ 974388 w 1086411"/>
                  <a:gd name="connsiteY201" fmla="*/ 885763 h 1210599"/>
                  <a:gd name="connsiteX202" fmla="*/ 977153 w 1086411"/>
                  <a:gd name="connsiteY202" fmla="*/ 894398 h 1210599"/>
                  <a:gd name="connsiteX203" fmla="*/ 979365 w 1086411"/>
                  <a:gd name="connsiteY203" fmla="*/ 907352 h 1210599"/>
                  <a:gd name="connsiteX204" fmla="*/ 984343 w 1086411"/>
                  <a:gd name="connsiteY204" fmla="*/ 918686 h 1210599"/>
                  <a:gd name="connsiteX205" fmla="*/ 950605 w 1086411"/>
                  <a:gd name="connsiteY205" fmla="*/ 928941 h 1210599"/>
                  <a:gd name="connsiteX206" fmla="*/ 935118 w 1086411"/>
                  <a:gd name="connsiteY206" fmla="*/ 943513 h 1210599"/>
                  <a:gd name="connsiteX207" fmla="*/ 931246 w 1086411"/>
                  <a:gd name="connsiteY207" fmla="*/ 952149 h 1210599"/>
                  <a:gd name="connsiteX208" fmla="*/ 926822 w 1086411"/>
                  <a:gd name="connsiteY208" fmla="*/ 953228 h 1210599"/>
                  <a:gd name="connsiteX209" fmla="*/ 931246 w 1086411"/>
                  <a:gd name="connsiteY209" fmla="*/ 989390 h 1210599"/>
                  <a:gd name="connsiteX210" fmla="*/ 899167 w 1086411"/>
                  <a:gd name="connsiteY210" fmla="*/ 1021773 h 1210599"/>
                  <a:gd name="connsiteX211" fmla="*/ 891424 w 1086411"/>
                  <a:gd name="connsiteY211" fmla="*/ 1053617 h 1210599"/>
                  <a:gd name="connsiteX212" fmla="*/ 875384 w 1086411"/>
                  <a:gd name="connsiteY212" fmla="*/ 1056315 h 1210599"/>
                  <a:gd name="connsiteX213" fmla="*/ 859345 w 1086411"/>
                  <a:gd name="connsiteY213" fmla="*/ 1052537 h 1210599"/>
                  <a:gd name="connsiteX214" fmla="*/ 852154 w 1086411"/>
                  <a:gd name="connsiteY214" fmla="*/ 1020694 h 1210599"/>
                  <a:gd name="connsiteX215" fmla="*/ 864322 w 1086411"/>
                  <a:gd name="connsiteY215" fmla="*/ 1009899 h 1210599"/>
                  <a:gd name="connsiteX216" fmla="*/ 872619 w 1086411"/>
                  <a:gd name="connsiteY216" fmla="*/ 976976 h 1210599"/>
                  <a:gd name="connsiteX217" fmla="*/ 864322 w 1086411"/>
                  <a:gd name="connsiteY217" fmla="*/ 971579 h 1210599"/>
                  <a:gd name="connsiteX218" fmla="*/ 876490 w 1086411"/>
                  <a:gd name="connsiteY218" fmla="*/ 960784 h 1210599"/>
                  <a:gd name="connsiteX219" fmla="*/ 890318 w 1086411"/>
                  <a:gd name="connsiteY219" fmla="*/ 960245 h 1210599"/>
                  <a:gd name="connsiteX220" fmla="*/ 894742 w 1086411"/>
                  <a:gd name="connsiteY220" fmla="*/ 932719 h 1210599"/>
                  <a:gd name="connsiteX221" fmla="*/ 885893 w 1086411"/>
                  <a:gd name="connsiteY221" fmla="*/ 924083 h 1210599"/>
                  <a:gd name="connsiteX222" fmla="*/ 870406 w 1086411"/>
                  <a:gd name="connsiteY222" fmla="*/ 879286 h 1210599"/>
                  <a:gd name="connsiteX223" fmla="*/ 849389 w 1086411"/>
                  <a:gd name="connsiteY223" fmla="*/ 852840 h 1210599"/>
                  <a:gd name="connsiteX224" fmla="*/ 846070 w 1086411"/>
                  <a:gd name="connsiteY224" fmla="*/ 832870 h 1210599"/>
                  <a:gd name="connsiteX225" fmla="*/ 843305 w 1086411"/>
                  <a:gd name="connsiteY225" fmla="*/ 827473 h 1210599"/>
                  <a:gd name="connsiteX226" fmla="*/ 839986 w 1086411"/>
                  <a:gd name="connsiteY226" fmla="*/ 818297 h 1210599"/>
                  <a:gd name="connsiteX227" fmla="*/ 830031 w 1086411"/>
                  <a:gd name="connsiteY227" fmla="*/ 804264 h 1210599"/>
                  <a:gd name="connsiteX228" fmla="*/ 805695 w 1086411"/>
                  <a:gd name="connsiteY228" fmla="*/ 813980 h 1210599"/>
                  <a:gd name="connsiteX229" fmla="*/ 793527 w 1086411"/>
                  <a:gd name="connsiteY229" fmla="*/ 811281 h 1210599"/>
                  <a:gd name="connsiteX230" fmla="*/ 792420 w 1086411"/>
                  <a:gd name="connsiteY230" fmla="*/ 803725 h 1210599"/>
                  <a:gd name="connsiteX231" fmla="*/ 783571 w 1086411"/>
                  <a:gd name="connsiteY231" fmla="*/ 797248 h 1210599"/>
                  <a:gd name="connsiteX232" fmla="*/ 766425 w 1086411"/>
                  <a:gd name="connsiteY232" fmla="*/ 794549 h 1210599"/>
                  <a:gd name="connsiteX233" fmla="*/ 759235 w 1086411"/>
                  <a:gd name="connsiteY233" fmla="*/ 788073 h 1210599"/>
                  <a:gd name="connsiteX234" fmla="*/ 762553 w 1086411"/>
                  <a:gd name="connsiteY234" fmla="*/ 766484 h 1210599"/>
                  <a:gd name="connsiteX235" fmla="*/ 753704 w 1086411"/>
                  <a:gd name="connsiteY235" fmla="*/ 752451 h 1210599"/>
                  <a:gd name="connsiteX236" fmla="*/ 747620 w 1086411"/>
                  <a:gd name="connsiteY236" fmla="*/ 748673 h 1210599"/>
                  <a:gd name="connsiteX237" fmla="*/ 743195 w 1086411"/>
                  <a:gd name="connsiteY237" fmla="*/ 741117 h 1210599"/>
                  <a:gd name="connsiteX238" fmla="*/ 701713 w 1086411"/>
                  <a:gd name="connsiteY238" fmla="*/ 756769 h 1210599"/>
                  <a:gd name="connsiteX239" fmla="*/ 700607 w 1086411"/>
                  <a:gd name="connsiteY239" fmla="*/ 755150 h 1210599"/>
                  <a:gd name="connsiteX240" fmla="*/ 711116 w 1086411"/>
                  <a:gd name="connsiteY240" fmla="*/ 736799 h 1210599"/>
                  <a:gd name="connsiteX241" fmla="*/ 711669 w 1086411"/>
                  <a:gd name="connsiteY241" fmla="*/ 730862 h 1210599"/>
                  <a:gd name="connsiteX242" fmla="*/ 693970 w 1086411"/>
                  <a:gd name="connsiteY242" fmla="*/ 725465 h 1210599"/>
                  <a:gd name="connsiteX243" fmla="*/ 676824 w 1086411"/>
                  <a:gd name="connsiteY243" fmla="*/ 728703 h 1210599"/>
                  <a:gd name="connsiteX244" fmla="*/ 667422 w 1086411"/>
                  <a:gd name="connsiteY244" fmla="*/ 716829 h 1210599"/>
                  <a:gd name="connsiteX245" fmla="*/ 665762 w 1086411"/>
                  <a:gd name="connsiteY245" fmla="*/ 711972 h 1210599"/>
                  <a:gd name="connsiteX246" fmla="*/ 644192 w 1086411"/>
                  <a:gd name="connsiteY246" fmla="*/ 684986 h 1210599"/>
                  <a:gd name="connsiteX247" fmla="*/ 640873 w 1086411"/>
                  <a:gd name="connsiteY247" fmla="*/ 682287 h 1210599"/>
                  <a:gd name="connsiteX248" fmla="*/ 625387 w 1086411"/>
                  <a:gd name="connsiteY248" fmla="*/ 683906 h 1210599"/>
                  <a:gd name="connsiteX249" fmla="*/ 609347 w 1086411"/>
                  <a:gd name="connsiteY249" fmla="*/ 677430 h 1210599"/>
                  <a:gd name="connsiteX250" fmla="*/ 598285 w 1086411"/>
                  <a:gd name="connsiteY250" fmla="*/ 677969 h 1210599"/>
                  <a:gd name="connsiteX251" fmla="*/ 585564 w 1086411"/>
                  <a:gd name="connsiteY251" fmla="*/ 686065 h 1210599"/>
                  <a:gd name="connsiteX252" fmla="*/ 577268 w 1086411"/>
                  <a:gd name="connsiteY252" fmla="*/ 686605 h 1210599"/>
                  <a:gd name="connsiteX253" fmla="*/ 567312 w 1086411"/>
                  <a:gd name="connsiteY253" fmla="*/ 669334 h 1210599"/>
                  <a:gd name="connsiteX254" fmla="*/ 553485 w 1086411"/>
                  <a:gd name="connsiteY254" fmla="*/ 666095 h 1210599"/>
                  <a:gd name="connsiteX255" fmla="*/ 547954 w 1086411"/>
                  <a:gd name="connsiteY255" fmla="*/ 662857 h 1210599"/>
                  <a:gd name="connsiteX256" fmla="*/ 539104 w 1086411"/>
                  <a:gd name="connsiteY256" fmla="*/ 661778 h 1210599"/>
                  <a:gd name="connsiteX257" fmla="*/ 534126 w 1086411"/>
                  <a:gd name="connsiteY257" fmla="*/ 662317 h 1210599"/>
                  <a:gd name="connsiteX258" fmla="*/ 529149 w 1086411"/>
                  <a:gd name="connsiteY258" fmla="*/ 649904 h 1210599"/>
                  <a:gd name="connsiteX259" fmla="*/ 520852 w 1086411"/>
                  <a:gd name="connsiteY259" fmla="*/ 642348 h 1210599"/>
                  <a:gd name="connsiteX260" fmla="*/ 508684 w 1086411"/>
                  <a:gd name="connsiteY260" fmla="*/ 637490 h 1210599"/>
                  <a:gd name="connsiteX261" fmla="*/ 504813 w 1086411"/>
                  <a:gd name="connsiteY261" fmla="*/ 632632 h 1210599"/>
                  <a:gd name="connsiteX262" fmla="*/ 496516 w 1086411"/>
                  <a:gd name="connsiteY262" fmla="*/ 627775 h 1210599"/>
                  <a:gd name="connsiteX263" fmla="*/ 494304 w 1086411"/>
                  <a:gd name="connsiteY263" fmla="*/ 615901 h 1210599"/>
                  <a:gd name="connsiteX264" fmla="*/ 479370 w 1086411"/>
                  <a:gd name="connsiteY264" fmla="*/ 604567 h 1210599"/>
                  <a:gd name="connsiteX265" fmla="*/ 474946 w 1086411"/>
                  <a:gd name="connsiteY265" fmla="*/ 599709 h 1210599"/>
                  <a:gd name="connsiteX266" fmla="*/ 461118 w 1086411"/>
                  <a:gd name="connsiteY266" fmla="*/ 597011 h 1210599"/>
                  <a:gd name="connsiteX267" fmla="*/ 452269 w 1086411"/>
                  <a:gd name="connsiteY267" fmla="*/ 580819 h 1210599"/>
                  <a:gd name="connsiteX268" fmla="*/ 438995 w 1086411"/>
                  <a:gd name="connsiteY268" fmla="*/ 567866 h 1210599"/>
                  <a:gd name="connsiteX269" fmla="*/ 425167 w 1086411"/>
                  <a:gd name="connsiteY269" fmla="*/ 560310 h 1210599"/>
                  <a:gd name="connsiteX270" fmla="*/ 410234 w 1086411"/>
                  <a:gd name="connsiteY270" fmla="*/ 557611 h 1210599"/>
                  <a:gd name="connsiteX271" fmla="*/ 398619 w 1086411"/>
                  <a:gd name="connsiteY271" fmla="*/ 561929 h 1210599"/>
                  <a:gd name="connsiteX272" fmla="*/ 395853 w 1086411"/>
                  <a:gd name="connsiteY272" fmla="*/ 553833 h 1210599"/>
                  <a:gd name="connsiteX273" fmla="*/ 401937 w 1086411"/>
                  <a:gd name="connsiteY273" fmla="*/ 545197 h 1210599"/>
                  <a:gd name="connsiteX274" fmla="*/ 377048 w 1086411"/>
                  <a:gd name="connsiteY274" fmla="*/ 514433 h 1210599"/>
                  <a:gd name="connsiteX275" fmla="*/ 359902 w 1086411"/>
                  <a:gd name="connsiteY275" fmla="*/ 511195 h 1210599"/>
                  <a:gd name="connsiteX276" fmla="*/ 361562 w 1086411"/>
                  <a:gd name="connsiteY276" fmla="*/ 501480 h 1210599"/>
                  <a:gd name="connsiteX277" fmla="*/ 356031 w 1086411"/>
                  <a:gd name="connsiteY277" fmla="*/ 496082 h 1210599"/>
                  <a:gd name="connsiteX278" fmla="*/ 341097 w 1086411"/>
                  <a:gd name="connsiteY278" fmla="*/ 495003 h 1210599"/>
                  <a:gd name="connsiteX279" fmla="*/ 344416 w 1086411"/>
                  <a:gd name="connsiteY279" fmla="*/ 466937 h 1210599"/>
                  <a:gd name="connsiteX280" fmla="*/ 342757 w 1086411"/>
                  <a:gd name="connsiteY280" fmla="*/ 464779 h 1210599"/>
                  <a:gd name="connsiteX281" fmla="*/ 330035 w 1086411"/>
                  <a:gd name="connsiteY281" fmla="*/ 443729 h 1210599"/>
                  <a:gd name="connsiteX282" fmla="*/ 319527 w 1086411"/>
                  <a:gd name="connsiteY282" fmla="*/ 431316 h 1210599"/>
                  <a:gd name="connsiteX283" fmla="*/ 316208 w 1086411"/>
                  <a:gd name="connsiteY283" fmla="*/ 412425 h 1210599"/>
                  <a:gd name="connsiteX284" fmla="*/ 316208 w 1086411"/>
                  <a:gd name="connsiteY284" fmla="*/ 401631 h 1210599"/>
                  <a:gd name="connsiteX285" fmla="*/ 314549 w 1086411"/>
                  <a:gd name="connsiteY285" fmla="*/ 398393 h 1210599"/>
                  <a:gd name="connsiteX286" fmla="*/ 307359 w 1086411"/>
                  <a:gd name="connsiteY286" fmla="*/ 378423 h 1210599"/>
                  <a:gd name="connsiteX287" fmla="*/ 296297 w 1086411"/>
                  <a:gd name="connsiteY287" fmla="*/ 370867 h 1210599"/>
                  <a:gd name="connsiteX288" fmla="*/ 287447 w 1086411"/>
                  <a:gd name="connsiteY288" fmla="*/ 368168 h 1210599"/>
                  <a:gd name="connsiteX289" fmla="*/ 276385 w 1086411"/>
                  <a:gd name="connsiteY289" fmla="*/ 362231 h 1210599"/>
                  <a:gd name="connsiteX290" fmla="*/ 273067 w 1086411"/>
                  <a:gd name="connsiteY290" fmla="*/ 367628 h 1210599"/>
                  <a:gd name="connsiteX291" fmla="*/ 267536 w 1086411"/>
                  <a:gd name="connsiteY291" fmla="*/ 364390 h 1210599"/>
                  <a:gd name="connsiteX292" fmla="*/ 255368 w 1086411"/>
                  <a:gd name="connsiteY292" fmla="*/ 357374 h 1210599"/>
                  <a:gd name="connsiteX293" fmla="*/ 232138 w 1086411"/>
                  <a:gd name="connsiteY293" fmla="*/ 335785 h 1210599"/>
                  <a:gd name="connsiteX294" fmla="*/ 224395 w 1086411"/>
                  <a:gd name="connsiteY294" fmla="*/ 335245 h 1210599"/>
                  <a:gd name="connsiteX295" fmla="*/ 221629 w 1086411"/>
                  <a:gd name="connsiteY295" fmla="*/ 340102 h 1210599"/>
                  <a:gd name="connsiteX296" fmla="*/ 211121 w 1086411"/>
                  <a:gd name="connsiteY296" fmla="*/ 330387 h 1210599"/>
                  <a:gd name="connsiteX297" fmla="*/ 184572 w 1086411"/>
                  <a:gd name="connsiteY297" fmla="*/ 324990 h 1210599"/>
                  <a:gd name="connsiteX298" fmla="*/ 158024 w 1086411"/>
                  <a:gd name="connsiteY298" fmla="*/ 340102 h 1210599"/>
                  <a:gd name="connsiteX299" fmla="*/ 154705 w 1086411"/>
                  <a:gd name="connsiteY299" fmla="*/ 351976 h 1210599"/>
                  <a:gd name="connsiteX300" fmla="*/ 139772 w 1086411"/>
                  <a:gd name="connsiteY300" fmla="*/ 358993 h 1210599"/>
                  <a:gd name="connsiteX301" fmla="*/ 130922 w 1086411"/>
                  <a:gd name="connsiteY301" fmla="*/ 373565 h 1210599"/>
                  <a:gd name="connsiteX302" fmla="*/ 127051 w 1086411"/>
                  <a:gd name="connsiteY302" fmla="*/ 387598 h 1210599"/>
                  <a:gd name="connsiteX303" fmla="*/ 94418 w 1086411"/>
                  <a:gd name="connsiteY303" fmla="*/ 401631 h 1210599"/>
                  <a:gd name="connsiteX304" fmla="*/ 77272 w 1086411"/>
                  <a:gd name="connsiteY304" fmla="*/ 403790 h 1210599"/>
                  <a:gd name="connsiteX305" fmla="*/ 77272 w 1086411"/>
                  <a:gd name="connsiteY305" fmla="*/ 391376 h 1210599"/>
                  <a:gd name="connsiteX306" fmla="*/ 92759 w 1086411"/>
                  <a:gd name="connsiteY306" fmla="*/ 371946 h 1210599"/>
                  <a:gd name="connsiteX307" fmla="*/ 92206 w 1086411"/>
                  <a:gd name="connsiteY307" fmla="*/ 364390 h 1210599"/>
                  <a:gd name="connsiteX308" fmla="*/ 89993 w 1086411"/>
                  <a:gd name="connsiteY308" fmla="*/ 358453 h 1210599"/>
                  <a:gd name="connsiteX309" fmla="*/ 62892 w 1086411"/>
                  <a:gd name="connsiteY309" fmla="*/ 364930 h 1210599"/>
                  <a:gd name="connsiteX310" fmla="*/ 29706 w 1086411"/>
                  <a:gd name="connsiteY310" fmla="*/ 350897 h 1210599"/>
                  <a:gd name="connsiteX311" fmla="*/ 22516 w 1086411"/>
                  <a:gd name="connsiteY311" fmla="*/ 341182 h 1210599"/>
                  <a:gd name="connsiteX312" fmla="*/ 19198 w 1086411"/>
                  <a:gd name="connsiteY312" fmla="*/ 316894 h 1210599"/>
                  <a:gd name="connsiteX313" fmla="*/ 32472 w 1086411"/>
                  <a:gd name="connsiteY313" fmla="*/ 299623 h 1210599"/>
                  <a:gd name="connsiteX314" fmla="*/ 29153 w 1086411"/>
                  <a:gd name="connsiteY314" fmla="*/ 280733 h 1210599"/>
                  <a:gd name="connsiteX315" fmla="*/ 14220 w 1086411"/>
                  <a:gd name="connsiteY315" fmla="*/ 278034 h 1210599"/>
                  <a:gd name="connsiteX316" fmla="*/ 2052 w 1086411"/>
                  <a:gd name="connsiteY316" fmla="*/ 257525 h 1210599"/>
                  <a:gd name="connsiteX317" fmla="*/ -714 w 1086411"/>
                  <a:gd name="connsiteY317" fmla="*/ 244032 h 1210599"/>
                  <a:gd name="connsiteX318" fmla="*/ 18645 w 1086411"/>
                  <a:gd name="connsiteY318" fmla="*/ 244571 h 1210599"/>
                  <a:gd name="connsiteX319" fmla="*/ 39109 w 1086411"/>
                  <a:gd name="connsiteY319" fmla="*/ 229999 h 1210599"/>
                  <a:gd name="connsiteX320" fmla="*/ 40768 w 1086411"/>
                  <a:gd name="connsiteY320" fmla="*/ 212728 h 1210599"/>
                  <a:gd name="connsiteX321" fmla="*/ 33025 w 1086411"/>
                  <a:gd name="connsiteY321" fmla="*/ 205172 h 1210599"/>
                  <a:gd name="connsiteX322" fmla="*/ 27494 w 1086411"/>
                  <a:gd name="connsiteY322" fmla="*/ 199235 h 1210599"/>
                  <a:gd name="connsiteX323" fmla="*/ 28600 w 1086411"/>
                  <a:gd name="connsiteY323" fmla="*/ 186821 h 1210599"/>
                  <a:gd name="connsiteX324" fmla="*/ 14220 w 1086411"/>
                  <a:gd name="connsiteY324" fmla="*/ 172248 h 1210599"/>
                  <a:gd name="connsiteX325" fmla="*/ 32472 w 1086411"/>
                  <a:gd name="connsiteY325" fmla="*/ 154438 h 1210599"/>
                  <a:gd name="connsiteX326" fmla="*/ 50724 w 1086411"/>
                  <a:gd name="connsiteY326" fmla="*/ 158216 h 1210599"/>
                  <a:gd name="connsiteX327" fmla="*/ 78379 w 1086411"/>
                  <a:gd name="connsiteY327" fmla="*/ 147421 h 1210599"/>
                  <a:gd name="connsiteX328" fmla="*/ 100502 w 1086411"/>
                  <a:gd name="connsiteY328" fmla="*/ 151199 h 1210599"/>
                  <a:gd name="connsiteX329" fmla="*/ 125944 w 1086411"/>
                  <a:gd name="connsiteY329" fmla="*/ 129071 h 1210599"/>
                  <a:gd name="connsiteX330" fmla="*/ 127604 w 1086411"/>
                  <a:gd name="connsiteY330" fmla="*/ 120435 h 1210599"/>
                  <a:gd name="connsiteX331" fmla="*/ 125391 w 1086411"/>
                  <a:gd name="connsiteY331" fmla="*/ 109641 h 1210599"/>
                  <a:gd name="connsiteX332" fmla="*/ 137559 w 1086411"/>
                  <a:gd name="connsiteY332" fmla="*/ 103704 h 1210599"/>
                  <a:gd name="connsiteX333" fmla="*/ 142537 w 1086411"/>
                  <a:gd name="connsiteY333" fmla="*/ 92369 h 1210599"/>
                  <a:gd name="connsiteX334" fmla="*/ 151387 w 1086411"/>
                  <a:gd name="connsiteY334" fmla="*/ 92369 h 1210599"/>
                  <a:gd name="connsiteX335" fmla="*/ 154705 w 1086411"/>
                  <a:gd name="connsiteY335" fmla="*/ 114498 h 1210599"/>
                  <a:gd name="connsiteX336" fmla="*/ 166873 w 1086411"/>
                  <a:gd name="connsiteY336" fmla="*/ 126912 h 1210599"/>
                  <a:gd name="connsiteX337" fmla="*/ 169639 w 1086411"/>
                  <a:gd name="connsiteY337" fmla="*/ 127451 h 1210599"/>
                  <a:gd name="connsiteX338" fmla="*/ 177382 w 1086411"/>
                  <a:gd name="connsiteY338" fmla="*/ 129610 h 1210599"/>
                  <a:gd name="connsiteX339" fmla="*/ 184572 w 1086411"/>
                  <a:gd name="connsiteY339" fmla="*/ 131769 h 1210599"/>
                  <a:gd name="connsiteX340" fmla="*/ 184019 w 1086411"/>
                  <a:gd name="connsiteY340" fmla="*/ 146882 h 1210599"/>
                  <a:gd name="connsiteX341" fmla="*/ 189550 w 1086411"/>
                  <a:gd name="connsiteY341" fmla="*/ 150660 h 1210599"/>
                  <a:gd name="connsiteX342" fmla="*/ 193422 w 1086411"/>
                  <a:gd name="connsiteY342" fmla="*/ 160914 h 1210599"/>
                  <a:gd name="connsiteX343" fmla="*/ 202824 w 1086411"/>
                  <a:gd name="connsiteY343" fmla="*/ 161454 h 1210599"/>
                  <a:gd name="connsiteX344" fmla="*/ 206696 w 1086411"/>
                  <a:gd name="connsiteY344" fmla="*/ 154977 h 1210599"/>
                  <a:gd name="connsiteX345" fmla="*/ 200059 w 1086411"/>
                  <a:gd name="connsiteY345" fmla="*/ 145802 h 1210599"/>
                  <a:gd name="connsiteX346" fmla="*/ 202824 w 1086411"/>
                  <a:gd name="connsiteY346" fmla="*/ 130690 h 1210599"/>
                  <a:gd name="connsiteX347" fmla="*/ 218311 w 1086411"/>
                  <a:gd name="connsiteY347" fmla="*/ 113419 h 1210599"/>
                  <a:gd name="connsiteX348" fmla="*/ 224948 w 1086411"/>
                  <a:gd name="connsiteY348" fmla="*/ 84813 h 1210599"/>
                  <a:gd name="connsiteX349" fmla="*/ 236010 w 1086411"/>
                  <a:gd name="connsiteY349" fmla="*/ 84813 h 1210599"/>
                  <a:gd name="connsiteX350" fmla="*/ 242094 w 1086411"/>
                  <a:gd name="connsiteY350" fmla="*/ 105323 h 1210599"/>
                  <a:gd name="connsiteX351" fmla="*/ 254815 w 1086411"/>
                  <a:gd name="connsiteY351" fmla="*/ 107482 h 1210599"/>
                  <a:gd name="connsiteX352" fmla="*/ 263111 w 1086411"/>
                  <a:gd name="connsiteY352" fmla="*/ 100465 h 1210599"/>
                  <a:gd name="connsiteX353" fmla="*/ 280810 w 1086411"/>
                  <a:gd name="connsiteY353" fmla="*/ 96687 h 1210599"/>
                  <a:gd name="connsiteX354" fmla="*/ 288554 w 1086411"/>
                  <a:gd name="connsiteY354" fmla="*/ 110720 h 1210599"/>
                  <a:gd name="connsiteX355" fmla="*/ 292425 w 1086411"/>
                  <a:gd name="connsiteY355" fmla="*/ 112879 h 1210599"/>
                  <a:gd name="connsiteX356" fmla="*/ 296297 w 1086411"/>
                  <a:gd name="connsiteY356" fmla="*/ 109641 h 1210599"/>
                  <a:gd name="connsiteX357" fmla="*/ 297403 w 1086411"/>
                  <a:gd name="connsiteY357" fmla="*/ 104243 h 1210599"/>
                  <a:gd name="connsiteX358" fmla="*/ 293531 w 1086411"/>
                  <a:gd name="connsiteY358" fmla="*/ 98846 h 1210599"/>
                  <a:gd name="connsiteX359" fmla="*/ 291872 w 1086411"/>
                  <a:gd name="connsiteY359" fmla="*/ 89131 h 1210599"/>
                  <a:gd name="connsiteX360" fmla="*/ 285788 w 1086411"/>
                  <a:gd name="connsiteY360" fmla="*/ 83734 h 1210599"/>
                  <a:gd name="connsiteX361" fmla="*/ 290766 w 1086411"/>
                  <a:gd name="connsiteY361" fmla="*/ 69161 h 1210599"/>
                  <a:gd name="connsiteX362" fmla="*/ 300168 w 1086411"/>
                  <a:gd name="connsiteY362" fmla="*/ 65383 h 1210599"/>
                  <a:gd name="connsiteX363" fmla="*/ 305146 w 1086411"/>
                  <a:gd name="connsiteY363" fmla="*/ 74019 h 1210599"/>
                  <a:gd name="connsiteX364" fmla="*/ 310677 w 1086411"/>
                  <a:gd name="connsiteY364" fmla="*/ 74559 h 1210599"/>
                  <a:gd name="connsiteX365" fmla="*/ 316761 w 1086411"/>
                  <a:gd name="connsiteY365" fmla="*/ 72939 h 1210599"/>
                  <a:gd name="connsiteX366" fmla="*/ 320633 w 1086411"/>
                  <a:gd name="connsiteY366" fmla="*/ 61065 h 1210599"/>
                  <a:gd name="connsiteX367" fmla="*/ 313443 w 1086411"/>
                  <a:gd name="connsiteY367" fmla="*/ 54049 h 1210599"/>
                  <a:gd name="connsiteX368" fmla="*/ 320633 w 1086411"/>
                  <a:gd name="connsiteY368" fmla="*/ 34619 h 1210599"/>
                  <a:gd name="connsiteX369" fmla="*/ 338885 w 1086411"/>
                  <a:gd name="connsiteY369" fmla="*/ 36778 h 1210599"/>
                  <a:gd name="connsiteX370" fmla="*/ 339438 w 1086411"/>
                  <a:gd name="connsiteY370" fmla="*/ 45414 h 1210599"/>
                  <a:gd name="connsiteX371" fmla="*/ 350500 w 1086411"/>
                  <a:gd name="connsiteY371" fmla="*/ 47033 h 1210599"/>
                  <a:gd name="connsiteX372" fmla="*/ 363774 w 1086411"/>
                  <a:gd name="connsiteY372" fmla="*/ 40016 h 1210599"/>
                  <a:gd name="connsiteX373" fmla="*/ 368199 w 1086411"/>
                  <a:gd name="connsiteY373" fmla="*/ 29222 h 1210599"/>
                  <a:gd name="connsiteX374" fmla="*/ 382579 w 1086411"/>
                  <a:gd name="connsiteY374" fmla="*/ 18427 h 1210599"/>
                  <a:gd name="connsiteX375" fmla="*/ 396960 w 1086411"/>
                  <a:gd name="connsiteY375" fmla="*/ 18967 h 1210599"/>
                  <a:gd name="connsiteX376" fmla="*/ 408574 w 1086411"/>
                  <a:gd name="connsiteY376" fmla="*/ 14110 h 1210599"/>
                  <a:gd name="connsiteX377" fmla="*/ 421849 w 1086411"/>
                  <a:gd name="connsiteY377" fmla="*/ 17888 h 1210599"/>
                  <a:gd name="connsiteX378" fmla="*/ 456693 w 1086411"/>
                  <a:gd name="connsiteY378" fmla="*/ -463 h 121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1086411" h="1210599">
                    <a:moveTo>
                      <a:pt x="813991" y="1210136"/>
                    </a:moveTo>
                    <a:cubicBezTo>
                      <a:pt x="810119" y="1210136"/>
                      <a:pt x="804588" y="1205819"/>
                      <a:pt x="799611" y="1205819"/>
                    </a:cubicBezTo>
                    <a:cubicBezTo>
                      <a:pt x="794080" y="1205819"/>
                      <a:pt x="789102" y="1208517"/>
                      <a:pt x="783571" y="1209057"/>
                    </a:cubicBezTo>
                    <a:cubicBezTo>
                      <a:pt x="778040" y="1209597"/>
                      <a:pt x="766425" y="1209597"/>
                      <a:pt x="761447" y="1206898"/>
                    </a:cubicBezTo>
                    <a:cubicBezTo>
                      <a:pt x="748726" y="1199342"/>
                      <a:pt x="741536" y="1177753"/>
                      <a:pt x="732133" y="1173435"/>
                    </a:cubicBezTo>
                    <a:cubicBezTo>
                      <a:pt x="728815" y="1171816"/>
                      <a:pt x="714987" y="1168038"/>
                      <a:pt x="711116" y="1167498"/>
                    </a:cubicBezTo>
                    <a:cubicBezTo>
                      <a:pt x="702819" y="1166419"/>
                      <a:pt x="699501" y="1170197"/>
                      <a:pt x="687886" y="1165879"/>
                    </a:cubicBezTo>
                    <a:cubicBezTo>
                      <a:pt x="686780" y="1165339"/>
                      <a:pt x="686227" y="1164260"/>
                      <a:pt x="685121" y="1163720"/>
                    </a:cubicBezTo>
                    <a:cubicBezTo>
                      <a:pt x="680696" y="1161561"/>
                      <a:pt x="675165" y="1161022"/>
                      <a:pt x="671293" y="1158323"/>
                    </a:cubicBezTo>
                    <a:cubicBezTo>
                      <a:pt x="669081" y="1157244"/>
                      <a:pt x="667422" y="1155085"/>
                      <a:pt x="665209" y="1153465"/>
                    </a:cubicBezTo>
                    <a:cubicBezTo>
                      <a:pt x="660231" y="1150767"/>
                      <a:pt x="654700" y="1149148"/>
                      <a:pt x="649723" y="1146449"/>
                    </a:cubicBezTo>
                    <a:cubicBezTo>
                      <a:pt x="641426" y="1142131"/>
                      <a:pt x="634236" y="1136194"/>
                      <a:pt x="625940" y="1131877"/>
                    </a:cubicBezTo>
                    <a:cubicBezTo>
                      <a:pt x="621515" y="1129718"/>
                      <a:pt x="615984" y="1129718"/>
                      <a:pt x="611006" y="1127559"/>
                    </a:cubicBezTo>
                    <a:cubicBezTo>
                      <a:pt x="607135" y="1125940"/>
                      <a:pt x="603816" y="1122701"/>
                      <a:pt x="599391" y="1121082"/>
                    </a:cubicBezTo>
                    <a:cubicBezTo>
                      <a:pt x="588329" y="1116764"/>
                      <a:pt x="576714" y="1122701"/>
                      <a:pt x="566206" y="1117844"/>
                    </a:cubicBezTo>
                    <a:cubicBezTo>
                      <a:pt x="565100" y="1117304"/>
                      <a:pt x="563440" y="1114605"/>
                      <a:pt x="561781" y="1113526"/>
                    </a:cubicBezTo>
                    <a:cubicBezTo>
                      <a:pt x="560675" y="1112447"/>
                      <a:pt x="558462" y="1111907"/>
                      <a:pt x="557356" y="1110288"/>
                    </a:cubicBezTo>
                    <a:cubicBezTo>
                      <a:pt x="555144" y="1108129"/>
                      <a:pt x="550166" y="1100573"/>
                      <a:pt x="550719" y="1097334"/>
                    </a:cubicBezTo>
                    <a:cubicBezTo>
                      <a:pt x="550719" y="1089238"/>
                      <a:pt x="554591" y="1071428"/>
                      <a:pt x="559016" y="1064411"/>
                    </a:cubicBezTo>
                    <a:cubicBezTo>
                      <a:pt x="560675" y="1062252"/>
                      <a:pt x="565100" y="1058474"/>
                      <a:pt x="567312" y="1056855"/>
                    </a:cubicBezTo>
                    <a:cubicBezTo>
                      <a:pt x="568971" y="1055776"/>
                      <a:pt x="572843" y="1053617"/>
                      <a:pt x="574502" y="1053617"/>
                    </a:cubicBezTo>
                    <a:cubicBezTo>
                      <a:pt x="582245" y="1053077"/>
                      <a:pt x="581692" y="1061173"/>
                      <a:pt x="585011" y="1063332"/>
                    </a:cubicBezTo>
                    <a:cubicBezTo>
                      <a:pt x="586670" y="1064411"/>
                      <a:pt x="594413" y="1064951"/>
                      <a:pt x="596626" y="1064951"/>
                    </a:cubicBezTo>
                    <a:cubicBezTo>
                      <a:pt x="603263" y="1063332"/>
                      <a:pt x="602157" y="1054696"/>
                      <a:pt x="605475" y="1050378"/>
                    </a:cubicBezTo>
                    <a:cubicBezTo>
                      <a:pt x="607688" y="1048219"/>
                      <a:pt x="607135" y="1049299"/>
                      <a:pt x="609900" y="1048219"/>
                    </a:cubicBezTo>
                    <a:cubicBezTo>
                      <a:pt x="613219" y="1047140"/>
                      <a:pt x="617090" y="1043362"/>
                      <a:pt x="620962" y="1042822"/>
                    </a:cubicBezTo>
                    <a:cubicBezTo>
                      <a:pt x="623174" y="1042282"/>
                      <a:pt x="630364" y="1043362"/>
                      <a:pt x="632577" y="1044441"/>
                    </a:cubicBezTo>
                    <a:cubicBezTo>
                      <a:pt x="635895" y="1046061"/>
                      <a:pt x="638108" y="1049299"/>
                      <a:pt x="640873" y="1050918"/>
                    </a:cubicBezTo>
                    <a:cubicBezTo>
                      <a:pt x="643639" y="1053077"/>
                      <a:pt x="646957" y="1053617"/>
                      <a:pt x="649723" y="1055236"/>
                    </a:cubicBezTo>
                    <a:cubicBezTo>
                      <a:pt x="650276" y="1055776"/>
                      <a:pt x="650829" y="1056855"/>
                      <a:pt x="651382" y="1057934"/>
                    </a:cubicBezTo>
                    <a:cubicBezTo>
                      <a:pt x="654700" y="1061173"/>
                      <a:pt x="662997" y="1066570"/>
                      <a:pt x="667975" y="1066570"/>
                    </a:cubicBezTo>
                    <a:cubicBezTo>
                      <a:pt x="679590" y="1067649"/>
                      <a:pt x="687333" y="1059014"/>
                      <a:pt x="697289" y="1056315"/>
                    </a:cubicBezTo>
                    <a:cubicBezTo>
                      <a:pt x="702819" y="1054696"/>
                      <a:pt x="713881" y="1057934"/>
                      <a:pt x="719412" y="1057395"/>
                    </a:cubicBezTo>
                    <a:cubicBezTo>
                      <a:pt x="727156" y="1056855"/>
                      <a:pt x="736558" y="1055236"/>
                      <a:pt x="743748" y="1052537"/>
                    </a:cubicBezTo>
                    <a:cubicBezTo>
                      <a:pt x="756469" y="1048759"/>
                      <a:pt x="761447" y="1036885"/>
                      <a:pt x="774721" y="1034187"/>
                    </a:cubicBezTo>
                    <a:cubicBezTo>
                      <a:pt x="781912" y="1032567"/>
                      <a:pt x="793527" y="1037425"/>
                      <a:pt x="797951" y="1036885"/>
                    </a:cubicBezTo>
                    <a:cubicBezTo>
                      <a:pt x="802376" y="1035806"/>
                      <a:pt x="810672" y="1025551"/>
                      <a:pt x="811225" y="1025551"/>
                    </a:cubicBezTo>
                    <a:cubicBezTo>
                      <a:pt x="812885" y="1024472"/>
                      <a:pt x="817863" y="1026091"/>
                      <a:pt x="820075" y="1025551"/>
                    </a:cubicBezTo>
                    <a:cubicBezTo>
                      <a:pt x="826159" y="1023392"/>
                      <a:pt x="831137" y="1017995"/>
                      <a:pt x="836668" y="1015296"/>
                    </a:cubicBezTo>
                    <a:cubicBezTo>
                      <a:pt x="837774" y="1014757"/>
                      <a:pt x="842199" y="1013677"/>
                      <a:pt x="843305" y="1014217"/>
                    </a:cubicBezTo>
                    <a:cubicBezTo>
                      <a:pt x="843858" y="1014757"/>
                      <a:pt x="843858" y="1016376"/>
                      <a:pt x="843858" y="1017455"/>
                    </a:cubicBezTo>
                    <a:cubicBezTo>
                      <a:pt x="842199" y="1024472"/>
                      <a:pt x="832796" y="1044981"/>
                      <a:pt x="828924" y="1052537"/>
                    </a:cubicBezTo>
                    <a:cubicBezTo>
                      <a:pt x="826712" y="1057395"/>
                      <a:pt x="823394" y="1061713"/>
                      <a:pt x="820628" y="1066030"/>
                    </a:cubicBezTo>
                    <a:cubicBezTo>
                      <a:pt x="813991" y="1080063"/>
                      <a:pt x="809013" y="1104351"/>
                      <a:pt x="806248" y="1119463"/>
                    </a:cubicBezTo>
                    <a:cubicBezTo>
                      <a:pt x="804035" y="1131877"/>
                      <a:pt x="815650" y="1131877"/>
                      <a:pt x="819522" y="1139433"/>
                    </a:cubicBezTo>
                    <a:cubicBezTo>
                      <a:pt x="820628" y="1141592"/>
                      <a:pt x="819522" y="1148068"/>
                      <a:pt x="820628" y="1150767"/>
                    </a:cubicBezTo>
                    <a:cubicBezTo>
                      <a:pt x="822287" y="1155085"/>
                      <a:pt x="830584" y="1164260"/>
                      <a:pt x="831137" y="1166959"/>
                    </a:cubicBezTo>
                    <a:cubicBezTo>
                      <a:pt x="832243" y="1170197"/>
                      <a:pt x="822287" y="1180452"/>
                      <a:pt x="821181" y="1183690"/>
                    </a:cubicBezTo>
                    <a:cubicBezTo>
                      <a:pt x="817863" y="1191246"/>
                      <a:pt x="817310" y="1204199"/>
                      <a:pt x="813991" y="1210136"/>
                    </a:cubicBezTo>
                    <a:close/>
                    <a:moveTo>
                      <a:pt x="141431" y="737879"/>
                    </a:moveTo>
                    <a:cubicBezTo>
                      <a:pt x="148068" y="733561"/>
                      <a:pt x="153599" y="751372"/>
                      <a:pt x="161895" y="749752"/>
                    </a:cubicBezTo>
                    <a:cubicBezTo>
                      <a:pt x="165767" y="749213"/>
                      <a:pt x="176276" y="741657"/>
                      <a:pt x="181254" y="739498"/>
                    </a:cubicBezTo>
                    <a:cubicBezTo>
                      <a:pt x="183466" y="738418"/>
                      <a:pt x="187891" y="738958"/>
                      <a:pt x="190103" y="737879"/>
                    </a:cubicBezTo>
                    <a:cubicBezTo>
                      <a:pt x="197293" y="733021"/>
                      <a:pt x="202824" y="724385"/>
                      <a:pt x="210014" y="718988"/>
                    </a:cubicBezTo>
                    <a:cubicBezTo>
                      <a:pt x="212780" y="716829"/>
                      <a:pt x="217758" y="715750"/>
                      <a:pt x="219970" y="713591"/>
                    </a:cubicBezTo>
                    <a:cubicBezTo>
                      <a:pt x="223289" y="710353"/>
                      <a:pt x="222736" y="702257"/>
                      <a:pt x="229926" y="701717"/>
                    </a:cubicBezTo>
                    <a:cubicBezTo>
                      <a:pt x="232138" y="701717"/>
                      <a:pt x="242094" y="703876"/>
                      <a:pt x="243753" y="704955"/>
                    </a:cubicBezTo>
                    <a:cubicBezTo>
                      <a:pt x="245965" y="706575"/>
                      <a:pt x="247072" y="711432"/>
                      <a:pt x="248731" y="712512"/>
                    </a:cubicBezTo>
                    <a:cubicBezTo>
                      <a:pt x="250943" y="713591"/>
                      <a:pt x="256474" y="713591"/>
                      <a:pt x="258133" y="715210"/>
                    </a:cubicBezTo>
                    <a:cubicBezTo>
                      <a:pt x="260346" y="717909"/>
                      <a:pt x="262005" y="729783"/>
                      <a:pt x="264771" y="734100"/>
                    </a:cubicBezTo>
                    <a:cubicBezTo>
                      <a:pt x="266430" y="737339"/>
                      <a:pt x="275832" y="744895"/>
                      <a:pt x="276385" y="746514"/>
                    </a:cubicBezTo>
                    <a:cubicBezTo>
                      <a:pt x="276939" y="747594"/>
                      <a:pt x="276385" y="748673"/>
                      <a:pt x="276385" y="749752"/>
                    </a:cubicBezTo>
                    <a:cubicBezTo>
                      <a:pt x="276385" y="755150"/>
                      <a:pt x="277492" y="761626"/>
                      <a:pt x="278598" y="767024"/>
                    </a:cubicBezTo>
                    <a:cubicBezTo>
                      <a:pt x="279704" y="771341"/>
                      <a:pt x="283023" y="776199"/>
                      <a:pt x="283576" y="781056"/>
                    </a:cubicBezTo>
                    <a:cubicBezTo>
                      <a:pt x="288000" y="804804"/>
                      <a:pt x="270301" y="809662"/>
                      <a:pt x="271961" y="822075"/>
                    </a:cubicBezTo>
                    <a:cubicBezTo>
                      <a:pt x="272514" y="824774"/>
                      <a:pt x="276385" y="835029"/>
                      <a:pt x="278045" y="837188"/>
                    </a:cubicBezTo>
                    <a:cubicBezTo>
                      <a:pt x="279704" y="839886"/>
                      <a:pt x="285235" y="842045"/>
                      <a:pt x="285235" y="847442"/>
                    </a:cubicBezTo>
                    <a:cubicBezTo>
                      <a:pt x="284682" y="859856"/>
                      <a:pt x="280257" y="874429"/>
                      <a:pt x="278598" y="886842"/>
                    </a:cubicBezTo>
                    <a:cubicBezTo>
                      <a:pt x="275832" y="904653"/>
                      <a:pt x="275279" y="923004"/>
                      <a:pt x="271961" y="940814"/>
                    </a:cubicBezTo>
                    <a:cubicBezTo>
                      <a:pt x="271408" y="945672"/>
                      <a:pt x="266983" y="953228"/>
                      <a:pt x="261452" y="953768"/>
                    </a:cubicBezTo>
                    <a:cubicBezTo>
                      <a:pt x="259240" y="953768"/>
                      <a:pt x="253156" y="951069"/>
                      <a:pt x="251496" y="949990"/>
                    </a:cubicBezTo>
                    <a:lnTo>
                      <a:pt x="250390" y="947291"/>
                    </a:lnTo>
                    <a:cubicBezTo>
                      <a:pt x="249837" y="946212"/>
                      <a:pt x="243753" y="939735"/>
                      <a:pt x="242094" y="939195"/>
                    </a:cubicBezTo>
                    <a:cubicBezTo>
                      <a:pt x="239328" y="938656"/>
                      <a:pt x="232138" y="940275"/>
                      <a:pt x="228820" y="940275"/>
                    </a:cubicBezTo>
                    <a:cubicBezTo>
                      <a:pt x="225501" y="939735"/>
                      <a:pt x="222182" y="938656"/>
                      <a:pt x="217205" y="938656"/>
                    </a:cubicBezTo>
                    <a:cubicBezTo>
                      <a:pt x="213886" y="945132"/>
                      <a:pt x="219417" y="948371"/>
                      <a:pt x="221076" y="954308"/>
                    </a:cubicBezTo>
                    <a:cubicBezTo>
                      <a:pt x="222736" y="958625"/>
                      <a:pt x="217758" y="979135"/>
                      <a:pt x="212780" y="980214"/>
                    </a:cubicBezTo>
                    <a:cubicBezTo>
                      <a:pt x="207249" y="980754"/>
                      <a:pt x="200612" y="976436"/>
                      <a:pt x="195634" y="976976"/>
                    </a:cubicBezTo>
                    <a:cubicBezTo>
                      <a:pt x="191762" y="976976"/>
                      <a:pt x="185678" y="982913"/>
                      <a:pt x="182913" y="980754"/>
                    </a:cubicBezTo>
                    <a:cubicBezTo>
                      <a:pt x="177382" y="976976"/>
                      <a:pt x="179041" y="961324"/>
                      <a:pt x="171851" y="958086"/>
                    </a:cubicBezTo>
                    <a:lnTo>
                      <a:pt x="169639" y="958625"/>
                    </a:lnTo>
                    <a:cubicBezTo>
                      <a:pt x="167426" y="961324"/>
                      <a:pt x="167979" y="965642"/>
                      <a:pt x="164108" y="967801"/>
                    </a:cubicBezTo>
                    <a:cubicBezTo>
                      <a:pt x="159130" y="967261"/>
                      <a:pt x="155811" y="963483"/>
                      <a:pt x="155811" y="958625"/>
                    </a:cubicBezTo>
                    <a:cubicBezTo>
                      <a:pt x="155811" y="950530"/>
                      <a:pt x="160789" y="952688"/>
                      <a:pt x="161895" y="947831"/>
                    </a:cubicBezTo>
                    <a:cubicBezTo>
                      <a:pt x="161895" y="947291"/>
                      <a:pt x="159683" y="933798"/>
                      <a:pt x="159683" y="931099"/>
                    </a:cubicBezTo>
                    <a:cubicBezTo>
                      <a:pt x="159683" y="915987"/>
                      <a:pt x="159683" y="900335"/>
                      <a:pt x="161342" y="885763"/>
                    </a:cubicBezTo>
                    <a:cubicBezTo>
                      <a:pt x="161895" y="881445"/>
                      <a:pt x="163555" y="878207"/>
                      <a:pt x="167979" y="878207"/>
                    </a:cubicBezTo>
                    <a:cubicBezTo>
                      <a:pt x="169639" y="874968"/>
                      <a:pt x="170745" y="865793"/>
                      <a:pt x="170745" y="864174"/>
                    </a:cubicBezTo>
                    <a:cubicBezTo>
                      <a:pt x="169639" y="859316"/>
                      <a:pt x="159683" y="857697"/>
                      <a:pt x="158577" y="854459"/>
                    </a:cubicBezTo>
                    <a:cubicBezTo>
                      <a:pt x="157471" y="851760"/>
                      <a:pt x="171851" y="838267"/>
                      <a:pt x="161895" y="816678"/>
                    </a:cubicBezTo>
                    <a:cubicBezTo>
                      <a:pt x="160789" y="813980"/>
                      <a:pt x="158577" y="811821"/>
                      <a:pt x="156918" y="809122"/>
                    </a:cubicBezTo>
                    <a:cubicBezTo>
                      <a:pt x="152493" y="800486"/>
                      <a:pt x="150281" y="790232"/>
                      <a:pt x="144750" y="782136"/>
                    </a:cubicBezTo>
                    <a:cubicBezTo>
                      <a:pt x="141984" y="777818"/>
                      <a:pt x="135347" y="775659"/>
                      <a:pt x="132028" y="771341"/>
                    </a:cubicBezTo>
                    <a:cubicBezTo>
                      <a:pt x="131475" y="770262"/>
                      <a:pt x="130922" y="768643"/>
                      <a:pt x="131475" y="767563"/>
                    </a:cubicBezTo>
                    <a:cubicBezTo>
                      <a:pt x="131475" y="765944"/>
                      <a:pt x="135900" y="756769"/>
                      <a:pt x="137559" y="755150"/>
                    </a:cubicBezTo>
                    <a:cubicBezTo>
                      <a:pt x="138666" y="752991"/>
                      <a:pt x="140878" y="751372"/>
                      <a:pt x="141984" y="749752"/>
                    </a:cubicBezTo>
                    <a:cubicBezTo>
                      <a:pt x="144750" y="744355"/>
                      <a:pt x="138666" y="742196"/>
                      <a:pt x="141431" y="737879"/>
                    </a:cubicBezTo>
                    <a:close/>
                    <a:moveTo>
                      <a:pt x="500388" y="371406"/>
                    </a:moveTo>
                    <a:lnTo>
                      <a:pt x="502047" y="377883"/>
                    </a:lnTo>
                    <a:lnTo>
                      <a:pt x="508684" y="379502"/>
                    </a:lnTo>
                    <a:lnTo>
                      <a:pt x="511450" y="374105"/>
                    </a:lnTo>
                    <a:lnTo>
                      <a:pt x="510343" y="366549"/>
                    </a:lnTo>
                    <a:lnTo>
                      <a:pt x="500388" y="371406"/>
                    </a:lnTo>
                    <a:close/>
                    <a:moveTo>
                      <a:pt x="456693" y="-463"/>
                    </a:moveTo>
                    <a:lnTo>
                      <a:pt x="455587" y="15189"/>
                    </a:lnTo>
                    <a:lnTo>
                      <a:pt x="470521" y="36778"/>
                    </a:lnTo>
                    <a:lnTo>
                      <a:pt x="485454" y="46493"/>
                    </a:lnTo>
                    <a:lnTo>
                      <a:pt x="508684" y="50271"/>
                    </a:lnTo>
                    <a:lnTo>
                      <a:pt x="591095" y="60526"/>
                    </a:lnTo>
                    <a:lnTo>
                      <a:pt x="563440" y="90750"/>
                    </a:lnTo>
                    <a:lnTo>
                      <a:pt x="567312" y="99386"/>
                    </a:lnTo>
                    <a:lnTo>
                      <a:pt x="580033" y="100465"/>
                    </a:lnTo>
                    <a:lnTo>
                      <a:pt x="589989" y="105863"/>
                    </a:lnTo>
                    <a:lnTo>
                      <a:pt x="577268" y="118276"/>
                    </a:lnTo>
                    <a:lnTo>
                      <a:pt x="575608" y="126372"/>
                    </a:lnTo>
                    <a:lnTo>
                      <a:pt x="588883" y="131769"/>
                    </a:lnTo>
                    <a:lnTo>
                      <a:pt x="595520" y="141484"/>
                    </a:lnTo>
                    <a:lnTo>
                      <a:pt x="605475" y="146882"/>
                    </a:lnTo>
                    <a:lnTo>
                      <a:pt x="617643" y="161454"/>
                    </a:lnTo>
                    <a:lnTo>
                      <a:pt x="611559" y="167391"/>
                    </a:lnTo>
                    <a:lnTo>
                      <a:pt x="605475" y="166312"/>
                    </a:lnTo>
                    <a:cubicBezTo>
                      <a:pt x="605475" y="164153"/>
                      <a:pt x="604369" y="157136"/>
                      <a:pt x="603263" y="154977"/>
                    </a:cubicBezTo>
                    <a:cubicBezTo>
                      <a:pt x="602710" y="153898"/>
                      <a:pt x="598285" y="152818"/>
                      <a:pt x="597179" y="152279"/>
                    </a:cubicBezTo>
                    <a:cubicBezTo>
                      <a:pt x="593860" y="150660"/>
                      <a:pt x="587223" y="144183"/>
                      <a:pt x="583905" y="147961"/>
                    </a:cubicBezTo>
                    <a:cubicBezTo>
                      <a:pt x="580586" y="151739"/>
                      <a:pt x="581139" y="160375"/>
                      <a:pt x="571737" y="157676"/>
                    </a:cubicBezTo>
                    <a:cubicBezTo>
                      <a:pt x="571184" y="156057"/>
                      <a:pt x="572290" y="151739"/>
                      <a:pt x="568418" y="151199"/>
                    </a:cubicBezTo>
                    <a:cubicBezTo>
                      <a:pt x="566759" y="150660"/>
                      <a:pt x="561228" y="151739"/>
                      <a:pt x="559016" y="151739"/>
                    </a:cubicBezTo>
                    <a:cubicBezTo>
                      <a:pt x="556250" y="152279"/>
                      <a:pt x="553485" y="151739"/>
                      <a:pt x="550719" y="151739"/>
                    </a:cubicBezTo>
                    <a:cubicBezTo>
                      <a:pt x="550166" y="151739"/>
                      <a:pt x="548507" y="152279"/>
                      <a:pt x="547954" y="152818"/>
                    </a:cubicBezTo>
                    <a:cubicBezTo>
                      <a:pt x="547401" y="153898"/>
                      <a:pt x="546294" y="157676"/>
                      <a:pt x="546294" y="159295"/>
                    </a:cubicBezTo>
                    <a:cubicBezTo>
                      <a:pt x="546294" y="160375"/>
                      <a:pt x="545741" y="163073"/>
                      <a:pt x="544635" y="163613"/>
                    </a:cubicBezTo>
                    <a:cubicBezTo>
                      <a:pt x="539657" y="167391"/>
                      <a:pt x="530808" y="168470"/>
                      <a:pt x="525277" y="171709"/>
                    </a:cubicBezTo>
                    <a:cubicBezTo>
                      <a:pt x="524171" y="172248"/>
                      <a:pt x="523065" y="174407"/>
                      <a:pt x="521958" y="175487"/>
                    </a:cubicBezTo>
                    <a:cubicBezTo>
                      <a:pt x="519746" y="177106"/>
                      <a:pt x="516981" y="178725"/>
                      <a:pt x="515321" y="180344"/>
                    </a:cubicBezTo>
                    <a:cubicBezTo>
                      <a:pt x="510343" y="184662"/>
                      <a:pt x="502600" y="195996"/>
                      <a:pt x="495963" y="195996"/>
                    </a:cubicBezTo>
                    <a:lnTo>
                      <a:pt x="493751" y="194377"/>
                    </a:lnTo>
                    <a:cubicBezTo>
                      <a:pt x="493751" y="188980"/>
                      <a:pt x="502600" y="182503"/>
                      <a:pt x="500941" y="178725"/>
                    </a:cubicBezTo>
                    <a:cubicBezTo>
                      <a:pt x="499835" y="176566"/>
                      <a:pt x="495963" y="176566"/>
                      <a:pt x="494304" y="177646"/>
                    </a:cubicBezTo>
                    <a:cubicBezTo>
                      <a:pt x="492091" y="179265"/>
                      <a:pt x="491538" y="181964"/>
                      <a:pt x="489879" y="183583"/>
                    </a:cubicBezTo>
                    <a:cubicBezTo>
                      <a:pt x="488220" y="186281"/>
                      <a:pt x="473286" y="200314"/>
                      <a:pt x="472733" y="200854"/>
                    </a:cubicBezTo>
                    <a:cubicBezTo>
                      <a:pt x="472180" y="203552"/>
                      <a:pt x="472180" y="211109"/>
                      <a:pt x="472733" y="213807"/>
                    </a:cubicBezTo>
                    <a:cubicBezTo>
                      <a:pt x="473286" y="214887"/>
                      <a:pt x="486007" y="237555"/>
                      <a:pt x="487114" y="239174"/>
                    </a:cubicBezTo>
                    <a:cubicBezTo>
                      <a:pt x="489326" y="241873"/>
                      <a:pt x="504259" y="253747"/>
                      <a:pt x="504813" y="254826"/>
                    </a:cubicBezTo>
                    <a:cubicBezTo>
                      <a:pt x="506472" y="258604"/>
                      <a:pt x="498728" y="266160"/>
                      <a:pt x="495410" y="266160"/>
                    </a:cubicBezTo>
                    <a:cubicBezTo>
                      <a:pt x="494857" y="266160"/>
                      <a:pt x="492644" y="265081"/>
                      <a:pt x="492091" y="265081"/>
                    </a:cubicBezTo>
                    <a:cubicBezTo>
                      <a:pt x="485454" y="261843"/>
                      <a:pt x="486007" y="261843"/>
                      <a:pt x="483795" y="264001"/>
                    </a:cubicBezTo>
                    <a:cubicBezTo>
                      <a:pt x="481030" y="268319"/>
                      <a:pt x="483242" y="289908"/>
                      <a:pt x="484901" y="298544"/>
                    </a:cubicBezTo>
                    <a:cubicBezTo>
                      <a:pt x="486007" y="308259"/>
                      <a:pt x="488773" y="324450"/>
                      <a:pt x="492091" y="333626"/>
                    </a:cubicBezTo>
                    <a:cubicBezTo>
                      <a:pt x="492091" y="334705"/>
                      <a:pt x="495963" y="339563"/>
                      <a:pt x="497069" y="341182"/>
                    </a:cubicBezTo>
                    <a:cubicBezTo>
                      <a:pt x="498175" y="341722"/>
                      <a:pt x="498728" y="341722"/>
                      <a:pt x="499282" y="342801"/>
                    </a:cubicBezTo>
                    <a:cubicBezTo>
                      <a:pt x="502047" y="345500"/>
                      <a:pt x="502600" y="349278"/>
                      <a:pt x="505366" y="351976"/>
                    </a:cubicBezTo>
                    <a:cubicBezTo>
                      <a:pt x="512556" y="359532"/>
                      <a:pt x="523618" y="364930"/>
                      <a:pt x="533020" y="368168"/>
                    </a:cubicBezTo>
                    <a:cubicBezTo>
                      <a:pt x="556803" y="375184"/>
                      <a:pt x="557356" y="383280"/>
                      <a:pt x="576161" y="394075"/>
                    </a:cubicBezTo>
                    <a:cubicBezTo>
                      <a:pt x="583352" y="398932"/>
                      <a:pt x="593307" y="400551"/>
                      <a:pt x="600497" y="404869"/>
                    </a:cubicBezTo>
                    <a:cubicBezTo>
                      <a:pt x="604369" y="407568"/>
                      <a:pt x="613772" y="416203"/>
                      <a:pt x="617090" y="419981"/>
                    </a:cubicBezTo>
                    <a:cubicBezTo>
                      <a:pt x="620962" y="424299"/>
                      <a:pt x="628152" y="444809"/>
                      <a:pt x="629811" y="450746"/>
                    </a:cubicBezTo>
                    <a:cubicBezTo>
                      <a:pt x="631471" y="456143"/>
                      <a:pt x="632024" y="461540"/>
                      <a:pt x="633683" y="466937"/>
                    </a:cubicBezTo>
                    <a:cubicBezTo>
                      <a:pt x="635895" y="471255"/>
                      <a:pt x="638661" y="476113"/>
                      <a:pt x="640873" y="480431"/>
                    </a:cubicBezTo>
                    <a:cubicBezTo>
                      <a:pt x="642532" y="485288"/>
                      <a:pt x="643639" y="491225"/>
                      <a:pt x="646404" y="495543"/>
                    </a:cubicBezTo>
                    <a:cubicBezTo>
                      <a:pt x="647510" y="497162"/>
                      <a:pt x="649170" y="498781"/>
                      <a:pt x="650276" y="500400"/>
                    </a:cubicBezTo>
                    <a:cubicBezTo>
                      <a:pt x="653041" y="505797"/>
                      <a:pt x="653041" y="512274"/>
                      <a:pt x="655807" y="517132"/>
                    </a:cubicBezTo>
                    <a:cubicBezTo>
                      <a:pt x="660231" y="525228"/>
                      <a:pt x="669081" y="530625"/>
                      <a:pt x="675718" y="536562"/>
                    </a:cubicBezTo>
                    <a:cubicBezTo>
                      <a:pt x="678483" y="538721"/>
                      <a:pt x="680696" y="541959"/>
                      <a:pt x="683461" y="544118"/>
                    </a:cubicBezTo>
                    <a:cubicBezTo>
                      <a:pt x="687333" y="546277"/>
                      <a:pt x="691758" y="547356"/>
                      <a:pt x="695076" y="549515"/>
                    </a:cubicBezTo>
                    <a:cubicBezTo>
                      <a:pt x="697842" y="551134"/>
                      <a:pt x="704479" y="557611"/>
                      <a:pt x="705585" y="558151"/>
                    </a:cubicBezTo>
                    <a:cubicBezTo>
                      <a:pt x="718859" y="564088"/>
                      <a:pt x="721071" y="559770"/>
                      <a:pt x="728262" y="574882"/>
                    </a:cubicBezTo>
                    <a:cubicBezTo>
                      <a:pt x="736005" y="579200"/>
                      <a:pt x="748726" y="585677"/>
                      <a:pt x="756469" y="586216"/>
                    </a:cubicBezTo>
                    <a:cubicBezTo>
                      <a:pt x="762000" y="587835"/>
                      <a:pt x="767531" y="588915"/>
                      <a:pt x="773615" y="589455"/>
                    </a:cubicBezTo>
                    <a:cubicBezTo>
                      <a:pt x="784677" y="589455"/>
                      <a:pt x="795739" y="587835"/>
                      <a:pt x="806801" y="586216"/>
                    </a:cubicBezTo>
                    <a:cubicBezTo>
                      <a:pt x="815650" y="585137"/>
                      <a:pt x="823947" y="581359"/>
                      <a:pt x="832796" y="580819"/>
                    </a:cubicBezTo>
                    <a:cubicBezTo>
                      <a:pt x="836115" y="580819"/>
                      <a:pt x="850495" y="582438"/>
                      <a:pt x="852154" y="584597"/>
                    </a:cubicBezTo>
                    <a:cubicBezTo>
                      <a:pt x="853814" y="586216"/>
                      <a:pt x="854367" y="589994"/>
                      <a:pt x="854367" y="592153"/>
                    </a:cubicBezTo>
                    <a:cubicBezTo>
                      <a:pt x="853814" y="594852"/>
                      <a:pt x="851048" y="605107"/>
                      <a:pt x="849942" y="607265"/>
                    </a:cubicBezTo>
                    <a:cubicBezTo>
                      <a:pt x="843305" y="614822"/>
                      <a:pt x="821734" y="620759"/>
                      <a:pt x="836668" y="635871"/>
                    </a:cubicBezTo>
                    <a:cubicBezTo>
                      <a:pt x="840539" y="639649"/>
                      <a:pt x="857132" y="649904"/>
                      <a:pt x="861557" y="650983"/>
                    </a:cubicBezTo>
                    <a:cubicBezTo>
                      <a:pt x="891977" y="655841"/>
                      <a:pt x="922950" y="662857"/>
                      <a:pt x="951711" y="674191"/>
                    </a:cubicBezTo>
                    <a:cubicBezTo>
                      <a:pt x="962220" y="678509"/>
                      <a:pt x="965538" y="684446"/>
                      <a:pt x="972728" y="687684"/>
                    </a:cubicBezTo>
                    <a:cubicBezTo>
                      <a:pt x="987109" y="695240"/>
                      <a:pt x="1007020" y="693621"/>
                      <a:pt x="1021400" y="701717"/>
                    </a:cubicBezTo>
                    <a:cubicBezTo>
                      <a:pt x="1024719" y="703876"/>
                      <a:pt x="1025825" y="707654"/>
                      <a:pt x="1029144" y="709813"/>
                    </a:cubicBezTo>
                    <a:cubicBezTo>
                      <a:pt x="1031356" y="711432"/>
                      <a:pt x="1033568" y="711432"/>
                      <a:pt x="1035781" y="713051"/>
                    </a:cubicBezTo>
                    <a:cubicBezTo>
                      <a:pt x="1039099" y="715750"/>
                      <a:pt x="1039653" y="721147"/>
                      <a:pt x="1042971" y="723846"/>
                    </a:cubicBezTo>
                    <a:cubicBezTo>
                      <a:pt x="1045737" y="726005"/>
                      <a:pt x="1051267" y="727084"/>
                      <a:pt x="1054586" y="728703"/>
                    </a:cubicBezTo>
                    <a:cubicBezTo>
                      <a:pt x="1062329" y="732481"/>
                      <a:pt x="1077816" y="745974"/>
                      <a:pt x="1081134" y="754070"/>
                    </a:cubicBezTo>
                    <a:cubicBezTo>
                      <a:pt x="1083347" y="759467"/>
                      <a:pt x="1085006" y="772961"/>
                      <a:pt x="1085559" y="779437"/>
                    </a:cubicBezTo>
                    <a:cubicBezTo>
                      <a:pt x="1085559" y="782676"/>
                      <a:pt x="1086112" y="804264"/>
                      <a:pt x="1085006" y="805344"/>
                    </a:cubicBezTo>
                    <a:cubicBezTo>
                      <a:pt x="1082794" y="808043"/>
                      <a:pt x="1066201" y="803185"/>
                      <a:pt x="1062882" y="801566"/>
                    </a:cubicBezTo>
                    <a:cubicBezTo>
                      <a:pt x="1035228" y="790232"/>
                      <a:pt x="1051267" y="781596"/>
                      <a:pt x="1038546" y="767563"/>
                    </a:cubicBezTo>
                    <a:cubicBezTo>
                      <a:pt x="1036334" y="765404"/>
                      <a:pt x="1030250" y="760007"/>
                      <a:pt x="1027484" y="758388"/>
                    </a:cubicBezTo>
                    <a:cubicBezTo>
                      <a:pt x="1018082" y="753531"/>
                      <a:pt x="1007020" y="756229"/>
                      <a:pt x="997064" y="755689"/>
                    </a:cubicBezTo>
                    <a:cubicBezTo>
                      <a:pt x="992087" y="755150"/>
                      <a:pt x="967751" y="751372"/>
                      <a:pt x="966091" y="747594"/>
                    </a:cubicBezTo>
                    <a:cubicBezTo>
                      <a:pt x="968304" y="745435"/>
                      <a:pt x="976047" y="741117"/>
                      <a:pt x="976600" y="740037"/>
                    </a:cubicBezTo>
                    <a:cubicBezTo>
                      <a:pt x="981578" y="732481"/>
                      <a:pt x="954476" y="735720"/>
                      <a:pt x="951158" y="737339"/>
                    </a:cubicBezTo>
                    <a:cubicBezTo>
                      <a:pt x="945074" y="740037"/>
                      <a:pt x="939543" y="750832"/>
                      <a:pt x="936224" y="756769"/>
                    </a:cubicBezTo>
                    <a:cubicBezTo>
                      <a:pt x="932906" y="762166"/>
                      <a:pt x="921844" y="779437"/>
                      <a:pt x="919632" y="785374"/>
                    </a:cubicBezTo>
                    <a:cubicBezTo>
                      <a:pt x="918525" y="790771"/>
                      <a:pt x="921291" y="801566"/>
                      <a:pt x="920738" y="806963"/>
                    </a:cubicBezTo>
                    <a:cubicBezTo>
                      <a:pt x="919632" y="816138"/>
                      <a:pt x="912994" y="818837"/>
                      <a:pt x="911335" y="823155"/>
                    </a:cubicBezTo>
                    <a:cubicBezTo>
                      <a:pt x="908570" y="830171"/>
                      <a:pt x="912441" y="840426"/>
                      <a:pt x="917419" y="845823"/>
                    </a:cubicBezTo>
                    <a:cubicBezTo>
                      <a:pt x="921844" y="846363"/>
                      <a:pt x="934012" y="845283"/>
                      <a:pt x="936777" y="846903"/>
                    </a:cubicBezTo>
                    <a:cubicBezTo>
                      <a:pt x="938990" y="847442"/>
                      <a:pt x="940649" y="852300"/>
                      <a:pt x="942861" y="853919"/>
                    </a:cubicBezTo>
                    <a:cubicBezTo>
                      <a:pt x="950052" y="858237"/>
                      <a:pt x="960007" y="859316"/>
                      <a:pt x="967197" y="863634"/>
                    </a:cubicBezTo>
                    <a:cubicBezTo>
                      <a:pt x="969410" y="864714"/>
                      <a:pt x="971069" y="868492"/>
                      <a:pt x="973835" y="868492"/>
                    </a:cubicBezTo>
                    <a:cubicBezTo>
                      <a:pt x="977706" y="873349"/>
                      <a:pt x="973835" y="879826"/>
                      <a:pt x="974388" y="885763"/>
                    </a:cubicBezTo>
                    <a:cubicBezTo>
                      <a:pt x="974941" y="888461"/>
                      <a:pt x="976600" y="891160"/>
                      <a:pt x="977153" y="894398"/>
                    </a:cubicBezTo>
                    <a:cubicBezTo>
                      <a:pt x="977706" y="898176"/>
                      <a:pt x="977706" y="903574"/>
                      <a:pt x="979365" y="907352"/>
                    </a:cubicBezTo>
                    <a:cubicBezTo>
                      <a:pt x="981578" y="912209"/>
                      <a:pt x="987109" y="911669"/>
                      <a:pt x="984343" y="918686"/>
                    </a:cubicBezTo>
                    <a:cubicBezTo>
                      <a:pt x="977153" y="935957"/>
                      <a:pt x="964432" y="920305"/>
                      <a:pt x="950605" y="928941"/>
                    </a:cubicBezTo>
                    <a:cubicBezTo>
                      <a:pt x="947286" y="930560"/>
                      <a:pt x="937330" y="940814"/>
                      <a:pt x="935118" y="943513"/>
                    </a:cubicBezTo>
                    <a:cubicBezTo>
                      <a:pt x="934012" y="945672"/>
                      <a:pt x="932353" y="951069"/>
                      <a:pt x="931246" y="952149"/>
                    </a:cubicBezTo>
                    <a:cubicBezTo>
                      <a:pt x="930140" y="952688"/>
                      <a:pt x="927375" y="952149"/>
                      <a:pt x="926822" y="953228"/>
                    </a:cubicBezTo>
                    <a:cubicBezTo>
                      <a:pt x="921291" y="960245"/>
                      <a:pt x="934565" y="977516"/>
                      <a:pt x="931246" y="989390"/>
                    </a:cubicBezTo>
                    <a:cubicBezTo>
                      <a:pt x="929034" y="996946"/>
                      <a:pt x="904698" y="1012598"/>
                      <a:pt x="899167" y="1021773"/>
                    </a:cubicBezTo>
                    <a:cubicBezTo>
                      <a:pt x="896402" y="1027170"/>
                      <a:pt x="893636" y="1052537"/>
                      <a:pt x="891424" y="1053617"/>
                    </a:cubicBezTo>
                    <a:cubicBezTo>
                      <a:pt x="890318" y="1054696"/>
                      <a:pt x="877597" y="1056315"/>
                      <a:pt x="875384" y="1056315"/>
                    </a:cubicBezTo>
                    <a:cubicBezTo>
                      <a:pt x="872066" y="1055776"/>
                      <a:pt x="862110" y="1054156"/>
                      <a:pt x="859345" y="1052537"/>
                    </a:cubicBezTo>
                    <a:cubicBezTo>
                      <a:pt x="849389" y="1047140"/>
                      <a:pt x="847730" y="1029869"/>
                      <a:pt x="852154" y="1020694"/>
                    </a:cubicBezTo>
                    <a:cubicBezTo>
                      <a:pt x="856026" y="1019614"/>
                      <a:pt x="862663" y="1013677"/>
                      <a:pt x="864322" y="1009899"/>
                    </a:cubicBezTo>
                    <a:cubicBezTo>
                      <a:pt x="867088" y="1005042"/>
                      <a:pt x="875937" y="981833"/>
                      <a:pt x="872619" y="976976"/>
                    </a:cubicBezTo>
                    <a:cubicBezTo>
                      <a:pt x="871513" y="975357"/>
                      <a:pt x="864875" y="973198"/>
                      <a:pt x="864322" y="971579"/>
                    </a:cubicBezTo>
                    <a:cubicBezTo>
                      <a:pt x="862663" y="968340"/>
                      <a:pt x="873725" y="961324"/>
                      <a:pt x="876490" y="960784"/>
                    </a:cubicBezTo>
                    <a:cubicBezTo>
                      <a:pt x="879809" y="959705"/>
                      <a:pt x="887552" y="961864"/>
                      <a:pt x="890318" y="960245"/>
                    </a:cubicBezTo>
                    <a:cubicBezTo>
                      <a:pt x="894742" y="957546"/>
                      <a:pt x="896402" y="937576"/>
                      <a:pt x="894742" y="932719"/>
                    </a:cubicBezTo>
                    <a:cubicBezTo>
                      <a:pt x="893636" y="930020"/>
                      <a:pt x="887552" y="926782"/>
                      <a:pt x="885893" y="924083"/>
                    </a:cubicBezTo>
                    <a:cubicBezTo>
                      <a:pt x="879256" y="909511"/>
                      <a:pt x="877043" y="893319"/>
                      <a:pt x="870406" y="879286"/>
                    </a:cubicBezTo>
                    <a:cubicBezTo>
                      <a:pt x="865982" y="867952"/>
                      <a:pt x="852707" y="863634"/>
                      <a:pt x="849389" y="852840"/>
                    </a:cubicBezTo>
                    <a:cubicBezTo>
                      <a:pt x="847176" y="846363"/>
                      <a:pt x="848283" y="839347"/>
                      <a:pt x="846070" y="832870"/>
                    </a:cubicBezTo>
                    <a:cubicBezTo>
                      <a:pt x="845517" y="830711"/>
                      <a:pt x="843858" y="829092"/>
                      <a:pt x="843305" y="827473"/>
                    </a:cubicBezTo>
                    <a:cubicBezTo>
                      <a:pt x="841646" y="824234"/>
                      <a:pt x="841092" y="821536"/>
                      <a:pt x="839986" y="818297"/>
                    </a:cubicBezTo>
                    <a:cubicBezTo>
                      <a:pt x="838327" y="813440"/>
                      <a:pt x="833349" y="808043"/>
                      <a:pt x="830031" y="804264"/>
                    </a:cubicBezTo>
                    <a:cubicBezTo>
                      <a:pt x="817310" y="797248"/>
                      <a:pt x="809566" y="812900"/>
                      <a:pt x="805695" y="813980"/>
                    </a:cubicBezTo>
                    <a:cubicBezTo>
                      <a:pt x="803482" y="814519"/>
                      <a:pt x="795186" y="812900"/>
                      <a:pt x="793527" y="811281"/>
                    </a:cubicBezTo>
                    <a:cubicBezTo>
                      <a:pt x="792420" y="810201"/>
                      <a:pt x="793527" y="805344"/>
                      <a:pt x="792420" y="803725"/>
                    </a:cubicBezTo>
                    <a:cubicBezTo>
                      <a:pt x="791314" y="802106"/>
                      <a:pt x="785230" y="798328"/>
                      <a:pt x="783571" y="797248"/>
                    </a:cubicBezTo>
                    <a:cubicBezTo>
                      <a:pt x="778593" y="794549"/>
                      <a:pt x="771956" y="796708"/>
                      <a:pt x="766425" y="794549"/>
                    </a:cubicBezTo>
                    <a:cubicBezTo>
                      <a:pt x="764766" y="794010"/>
                      <a:pt x="759235" y="790232"/>
                      <a:pt x="759235" y="788073"/>
                    </a:cubicBezTo>
                    <a:cubicBezTo>
                      <a:pt x="758129" y="782676"/>
                      <a:pt x="765872" y="773500"/>
                      <a:pt x="762553" y="766484"/>
                    </a:cubicBezTo>
                    <a:cubicBezTo>
                      <a:pt x="760894" y="762706"/>
                      <a:pt x="753704" y="756229"/>
                      <a:pt x="753704" y="752451"/>
                    </a:cubicBezTo>
                    <a:cubicBezTo>
                      <a:pt x="752045" y="750832"/>
                      <a:pt x="749279" y="750292"/>
                      <a:pt x="747620" y="748673"/>
                    </a:cubicBezTo>
                    <a:cubicBezTo>
                      <a:pt x="746514" y="747054"/>
                      <a:pt x="744854" y="742196"/>
                      <a:pt x="743195" y="741117"/>
                    </a:cubicBezTo>
                    <a:cubicBezTo>
                      <a:pt x="736005" y="735720"/>
                      <a:pt x="713328" y="758928"/>
                      <a:pt x="701713" y="756769"/>
                    </a:cubicBezTo>
                    <a:lnTo>
                      <a:pt x="700607" y="755150"/>
                    </a:lnTo>
                    <a:cubicBezTo>
                      <a:pt x="701713" y="745974"/>
                      <a:pt x="707797" y="744355"/>
                      <a:pt x="711116" y="736799"/>
                    </a:cubicBezTo>
                    <a:cubicBezTo>
                      <a:pt x="711669" y="735720"/>
                      <a:pt x="712775" y="732481"/>
                      <a:pt x="711669" y="730862"/>
                    </a:cubicBezTo>
                    <a:cubicBezTo>
                      <a:pt x="710010" y="728164"/>
                      <a:pt x="697289" y="724925"/>
                      <a:pt x="693970" y="725465"/>
                    </a:cubicBezTo>
                    <a:cubicBezTo>
                      <a:pt x="689545" y="726005"/>
                      <a:pt x="686780" y="730862"/>
                      <a:pt x="676824" y="728703"/>
                    </a:cubicBezTo>
                    <a:cubicBezTo>
                      <a:pt x="674612" y="723846"/>
                      <a:pt x="670187" y="721687"/>
                      <a:pt x="667422" y="716829"/>
                    </a:cubicBezTo>
                    <a:cubicBezTo>
                      <a:pt x="666868" y="715750"/>
                      <a:pt x="666315" y="713591"/>
                      <a:pt x="665762" y="711972"/>
                    </a:cubicBezTo>
                    <a:cubicBezTo>
                      <a:pt x="659678" y="699558"/>
                      <a:pt x="655254" y="693621"/>
                      <a:pt x="644192" y="684986"/>
                    </a:cubicBezTo>
                    <a:cubicBezTo>
                      <a:pt x="643086" y="683906"/>
                      <a:pt x="641979" y="682827"/>
                      <a:pt x="640873" y="682287"/>
                    </a:cubicBezTo>
                    <a:cubicBezTo>
                      <a:pt x="632024" y="678509"/>
                      <a:pt x="629811" y="683906"/>
                      <a:pt x="625387" y="683906"/>
                    </a:cubicBezTo>
                    <a:cubicBezTo>
                      <a:pt x="619856" y="683366"/>
                      <a:pt x="614878" y="678509"/>
                      <a:pt x="609347" y="677430"/>
                    </a:cubicBezTo>
                    <a:cubicBezTo>
                      <a:pt x="607135" y="676890"/>
                      <a:pt x="600497" y="676890"/>
                      <a:pt x="598285" y="677969"/>
                    </a:cubicBezTo>
                    <a:cubicBezTo>
                      <a:pt x="593307" y="679588"/>
                      <a:pt x="589989" y="683906"/>
                      <a:pt x="585564" y="686065"/>
                    </a:cubicBezTo>
                    <a:cubicBezTo>
                      <a:pt x="583905" y="686605"/>
                      <a:pt x="578927" y="687684"/>
                      <a:pt x="577268" y="686605"/>
                    </a:cubicBezTo>
                    <a:cubicBezTo>
                      <a:pt x="573949" y="683906"/>
                      <a:pt x="570630" y="670953"/>
                      <a:pt x="567312" y="669334"/>
                    </a:cubicBezTo>
                    <a:cubicBezTo>
                      <a:pt x="563440" y="667175"/>
                      <a:pt x="557356" y="667715"/>
                      <a:pt x="553485" y="666095"/>
                    </a:cubicBezTo>
                    <a:cubicBezTo>
                      <a:pt x="551272" y="665556"/>
                      <a:pt x="549613" y="663397"/>
                      <a:pt x="547954" y="662857"/>
                    </a:cubicBezTo>
                    <a:cubicBezTo>
                      <a:pt x="546848" y="662317"/>
                      <a:pt x="540210" y="661778"/>
                      <a:pt x="539104" y="661778"/>
                    </a:cubicBezTo>
                    <a:cubicBezTo>
                      <a:pt x="537445" y="662317"/>
                      <a:pt x="536339" y="664476"/>
                      <a:pt x="534126" y="662317"/>
                    </a:cubicBezTo>
                    <a:cubicBezTo>
                      <a:pt x="533573" y="661238"/>
                      <a:pt x="530808" y="652602"/>
                      <a:pt x="529149" y="649904"/>
                    </a:cubicBezTo>
                    <a:cubicBezTo>
                      <a:pt x="528042" y="648284"/>
                      <a:pt x="523065" y="643967"/>
                      <a:pt x="520852" y="642348"/>
                    </a:cubicBezTo>
                    <a:cubicBezTo>
                      <a:pt x="517534" y="640189"/>
                      <a:pt x="512556" y="639649"/>
                      <a:pt x="508684" y="637490"/>
                    </a:cubicBezTo>
                    <a:cubicBezTo>
                      <a:pt x="507025" y="636411"/>
                      <a:pt x="506472" y="633712"/>
                      <a:pt x="504813" y="632632"/>
                    </a:cubicBezTo>
                    <a:cubicBezTo>
                      <a:pt x="502600" y="631013"/>
                      <a:pt x="497622" y="629394"/>
                      <a:pt x="496516" y="627775"/>
                    </a:cubicBezTo>
                    <a:cubicBezTo>
                      <a:pt x="494857" y="625076"/>
                      <a:pt x="495410" y="618600"/>
                      <a:pt x="494304" y="615901"/>
                    </a:cubicBezTo>
                    <a:cubicBezTo>
                      <a:pt x="491538" y="609424"/>
                      <a:pt x="484348" y="608345"/>
                      <a:pt x="479370" y="604567"/>
                    </a:cubicBezTo>
                    <a:cubicBezTo>
                      <a:pt x="478264" y="603487"/>
                      <a:pt x="476605" y="600249"/>
                      <a:pt x="474946" y="599709"/>
                    </a:cubicBezTo>
                    <a:cubicBezTo>
                      <a:pt x="471074" y="598090"/>
                      <a:pt x="465543" y="599170"/>
                      <a:pt x="461118" y="597011"/>
                    </a:cubicBezTo>
                    <a:cubicBezTo>
                      <a:pt x="454481" y="594312"/>
                      <a:pt x="455587" y="585677"/>
                      <a:pt x="452269" y="580819"/>
                    </a:cubicBezTo>
                    <a:cubicBezTo>
                      <a:pt x="450056" y="577581"/>
                      <a:pt x="441760" y="570025"/>
                      <a:pt x="438995" y="567866"/>
                    </a:cubicBezTo>
                    <a:cubicBezTo>
                      <a:pt x="435123" y="564627"/>
                      <a:pt x="429592" y="562468"/>
                      <a:pt x="425167" y="560310"/>
                    </a:cubicBezTo>
                    <a:cubicBezTo>
                      <a:pt x="422402" y="559230"/>
                      <a:pt x="412999" y="557071"/>
                      <a:pt x="410234" y="557611"/>
                    </a:cubicBezTo>
                    <a:cubicBezTo>
                      <a:pt x="406362" y="558151"/>
                      <a:pt x="404150" y="564627"/>
                      <a:pt x="398619" y="561929"/>
                    </a:cubicBezTo>
                    <a:cubicBezTo>
                      <a:pt x="396406" y="560849"/>
                      <a:pt x="394194" y="556532"/>
                      <a:pt x="395853" y="553833"/>
                    </a:cubicBezTo>
                    <a:cubicBezTo>
                      <a:pt x="397513" y="551674"/>
                      <a:pt x="405809" y="551674"/>
                      <a:pt x="401937" y="545197"/>
                    </a:cubicBezTo>
                    <a:cubicBezTo>
                      <a:pt x="400278" y="541419"/>
                      <a:pt x="379814" y="515513"/>
                      <a:pt x="377048" y="514433"/>
                    </a:cubicBezTo>
                    <a:cubicBezTo>
                      <a:pt x="372070" y="512274"/>
                      <a:pt x="365433" y="512274"/>
                      <a:pt x="359902" y="511195"/>
                    </a:cubicBezTo>
                    <a:cubicBezTo>
                      <a:pt x="359349" y="507956"/>
                      <a:pt x="362115" y="503099"/>
                      <a:pt x="361562" y="501480"/>
                    </a:cubicBezTo>
                    <a:cubicBezTo>
                      <a:pt x="361562" y="499861"/>
                      <a:pt x="357690" y="496622"/>
                      <a:pt x="356031" y="496082"/>
                    </a:cubicBezTo>
                    <a:cubicBezTo>
                      <a:pt x="353818" y="495543"/>
                      <a:pt x="342203" y="497702"/>
                      <a:pt x="341097" y="495003"/>
                    </a:cubicBezTo>
                    <a:cubicBezTo>
                      <a:pt x="339991" y="490685"/>
                      <a:pt x="348841" y="476113"/>
                      <a:pt x="344416" y="466937"/>
                    </a:cubicBezTo>
                    <a:cubicBezTo>
                      <a:pt x="344416" y="465858"/>
                      <a:pt x="343310" y="465858"/>
                      <a:pt x="342757" y="464779"/>
                    </a:cubicBezTo>
                    <a:cubicBezTo>
                      <a:pt x="337779" y="458302"/>
                      <a:pt x="335013" y="450206"/>
                      <a:pt x="330035" y="443729"/>
                    </a:cubicBezTo>
                    <a:cubicBezTo>
                      <a:pt x="327270" y="439412"/>
                      <a:pt x="321739" y="435633"/>
                      <a:pt x="319527" y="431316"/>
                    </a:cubicBezTo>
                    <a:cubicBezTo>
                      <a:pt x="317867" y="427538"/>
                      <a:pt x="316761" y="416743"/>
                      <a:pt x="316208" y="412425"/>
                    </a:cubicBezTo>
                    <a:cubicBezTo>
                      <a:pt x="315655" y="409187"/>
                      <a:pt x="316761" y="404869"/>
                      <a:pt x="316208" y="401631"/>
                    </a:cubicBezTo>
                    <a:cubicBezTo>
                      <a:pt x="315655" y="400551"/>
                      <a:pt x="314549" y="399472"/>
                      <a:pt x="314549" y="398393"/>
                    </a:cubicBezTo>
                    <a:cubicBezTo>
                      <a:pt x="311783" y="391376"/>
                      <a:pt x="312890" y="384899"/>
                      <a:pt x="307359" y="378423"/>
                    </a:cubicBezTo>
                    <a:cubicBezTo>
                      <a:pt x="306252" y="377343"/>
                      <a:pt x="301275" y="373565"/>
                      <a:pt x="296297" y="370867"/>
                    </a:cubicBezTo>
                    <a:cubicBezTo>
                      <a:pt x="292978" y="370327"/>
                      <a:pt x="289660" y="369248"/>
                      <a:pt x="287447" y="368168"/>
                    </a:cubicBezTo>
                    <a:cubicBezTo>
                      <a:pt x="285235" y="367089"/>
                      <a:pt x="278598" y="360072"/>
                      <a:pt x="276385" y="362231"/>
                    </a:cubicBezTo>
                    <a:cubicBezTo>
                      <a:pt x="275279" y="362771"/>
                      <a:pt x="274173" y="366549"/>
                      <a:pt x="273067" y="367628"/>
                    </a:cubicBezTo>
                    <a:cubicBezTo>
                      <a:pt x="270301" y="367628"/>
                      <a:pt x="269748" y="366009"/>
                      <a:pt x="267536" y="364390"/>
                    </a:cubicBezTo>
                    <a:cubicBezTo>
                      <a:pt x="263664" y="361691"/>
                      <a:pt x="259240" y="360072"/>
                      <a:pt x="255368" y="357374"/>
                    </a:cubicBezTo>
                    <a:cubicBezTo>
                      <a:pt x="248178" y="351437"/>
                      <a:pt x="239328" y="339563"/>
                      <a:pt x="232138" y="335785"/>
                    </a:cubicBezTo>
                    <a:cubicBezTo>
                      <a:pt x="231032" y="334705"/>
                      <a:pt x="226054" y="334165"/>
                      <a:pt x="224395" y="335245"/>
                    </a:cubicBezTo>
                    <a:cubicBezTo>
                      <a:pt x="223842" y="336324"/>
                      <a:pt x="223289" y="340642"/>
                      <a:pt x="221629" y="340102"/>
                    </a:cubicBezTo>
                    <a:cubicBezTo>
                      <a:pt x="214439" y="337944"/>
                      <a:pt x="214992" y="332007"/>
                      <a:pt x="211121" y="330387"/>
                    </a:cubicBezTo>
                    <a:cubicBezTo>
                      <a:pt x="207802" y="328768"/>
                      <a:pt x="188444" y="325530"/>
                      <a:pt x="184572" y="324990"/>
                    </a:cubicBezTo>
                    <a:cubicBezTo>
                      <a:pt x="175170" y="324450"/>
                      <a:pt x="162449" y="332546"/>
                      <a:pt x="158024" y="340102"/>
                    </a:cubicBezTo>
                    <a:cubicBezTo>
                      <a:pt x="156365" y="343341"/>
                      <a:pt x="156918" y="349817"/>
                      <a:pt x="154705" y="351976"/>
                    </a:cubicBezTo>
                    <a:cubicBezTo>
                      <a:pt x="152493" y="354675"/>
                      <a:pt x="142537" y="356294"/>
                      <a:pt x="139772" y="358993"/>
                    </a:cubicBezTo>
                    <a:cubicBezTo>
                      <a:pt x="137006" y="361152"/>
                      <a:pt x="132028" y="370327"/>
                      <a:pt x="130922" y="373565"/>
                    </a:cubicBezTo>
                    <a:cubicBezTo>
                      <a:pt x="129816" y="376804"/>
                      <a:pt x="129263" y="385439"/>
                      <a:pt x="127051" y="387598"/>
                    </a:cubicBezTo>
                    <a:cubicBezTo>
                      <a:pt x="122626" y="391376"/>
                      <a:pt x="100502" y="399472"/>
                      <a:pt x="94418" y="401631"/>
                    </a:cubicBezTo>
                    <a:cubicBezTo>
                      <a:pt x="88887" y="403250"/>
                      <a:pt x="82250" y="403250"/>
                      <a:pt x="77272" y="403790"/>
                    </a:cubicBezTo>
                    <a:lnTo>
                      <a:pt x="77272" y="391376"/>
                    </a:lnTo>
                    <a:lnTo>
                      <a:pt x="92759" y="371946"/>
                    </a:lnTo>
                    <a:lnTo>
                      <a:pt x="92206" y="364390"/>
                    </a:lnTo>
                    <a:lnTo>
                      <a:pt x="89993" y="358453"/>
                    </a:lnTo>
                    <a:lnTo>
                      <a:pt x="62892" y="364930"/>
                    </a:lnTo>
                    <a:lnTo>
                      <a:pt x="29706" y="350897"/>
                    </a:lnTo>
                    <a:lnTo>
                      <a:pt x="22516" y="341182"/>
                    </a:lnTo>
                    <a:lnTo>
                      <a:pt x="19198" y="316894"/>
                    </a:lnTo>
                    <a:lnTo>
                      <a:pt x="32472" y="299623"/>
                    </a:lnTo>
                    <a:lnTo>
                      <a:pt x="29153" y="280733"/>
                    </a:lnTo>
                    <a:lnTo>
                      <a:pt x="14220" y="278034"/>
                    </a:lnTo>
                    <a:lnTo>
                      <a:pt x="2052" y="257525"/>
                    </a:lnTo>
                    <a:lnTo>
                      <a:pt x="-714" y="244032"/>
                    </a:lnTo>
                    <a:lnTo>
                      <a:pt x="18645" y="244571"/>
                    </a:lnTo>
                    <a:lnTo>
                      <a:pt x="39109" y="229999"/>
                    </a:lnTo>
                    <a:lnTo>
                      <a:pt x="40768" y="212728"/>
                    </a:lnTo>
                    <a:lnTo>
                      <a:pt x="33025" y="205172"/>
                    </a:lnTo>
                    <a:lnTo>
                      <a:pt x="27494" y="199235"/>
                    </a:lnTo>
                    <a:lnTo>
                      <a:pt x="28600" y="186821"/>
                    </a:lnTo>
                    <a:lnTo>
                      <a:pt x="14220" y="172248"/>
                    </a:lnTo>
                    <a:lnTo>
                      <a:pt x="32472" y="154438"/>
                    </a:lnTo>
                    <a:lnTo>
                      <a:pt x="50724" y="158216"/>
                    </a:lnTo>
                    <a:lnTo>
                      <a:pt x="78379" y="147421"/>
                    </a:lnTo>
                    <a:lnTo>
                      <a:pt x="100502" y="151199"/>
                    </a:lnTo>
                    <a:lnTo>
                      <a:pt x="125944" y="129071"/>
                    </a:lnTo>
                    <a:lnTo>
                      <a:pt x="127604" y="120435"/>
                    </a:lnTo>
                    <a:lnTo>
                      <a:pt x="125391" y="109641"/>
                    </a:lnTo>
                    <a:lnTo>
                      <a:pt x="137559" y="103704"/>
                    </a:lnTo>
                    <a:lnTo>
                      <a:pt x="142537" y="92369"/>
                    </a:lnTo>
                    <a:lnTo>
                      <a:pt x="151387" y="92369"/>
                    </a:lnTo>
                    <a:lnTo>
                      <a:pt x="154705" y="114498"/>
                    </a:lnTo>
                    <a:lnTo>
                      <a:pt x="166873" y="126912"/>
                    </a:lnTo>
                    <a:lnTo>
                      <a:pt x="169639" y="127451"/>
                    </a:lnTo>
                    <a:lnTo>
                      <a:pt x="177382" y="129610"/>
                    </a:lnTo>
                    <a:lnTo>
                      <a:pt x="184572" y="131769"/>
                    </a:lnTo>
                    <a:lnTo>
                      <a:pt x="184019" y="146882"/>
                    </a:lnTo>
                    <a:lnTo>
                      <a:pt x="189550" y="150660"/>
                    </a:lnTo>
                    <a:lnTo>
                      <a:pt x="193422" y="160914"/>
                    </a:lnTo>
                    <a:lnTo>
                      <a:pt x="202824" y="161454"/>
                    </a:lnTo>
                    <a:lnTo>
                      <a:pt x="206696" y="154977"/>
                    </a:lnTo>
                    <a:lnTo>
                      <a:pt x="200059" y="145802"/>
                    </a:lnTo>
                    <a:lnTo>
                      <a:pt x="202824" y="130690"/>
                    </a:lnTo>
                    <a:lnTo>
                      <a:pt x="218311" y="113419"/>
                    </a:lnTo>
                    <a:lnTo>
                      <a:pt x="224948" y="84813"/>
                    </a:lnTo>
                    <a:lnTo>
                      <a:pt x="236010" y="84813"/>
                    </a:lnTo>
                    <a:lnTo>
                      <a:pt x="242094" y="105323"/>
                    </a:lnTo>
                    <a:lnTo>
                      <a:pt x="254815" y="107482"/>
                    </a:lnTo>
                    <a:lnTo>
                      <a:pt x="263111" y="100465"/>
                    </a:lnTo>
                    <a:lnTo>
                      <a:pt x="280810" y="96687"/>
                    </a:lnTo>
                    <a:lnTo>
                      <a:pt x="288554" y="110720"/>
                    </a:lnTo>
                    <a:lnTo>
                      <a:pt x="292425" y="112879"/>
                    </a:lnTo>
                    <a:lnTo>
                      <a:pt x="296297" y="109641"/>
                    </a:lnTo>
                    <a:lnTo>
                      <a:pt x="297403" y="104243"/>
                    </a:lnTo>
                    <a:lnTo>
                      <a:pt x="293531" y="98846"/>
                    </a:lnTo>
                    <a:lnTo>
                      <a:pt x="291872" y="89131"/>
                    </a:lnTo>
                    <a:lnTo>
                      <a:pt x="285788" y="83734"/>
                    </a:lnTo>
                    <a:lnTo>
                      <a:pt x="290766" y="69161"/>
                    </a:lnTo>
                    <a:lnTo>
                      <a:pt x="300168" y="65383"/>
                    </a:lnTo>
                    <a:lnTo>
                      <a:pt x="305146" y="74019"/>
                    </a:lnTo>
                    <a:lnTo>
                      <a:pt x="310677" y="74559"/>
                    </a:lnTo>
                    <a:lnTo>
                      <a:pt x="316761" y="72939"/>
                    </a:lnTo>
                    <a:lnTo>
                      <a:pt x="320633" y="61065"/>
                    </a:lnTo>
                    <a:lnTo>
                      <a:pt x="313443" y="54049"/>
                    </a:lnTo>
                    <a:lnTo>
                      <a:pt x="320633" y="34619"/>
                    </a:lnTo>
                    <a:lnTo>
                      <a:pt x="338885" y="36778"/>
                    </a:lnTo>
                    <a:lnTo>
                      <a:pt x="339438" y="45414"/>
                    </a:lnTo>
                    <a:lnTo>
                      <a:pt x="350500" y="47033"/>
                    </a:lnTo>
                    <a:lnTo>
                      <a:pt x="363774" y="40016"/>
                    </a:lnTo>
                    <a:lnTo>
                      <a:pt x="368199" y="29222"/>
                    </a:lnTo>
                    <a:lnTo>
                      <a:pt x="382579" y="18427"/>
                    </a:lnTo>
                    <a:lnTo>
                      <a:pt x="396960" y="18967"/>
                    </a:lnTo>
                    <a:lnTo>
                      <a:pt x="408574" y="14110"/>
                    </a:lnTo>
                    <a:lnTo>
                      <a:pt x="421849" y="17888"/>
                    </a:lnTo>
                    <a:lnTo>
                      <a:pt x="456693" y="-463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3" name="Freeform 1075">
                <a:extLst>
                  <a:ext uri="{FF2B5EF4-FFF2-40B4-BE49-F238E27FC236}">
                    <a16:creationId xmlns:a16="http://schemas.microsoft.com/office/drawing/2014/main" id="{15832AA2-6D85-4190-BDAA-582998B053AF}"/>
                  </a:ext>
                </a:extLst>
              </p:cNvPr>
              <p:cNvSpPr/>
              <p:nvPr/>
            </p:nvSpPr>
            <p:spPr>
              <a:xfrm>
                <a:off x="9415664" y="4169425"/>
                <a:ext cx="453535" cy="805267"/>
              </a:xfrm>
              <a:custGeom>
                <a:avLst/>
                <a:gdLst>
                  <a:gd name="connsiteX0" fmla="*/ 425899 w 453535"/>
                  <a:gd name="connsiteY0" fmla="*/ 87549 h 805267"/>
                  <a:gd name="connsiteX1" fmla="*/ 407647 w 453535"/>
                  <a:gd name="connsiteY1" fmla="*/ 105360 h 805267"/>
                  <a:gd name="connsiteX2" fmla="*/ 396585 w 453535"/>
                  <a:gd name="connsiteY2" fmla="*/ 101042 h 805267"/>
                  <a:gd name="connsiteX3" fmla="*/ 386076 w 453535"/>
                  <a:gd name="connsiteY3" fmla="*/ 90787 h 805267"/>
                  <a:gd name="connsiteX4" fmla="*/ 372802 w 453535"/>
                  <a:gd name="connsiteY4" fmla="*/ 99963 h 805267"/>
                  <a:gd name="connsiteX5" fmla="*/ 365059 w 453535"/>
                  <a:gd name="connsiteY5" fmla="*/ 97804 h 805267"/>
                  <a:gd name="connsiteX6" fmla="*/ 362293 w 453535"/>
                  <a:gd name="connsiteY6" fmla="*/ 90787 h 805267"/>
                  <a:gd name="connsiteX7" fmla="*/ 334639 w 453535"/>
                  <a:gd name="connsiteY7" fmla="*/ 87009 h 805267"/>
                  <a:gd name="connsiteX8" fmla="*/ 335192 w 453535"/>
                  <a:gd name="connsiteY8" fmla="*/ 74056 h 805267"/>
                  <a:gd name="connsiteX9" fmla="*/ 351231 w 453535"/>
                  <a:gd name="connsiteY9" fmla="*/ 61103 h 805267"/>
                  <a:gd name="connsiteX10" fmla="*/ 351784 w 453535"/>
                  <a:gd name="connsiteY10" fmla="*/ 50848 h 805267"/>
                  <a:gd name="connsiteX11" fmla="*/ 327448 w 453535"/>
                  <a:gd name="connsiteY11" fmla="*/ 42212 h 805267"/>
                  <a:gd name="connsiteX12" fmla="*/ 321917 w 453535"/>
                  <a:gd name="connsiteY12" fmla="*/ 33577 h 805267"/>
                  <a:gd name="connsiteX13" fmla="*/ 332979 w 453535"/>
                  <a:gd name="connsiteY13" fmla="*/ 9829 h 805267"/>
                  <a:gd name="connsiteX14" fmla="*/ 285966 w 453535"/>
                  <a:gd name="connsiteY14" fmla="*/ -426 h 805267"/>
                  <a:gd name="connsiteX15" fmla="*/ 267161 w 453535"/>
                  <a:gd name="connsiteY15" fmla="*/ 35736 h 805267"/>
                  <a:gd name="connsiteX16" fmla="*/ 255546 w 453535"/>
                  <a:gd name="connsiteY16" fmla="*/ 63801 h 805267"/>
                  <a:gd name="connsiteX17" fmla="*/ 247803 w 453535"/>
                  <a:gd name="connsiteY17" fmla="*/ 97264 h 805267"/>
                  <a:gd name="connsiteX18" fmla="*/ 245591 w 453535"/>
                  <a:gd name="connsiteY18" fmla="*/ 108058 h 805267"/>
                  <a:gd name="connsiteX19" fmla="*/ 232316 w 453535"/>
                  <a:gd name="connsiteY19" fmla="*/ 115075 h 805267"/>
                  <a:gd name="connsiteX20" fmla="*/ 231210 w 453535"/>
                  <a:gd name="connsiteY20" fmla="*/ 132886 h 805267"/>
                  <a:gd name="connsiteX21" fmla="*/ 224020 w 453535"/>
                  <a:gd name="connsiteY21" fmla="*/ 159332 h 805267"/>
                  <a:gd name="connsiteX22" fmla="*/ 211299 w 453535"/>
                  <a:gd name="connsiteY22" fmla="*/ 172286 h 805267"/>
                  <a:gd name="connsiteX23" fmla="*/ 165392 w 453535"/>
                  <a:gd name="connsiteY23" fmla="*/ 195494 h 805267"/>
                  <a:gd name="connsiteX24" fmla="*/ 149353 w 453535"/>
                  <a:gd name="connsiteY24" fmla="*/ 199811 h 805267"/>
                  <a:gd name="connsiteX25" fmla="*/ 132207 w 453535"/>
                  <a:gd name="connsiteY25" fmla="*/ 197113 h 805267"/>
                  <a:gd name="connsiteX26" fmla="*/ 111742 w 453535"/>
                  <a:gd name="connsiteY26" fmla="*/ 185779 h 805267"/>
                  <a:gd name="connsiteX27" fmla="*/ 90725 w 453535"/>
                  <a:gd name="connsiteY27" fmla="*/ 184159 h 805267"/>
                  <a:gd name="connsiteX28" fmla="*/ 71367 w 453535"/>
                  <a:gd name="connsiteY28" fmla="*/ 169047 h 805267"/>
                  <a:gd name="connsiteX29" fmla="*/ 50902 w 453535"/>
                  <a:gd name="connsiteY29" fmla="*/ 156094 h 805267"/>
                  <a:gd name="connsiteX30" fmla="*/ 25460 w 453535"/>
                  <a:gd name="connsiteY30" fmla="*/ 152856 h 805267"/>
                  <a:gd name="connsiteX31" fmla="*/ 20482 w 453535"/>
                  <a:gd name="connsiteY31" fmla="*/ 167968 h 805267"/>
                  <a:gd name="connsiteX32" fmla="*/ 25460 w 453535"/>
                  <a:gd name="connsiteY32" fmla="*/ 196033 h 805267"/>
                  <a:gd name="connsiteX33" fmla="*/ -1088 w 453535"/>
                  <a:gd name="connsiteY33" fmla="*/ 220861 h 805267"/>
                  <a:gd name="connsiteX34" fmla="*/ 11080 w 453535"/>
                  <a:gd name="connsiteY34" fmla="*/ 237052 h 805267"/>
                  <a:gd name="connsiteX35" fmla="*/ 22695 w 453535"/>
                  <a:gd name="connsiteY35" fmla="*/ 242989 h 805267"/>
                  <a:gd name="connsiteX36" fmla="*/ 26566 w 453535"/>
                  <a:gd name="connsiteY36" fmla="*/ 260800 h 805267"/>
                  <a:gd name="connsiteX37" fmla="*/ 44265 w 453535"/>
                  <a:gd name="connsiteY37" fmla="*/ 266197 h 805267"/>
                  <a:gd name="connsiteX38" fmla="*/ 68048 w 453535"/>
                  <a:gd name="connsiteY38" fmla="*/ 318551 h 805267"/>
                  <a:gd name="connsiteX39" fmla="*/ 84088 w 453535"/>
                  <a:gd name="connsiteY39" fmla="*/ 314773 h 805267"/>
                  <a:gd name="connsiteX40" fmla="*/ 88513 w 453535"/>
                  <a:gd name="connsiteY40" fmla="*/ 377920 h 805267"/>
                  <a:gd name="connsiteX41" fmla="*/ 101787 w 453535"/>
                  <a:gd name="connsiteY41" fmla="*/ 378460 h 805267"/>
                  <a:gd name="connsiteX42" fmla="*/ 110636 w 453535"/>
                  <a:gd name="connsiteY42" fmla="*/ 382778 h 805267"/>
                  <a:gd name="connsiteX43" fmla="*/ 118380 w 453535"/>
                  <a:gd name="connsiteY43" fmla="*/ 376301 h 805267"/>
                  <a:gd name="connsiteX44" fmla="*/ 125017 w 453535"/>
                  <a:gd name="connsiteY44" fmla="*/ 383317 h 805267"/>
                  <a:gd name="connsiteX45" fmla="*/ 123910 w 453535"/>
                  <a:gd name="connsiteY45" fmla="*/ 391413 h 805267"/>
                  <a:gd name="connsiteX46" fmla="*/ 131101 w 453535"/>
                  <a:gd name="connsiteY46" fmla="*/ 394652 h 805267"/>
                  <a:gd name="connsiteX47" fmla="*/ 134972 w 453535"/>
                  <a:gd name="connsiteY47" fmla="*/ 411923 h 805267"/>
                  <a:gd name="connsiteX48" fmla="*/ 163733 w 453535"/>
                  <a:gd name="connsiteY48" fmla="*/ 421098 h 805267"/>
                  <a:gd name="connsiteX49" fmla="*/ 162074 w 453535"/>
                  <a:gd name="connsiteY49" fmla="*/ 437829 h 805267"/>
                  <a:gd name="connsiteX50" fmla="*/ 180879 w 453535"/>
                  <a:gd name="connsiteY50" fmla="*/ 443766 h 805267"/>
                  <a:gd name="connsiteX51" fmla="*/ 186963 w 453535"/>
                  <a:gd name="connsiteY51" fmla="*/ 473451 h 805267"/>
                  <a:gd name="connsiteX52" fmla="*/ 199131 w 453535"/>
                  <a:gd name="connsiteY52" fmla="*/ 470213 h 805267"/>
                  <a:gd name="connsiteX53" fmla="*/ 207980 w 453535"/>
                  <a:gd name="connsiteY53" fmla="*/ 473451 h 805267"/>
                  <a:gd name="connsiteX54" fmla="*/ 211852 w 453535"/>
                  <a:gd name="connsiteY54" fmla="*/ 491262 h 805267"/>
                  <a:gd name="connsiteX55" fmla="*/ 225126 w 453535"/>
                  <a:gd name="connsiteY55" fmla="*/ 504215 h 805267"/>
                  <a:gd name="connsiteX56" fmla="*/ 232316 w 453535"/>
                  <a:gd name="connsiteY56" fmla="*/ 498818 h 805267"/>
                  <a:gd name="connsiteX57" fmla="*/ 243378 w 453535"/>
                  <a:gd name="connsiteY57" fmla="*/ 499898 h 805267"/>
                  <a:gd name="connsiteX58" fmla="*/ 268821 w 453535"/>
                  <a:gd name="connsiteY58" fmla="*/ 540917 h 805267"/>
                  <a:gd name="connsiteX59" fmla="*/ 279882 w 453535"/>
                  <a:gd name="connsiteY59" fmla="*/ 531202 h 805267"/>
                  <a:gd name="connsiteX60" fmla="*/ 313068 w 453535"/>
                  <a:gd name="connsiteY60" fmla="*/ 540917 h 805267"/>
                  <a:gd name="connsiteX61" fmla="*/ 332426 w 453535"/>
                  <a:gd name="connsiteY61" fmla="*/ 521487 h 805267"/>
                  <a:gd name="connsiteX62" fmla="*/ 340723 w 453535"/>
                  <a:gd name="connsiteY62" fmla="*/ 522566 h 805267"/>
                  <a:gd name="connsiteX63" fmla="*/ 356209 w 453535"/>
                  <a:gd name="connsiteY63" fmla="*/ 511232 h 805267"/>
                  <a:gd name="connsiteX64" fmla="*/ 350125 w 453535"/>
                  <a:gd name="connsiteY64" fmla="*/ 530122 h 805267"/>
                  <a:gd name="connsiteX65" fmla="*/ 340723 w 453535"/>
                  <a:gd name="connsiteY65" fmla="*/ 541996 h 805267"/>
                  <a:gd name="connsiteX66" fmla="*/ 342382 w 453535"/>
                  <a:gd name="connsiteY66" fmla="*/ 563045 h 805267"/>
                  <a:gd name="connsiteX67" fmla="*/ 361187 w 453535"/>
                  <a:gd name="connsiteY67" fmla="*/ 575459 h 805267"/>
                  <a:gd name="connsiteX68" fmla="*/ 364505 w 453535"/>
                  <a:gd name="connsiteY68" fmla="*/ 586793 h 805267"/>
                  <a:gd name="connsiteX69" fmla="*/ 372249 w 453535"/>
                  <a:gd name="connsiteY69" fmla="*/ 589492 h 805267"/>
                  <a:gd name="connsiteX70" fmla="*/ 374461 w 453535"/>
                  <a:gd name="connsiteY70" fmla="*/ 599746 h 805267"/>
                  <a:gd name="connsiteX71" fmla="*/ 372249 w 453535"/>
                  <a:gd name="connsiteY71" fmla="*/ 606223 h 805267"/>
                  <a:gd name="connsiteX72" fmla="*/ 357868 w 453535"/>
                  <a:gd name="connsiteY72" fmla="*/ 613240 h 805267"/>
                  <a:gd name="connsiteX73" fmla="*/ 358975 w 453535"/>
                  <a:gd name="connsiteY73" fmla="*/ 637527 h 805267"/>
                  <a:gd name="connsiteX74" fmla="*/ 352337 w 453535"/>
                  <a:gd name="connsiteY74" fmla="*/ 641305 h 805267"/>
                  <a:gd name="connsiteX75" fmla="*/ 349019 w 453535"/>
                  <a:gd name="connsiteY75" fmla="*/ 665593 h 805267"/>
                  <a:gd name="connsiteX76" fmla="*/ 359528 w 453535"/>
                  <a:gd name="connsiteY76" fmla="*/ 680705 h 805267"/>
                  <a:gd name="connsiteX77" fmla="*/ 348466 w 453535"/>
                  <a:gd name="connsiteY77" fmla="*/ 688801 h 805267"/>
                  <a:gd name="connsiteX78" fmla="*/ 348466 w 453535"/>
                  <a:gd name="connsiteY78" fmla="*/ 714707 h 805267"/>
                  <a:gd name="connsiteX79" fmla="*/ 361187 w 453535"/>
                  <a:gd name="connsiteY79" fmla="*/ 719025 h 805267"/>
                  <a:gd name="connsiteX80" fmla="*/ 368930 w 453535"/>
                  <a:gd name="connsiteY80" fmla="*/ 740614 h 805267"/>
                  <a:gd name="connsiteX81" fmla="*/ 366165 w 453535"/>
                  <a:gd name="connsiteY81" fmla="*/ 766521 h 805267"/>
                  <a:gd name="connsiteX82" fmla="*/ 394372 w 453535"/>
                  <a:gd name="connsiteY82" fmla="*/ 776776 h 805267"/>
                  <a:gd name="connsiteX83" fmla="*/ 410965 w 453535"/>
                  <a:gd name="connsiteY83" fmla="*/ 791888 h 805267"/>
                  <a:gd name="connsiteX84" fmla="*/ 423133 w 453535"/>
                  <a:gd name="connsiteY84" fmla="*/ 781633 h 805267"/>
                  <a:gd name="connsiteX85" fmla="*/ 452447 w 453535"/>
                  <a:gd name="connsiteY85" fmla="*/ 804841 h 805267"/>
                  <a:gd name="connsiteX86" fmla="*/ 452447 w 453535"/>
                  <a:gd name="connsiteY86" fmla="*/ 129647 h 805267"/>
                  <a:gd name="connsiteX87" fmla="*/ 436961 w 453535"/>
                  <a:gd name="connsiteY87" fmla="*/ 108598 h 805267"/>
                  <a:gd name="connsiteX88" fmla="*/ 425899 w 453535"/>
                  <a:gd name="connsiteY88" fmla="*/ 87549 h 80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453535" h="805267">
                    <a:moveTo>
                      <a:pt x="425899" y="87549"/>
                    </a:moveTo>
                    <a:lnTo>
                      <a:pt x="407647" y="105360"/>
                    </a:lnTo>
                    <a:lnTo>
                      <a:pt x="396585" y="101042"/>
                    </a:lnTo>
                    <a:lnTo>
                      <a:pt x="386076" y="90787"/>
                    </a:lnTo>
                    <a:lnTo>
                      <a:pt x="372802" y="99963"/>
                    </a:lnTo>
                    <a:lnTo>
                      <a:pt x="365059" y="97804"/>
                    </a:lnTo>
                    <a:lnTo>
                      <a:pt x="362293" y="90787"/>
                    </a:lnTo>
                    <a:lnTo>
                      <a:pt x="334639" y="87009"/>
                    </a:lnTo>
                    <a:lnTo>
                      <a:pt x="335192" y="74056"/>
                    </a:lnTo>
                    <a:lnTo>
                      <a:pt x="351231" y="61103"/>
                    </a:lnTo>
                    <a:lnTo>
                      <a:pt x="351784" y="50848"/>
                    </a:lnTo>
                    <a:lnTo>
                      <a:pt x="327448" y="42212"/>
                    </a:lnTo>
                    <a:lnTo>
                      <a:pt x="321917" y="33577"/>
                    </a:lnTo>
                    <a:lnTo>
                      <a:pt x="332979" y="9829"/>
                    </a:lnTo>
                    <a:lnTo>
                      <a:pt x="285966" y="-426"/>
                    </a:lnTo>
                    <a:cubicBezTo>
                      <a:pt x="282095" y="10908"/>
                      <a:pt x="272692" y="24401"/>
                      <a:pt x="267161" y="35736"/>
                    </a:cubicBezTo>
                    <a:cubicBezTo>
                      <a:pt x="262737" y="44911"/>
                      <a:pt x="258865" y="54086"/>
                      <a:pt x="255546" y="63801"/>
                    </a:cubicBezTo>
                    <a:cubicBezTo>
                      <a:pt x="252228" y="74596"/>
                      <a:pt x="250569" y="86470"/>
                      <a:pt x="247803" y="97264"/>
                    </a:cubicBezTo>
                    <a:cubicBezTo>
                      <a:pt x="247250" y="100502"/>
                      <a:pt x="246697" y="105900"/>
                      <a:pt x="245591" y="108058"/>
                    </a:cubicBezTo>
                    <a:cubicBezTo>
                      <a:pt x="242272" y="113995"/>
                      <a:pt x="235635" y="111837"/>
                      <a:pt x="232316" y="115075"/>
                    </a:cubicBezTo>
                    <a:cubicBezTo>
                      <a:pt x="226786" y="120472"/>
                      <a:pt x="231763" y="126949"/>
                      <a:pt x="231210" y="132886"/>
                    </a:cubicBezTo>
                    <a:cubicBezTo>
                      <a:pt x="231210" y="139362"/>
                      <a:pt x="227892" y="153935"/>
                      <a:pt x="224020" y="159332"/>
                    </a:cubicBezTo>
                    <a:cubicBezTo>
                      <a:pt x="222361" y="160951"/>
                      <a:pt x="213511" y="170127"/>
                      <a:pt x="211299" y="172286"/>
                    </a:cubicBezTo>
                    <a:cubicBezTo>
                      <a:pt x="196919" y="185239"/>
                      <a:pt x="184197" y="190096"/>
                      <a:pt x="165392" y="195494"/>
                    </a:cubicBezTo>
                    <a:cubicBezTo>
                      <a:pt x="160415" y="197113"/>
                      <a:pt x="154884" y="199811"/>
                      <a:pt x="149353" y="199811"/>
                    </a:cubicBezTo>
                    <a:cubicBezTo>
                      <a:pt x="144375" y="200351"/>
                      <a:pt x="136632" y="198732"/>
                      <a:pt x="132207" y="197113"/>
                    </a:cubicBezTo>
                    <a:cubicBezTo>
                      <a:pt x="125017" y="194954"/>
                      <a:pt x="118933" y="188477"/>
                      <a:pt x="111742" y="185779"/>
                    </a:cubicBezTo>
                    <a:cubicBezTo>
                      <a:pt x="103999" y="182540"/>
                      <a:pt x="96256" y="186858"/>
                      <a:pt x="90725" y="184159"/>
                    </a:cubicBezTo>
                    <a:cubicBezTo>
                      <a:pt x="84088" y="179842"/>
                      <a:pt x="78004" y="173365"/>
                      <a:pt x="71367" y="169047"/>
                    </a:cubicBezTo>
                    <a:cubicBezTo>
                      <a:pt x="62517" y="163650"/>
                      <a:pt x="59199" y="164190"/>
                      <a:pt x="50902" y="156094"/>
                    </a:cubicBezTo>
                    <a:lnTo>
                      <a:pt x="25460" y="152856"/>
                    </a:lnTo>
                    <a:lnTo>
                      <a:pt x="20482" y="167968"/>
                    </a:lnTo>
                    <a:lnTo>
                      <a:pt x="25460" y="196033"/>
                    </a:lnTo>
                    <a:lnTo>
                      <a:pt x="-1088" y="220861"/>
                    </a:lnTo>
                    <a:lnTo>
                      <a:pt x="11080" y="237052"/>
                    </a:lnTo>
                    <a:lnTo>
                      <a:pt x="22695" y="242989"/>
                    </a:lnTo>
                    <a:lnTo>
                      <a:pt x="26566" y="260800"/>
                    </a:lnTo>
                    <a:lnTo>
                      <a:pt x="44265" y="266197"/>
                    </a:lnTo>
                    <a:lnTo>
                      <a:pt x="68048" y="318551"/>
                    </a:lnTo>
                    <a:lnTo>
                      <a:pt x="84088" y="314773"/>
                    </a:lnTo>
                    <a:lnTo>
                      <a:pt x="88513" y="377920"/>
                    </a:lnTo>
                    <a:lnTo>
                      <a:pt x="101787" y="378460"/>
                    </a:lnTo>
                    <a:lnTo>
                      <a:pt x="110636" y="382778"/>
                    </a:lnTo>
                    <a:lnTo>
                      <a:pt x="118380" y="376301"/>
                    </a:lnTo>
                    <a:lnTo>
                      <a:pt x="125017" y="383317"/>
                    </a:lnTo>
                    <a:lnTo>
                      <a:pt x="123910" y="391413"/>
                    </a:lnTo>
                    <a:lnTo>
                      <a:pt x="131101" y="394652"/>
                    </a:lnTo>
                    <a:lnTo>
                      <a:pt x="134972" y="411923"/>
                    </a:lnTo>
                    <a:lnTo>
                      <a:pt x="163733" y="421098"/>
                    </a:lnTo>
                    <a:lnTo>
                      <a:pt x="162074" y="437829"/>
                    </a:lnTo>
                    <a:lnTo>
                      <a:pt x="180879" y="443766"/>
                    </a:lnTo>
                    <a:lnTo>
                      <a:pt x="186963" y="473451"/>
                    </a:lnTo>
                    <a:lnTo>
                      <a:pt x="199131" y="470213"/>
                    </a:lnTo>
                    <a:lnTo>
                      <a:pt x="207980" y="473451"/>
                    </a:lnTo>
                    <a:lnTo>
                      <a:pt x="211852" y="491262"/>
                    </a:lnTo>
                    <a:lnTo>
                      <a:pt x="225126" y="504215"/>
                    </a:lnTo>
                    <a:lnTo>
                      <a:pt x="232316" y="498818"/>
                    </a:lnTo>
                    <a:lnTo>
                      <a:pt x="243378" y="499898"/>
                    </a:lnTo>
                    <a:lnTo>
                      <a:pt x="268821" y="540917"/>
                    </a:lnTo>
                    <a:lnTo>
                      <a:pt x="279882" y="531202"/>
                    </a:lnTo>
                    <a:lnTo>
                      <a:pt x="313068" y="540917"/>
                    </a:lnTo>
                    <a:lnTo>
                      <a:pt x="332426" y="521487"/>
                    </a:lnTo>
                    <a:lnTo>
                      <a:pt x="340723" y="522566"/>
                    </a:lnTo>
                    <a:lnTo>
                      <a:pt x="356209" y="511232"/>
                    </a:lnTo>
                    <a:lnTo>
                      <a:pt x="350125" y="530122"/>
                    </a:lnTo>
                    <a:lnTo>
                      <a:pt x="340723" y="541996"/>
                    </a:lnTo>
                    <a:lnTo>
                      <a:pt x="342382" y="563045"/>
                    </a:lnTo>
                    <a:lnTo>
                      <a:pt x="361187" y="575459"/>
                    </a:lnTo>
                    <a:lnTo>
                      <a:pt x="364505" y="586793"/>
                    </a:lnTo>
                    <a:lnTo>
                      <a:pt x="372249" y="589492"/>
                    </a:lnTo>
                    <a:lnTo>
                      <a:pt x="374461" y="599746"/>
                    </a:lnTo>
                    <a:lnTo>
                      <a:pt x="372249" y="606223"/>
                    </a:lnTo>
                    <a:lnTo>
                      <a:pt x="357868" y="613240"/>
                    </a:lnTo>
                    <a:lnTo>
                      <a:pt x="358975" y="637527"/>
                    </a:lnTo>
                    <a:lnTo>
                      <a:pt x="352337" y="641305"/>
                    </a:lnTo>
                    <a:lnTo>
                      <a:pt x="349019" y="665593"/>
                    </a:lnTo>
                    <a:lnTo>
                      <a:pt x="359528" y="680705"/>
                    </a:lnTo>
                    <a:lnTo>
                      <a:pt x="348466" y="688801"/>
                    </a:lnTo>
                    <a:lnTo>
                      <a:pt x="348466" y="714707"/>
                    </a:lnTo>
                    <a:lnTo>
                      <a:pt x="361187" y="719025"/>
                    </a:lnTo>
                    <a:lnTo>
                      <a:pt x="368930" y="740614"/>
                    </a:lnTo>
                    <a:lnTo>
                      <a:pt x="366165" y="766521"/>
                    </a:lnTo>
                    <a:lnTo>
                      <a:pt x="394372" y="776776"/>
                    </a:lnTo>
                    <a:lnTo>
                      <a:pt x="410965" y="791888"/>
                    </a:lnTo>
                    <a:lnTo>
                      <a:pt x="423133" y="781633"/>
                    </a:lnTo>
                    <a:lnTo>
                      <a:pt x="452447" y="804841"/>
                    </a:lnTo>
                    <a:lnTo>
                      <a:pt x="452447" y="129647"/>
                    </a:lnTo>
                    <a:cubicBezTo>
                      <a:pt x="446916" y="123171"/>
                      <a:pt x="441385" y="115615"/>
                      <a:pt x="436961" y="108598"/>
                    </a:cubicBezTo>
                    <a:cubicBezTo>
                      <a:pt x="432536" y="102122"/>
                      <a:pt x="429217" y="95105"/>
                      <a:pt x="425899" y="87549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4" name="Freeform 1076">
                <a:extLst>
                  <a:ext uri="{FF2B5EF4-FFF2-40B4-BE49-F238E27FC236}">
                    <a16:creationId xmlns:a16="http://schemas.microsoft.com/office/drawing/2014/main" id="{D637B059-F88C-42C9-AD79-F9557607CA30}"/>
                  </a:ext>
                </a:extLst>
              </p:cNvPr>
              <p:cNvSpPr/>
              <p:nvPr/>
            </p:nvSpPr>
            <p:spPr>
              <a:xfrm>
                <a:off x="9230378" y="4607681"/>
                <a:ext cx="638821" cy="919148"/>
              </a:xfrm>
              <a:custGeom>
                <a:avLst/>
                <a:gdLst>
                  <a:gd name="connsiteX0" fmla="*/ 637745 w 638821"/>
                  <a:gd name="connsiteY0" fmla="*/ 366523 h 919148"/>
                  <a:gd name="connsiteX1" fmla="*/ 637745 w 638821"/>
                  <a:gd name="connsiteY1" fmla="*/ 914881 h 919148"/>
                  <a:gd name="connsiteX2" fmla="*/ 582435 w 638821"/>
                  <a:gd name="connsiteY2" fmla="*/ 918660 h 919148"/>
                  <a:gd name="connsiteX3" fmla="*/ 554228 w 638821"/>
                  <a:gd name="connsiteY3" fmla="*/ 827986 h 919148"/>
                  <a:gd name="connsiteX4" fmla="*/ 498365 w 638821"/>
                  <a:gd name="connsiteY4" fmla="*/ 848495 h 919148"/>
                  <a:gd name="connsiteX5" fmla="*/ 477901 w 638821"/>
                  <a:gd name="connsiteY5" fmla="*/ 817731 h 919148"/>
                  <a:gd name="connsiteX6" fmla="*/ 314739 w 638821"/>
                  <a:gd name="connsiteY6" fmla="*/ 812874 h 919148"/>
                  <a:gd name="connsiteX7" fmla="*/ 157108 w 638821"/>
                  <a:gd name="connsiteY7" fmla="*/ 794523 h 919148"/>
                  <a:gd name="connsiteX8" fmla="*/ 89630 w 638821"/>
                  <a:gd name="connsiteY8" fmla="*/ 802079 h 919148"/>
                  <a:gd name="connsiteX9" fmla="*/ -1077 w 638821"/>
                  <a:gd name="connsiteY9" fmla="*/ 687658 h 919148"/>
                  <a:gd name="connsiteX10" fmla="*/ 149917 w 638821"/>
                  <a:gd name="connsiteY10" fmla="*/ 477706 h 919148"/>
                  <a:gd name="connsiteX11" fmla="*/ 156554 w 638821"/>
                  <a:gd name="connsiteY11" fmla="*/ 435067 h 919148"/>
                  <a:gd name="connsiteX12" fmla="*/ 132218 w 638821"/>
                  <a:gd name="connsiteY12" fmla="*/ 358966 h 919148"/>
                  <a:gd name="connsiteX13" fmla="*/ 133878 w 638821"/>
                  <a:gd name="connsiteY13" fmla="*/ 325504 h 919148"/>
                  <a:gd name="connsiteX14" fmla="*/ 127241 w 638821"/>
                  <a:gd name="connsiteY14" fmla="*/ 303375 h 919148"/>
                  <a:gd name="connsiteX15" fmla="*/ 107882 w 638821"/>
                  <a:gd name="connsiteY15" fmla="*/ 281246 h 919148"/>
                  <a:gd name="connsiteX16" fmla="*/ 96821 w 638821"/>
                  <a:gd name="connsiteY16" fmla="*/ 235910 h 919148"/>
                  <a:gd name="connsiteX17" fmla="*/ 98480 w 638821"/>
                  <a:gd name="connsiteY17" fmla="*/ 224575 h 919148"/>
                  <a:gd name="connsiteX18" fmla="*/ 129453 w 638821"/>
                  <a:gd name="connsiteY18" fmla="*/ 193271 h 919148"/>
                  <a:gd name="connsiteX19" fmla="*/ 154895 w 638821"/>
                  <a:gd name="connsiteY19" fmla="*/ 111773 h 919148"/>
                  <a:gd name="connsiteX20" fmla="*/ 169276 w 638821"/>
                  <a:gd name="connsiteY20" fmla="*/ 94502 h 919148"/>
                  <a:gd name="connsiteX21" fmla="*/ 177572 w 638821"/>
                  <a:gd name="connsiteY21" fmla="*/ 64817 h 919148"/>
                  <a:gd name="connsiteX22" fmla="*/ 189187 w 638821"/>
                  <a:gd name="connsiteY22" fmla="*/ 64278 h 919148"/>
                  <a:gd name="connsiteX23" fmla="*/ 203014 w 638821"/>
                  <a:gd name="connsiteY23" fmla="*/ 48086 h 919148"/>
                  <a:gd name="connsiteX24" fmla="*/ 218501 w 638821"/>
                  <a:gd name="connsiteY24" fmla="*/ 47546 h 919148"/>
                  <a:gd name="connsiteX25" fmla="*/ 227903 w 638821"/>
                  <a:gd name="connsiteY25" fmla="*/ 43768 h 919148"/>
                  <a:gd name="connsiteX26" fmla="*/ 243390 w 638821"/>
                  <a:gd name="connsiteY26" fmla="*/ 43768 h 919148"/>
                  <a:gd name="connsiteX27" fmla="*/ 272704 w 638821"/>
                  <a:gd name="connsiteY27" fmla="*/ 32434 h 919148"/>
                  <a:gd name="connsiteX28" fmla="*/ 281553 w 638821"/>
                  <a:gd name="connsiteY28" fmla="*/ 16782 h 919148"/>
                  <a:gd name="connsiteX29" fmla="*/ 289850 w 638821"/>
                  <a:gd name="connsiteY29" fmla="*/ 12464 h 919148"/>
                  <a:gd name="connsiteX30" fmla="*/ 302018 w 638821"/>
                  <a:gd name="connsiteY30" fmla="*/ 13004 h 919148"/>
                  <a:gd name="connsiteX31" fmla="*/ 306442 w 638821"/>
                  <a:gd name="connsiteY31" fmla="*/ 22179 h 919148"/>
                  <a:gd name="connsiteX32" fmla="*/ 305889 w 638821"/>
                  <a:gd name="connsiteY32" fmla="*/ 31894 h 919148"/>
                  <a:gd name="connsiteX33" fmla="*/ 311420 w 638821"/>
                  <a:gd name="connsiteY33" fmla="*/ 36752 h 919148"/>
                  <a:gd name="connsiteX34" fmla="*/ 320270 w 638821"/>
                  <a:gd name="connsiteY34" fmla="*/ 39990 h 919148"/>
                  <a:gd name="connsiteX35" fmla="*/ 323035 w 638821"/>
                  <a:gd name="connsiteY35" fmla="*/ 27576 h 919148"/>
                  <a:gd name="connsiteX36" fmla="*/ 338522 w 638821"/>
                  <a:gd name="connsiteY36" fmla="*/ 590 h 919148"/>
                  <a:gd name="connsiteX37" fmla="*/ 347371 w 638821"/>
                  <a:gd name="connsiteY37" fmla="*/ -489 h 919148"/>
                  <a:gd name="connsiteX38" fmla="*/ 366176 w 638821"/>
                  <a:gd name="connsiteY38" fmla="*/ 5448 h 919148"/>
                  <a:gd name="connsiteX39" fmla="*/ 372260 w 638821"/>
                  <a:gd name="connsiteY39" fmla="*/ 35132 h 919148"/>
                  <a:gd name="connsiteX40" fmla="*/ 384428 w 638821"/>
                  <a:gd name="connsiteY40" fmla="*/ 31894 h 919148"/>
                  <a:gd name="connsiteX41" fmla="*/ 393278 w 638821"/>
                  <a:gd name="connsiteY41" fmla="*/ 35132 h 919148"/>
                  <a:gd name="connsiteX42" fmla="*/ 397149 w 638821"/>
                  <a:gd name="connsiteY42" fmla="*/ 52943 h 919148"/>
                  <a:gd name="connsiteX43" fmla="*/ 410424 w 638821"/>
                  <a:gd name="connsiteY43" fmla="*/ 65897 h 919148"/>
                  <a:gd name="connsiteX44" fmla="*/ 417614 w 638821"/>
                  <a:gd name="connsiteY44" fmla="*/ 60499 h 919148"/>
                  <a:gd name="connsiteX45" fmla="*/ 428676 w 638821"/>
                  <a:gd name="connsiteY45" fmla="*/ 61579 h 919148"/>
                  <a:gd name="connsiteX46" fmla="*/ 454118 w 638821"/>
                  <a:gd name="connsiteY46" fmla="*/ 102598 h 919148"/>
                  <a:gd name="connsiteX47" fmla="*/ 465180 w 638821"/>
                  <a:gd name="connsiteY47" fmla="*/ 92883 h 919148"/>
                  <a:gd name="connsiteX48" fmla="*/ 498365 w 638821"/>
                  <a:gd name="connsiteY48" fmla="*/ 102598 h 919148"/>
                  <a:gd name="connsiteX49" fmla="*/ 517724 w 638821"/>
                  <a:gd name="connsiteY49" fmla="*/ 83168 h 919148"/>
                  <a:gd name="connsiteX50" fmla="*/ 526020 w 638821"/>
                  <a:gd name="connsiteY50" fmla="*/ 84247 h 919148"/>
                  <a:gd name="connsiteX51" fmla="*/ 541507 w 638821"/>
                  <a:gd name="connsiteY51" fmla="*/ 72913 h 919148"/>
                  <a:gd name="connsiteX52" fmla="*/ 535423 w 638821"/>
                  <a:gd name="connsiteY52" fmla="*/ 91803 h 919148"/>
                  <a:gd name="connsiteX53" fmla="*/ 526020 w 638821"/>
                  <a:gd name="connsiteY53" fmla="*/ 103677 h 919148"/>
                  <a:gd name="connsiteX54" fmla="*/ 527679 w 638821"/>
                  <a:gd name="connsiteY54" fmla="*/ 124727 h 919148"/>
                  <a:gd name="connsiteX55" fmla="*/ 546484 w 638821"/>
                  <a:gd name="connsiteY55" fmla="*/ 137140 h 919148"/>
                  <a:gd name="connsiteX56" fmla="*/ 549803 w 638821"/>
                  <a:gd name="connsiteY56" fmla="*/ 148474 h 919148"/>
                  <a:gd name="connsiteX57" fmla="*/ 557546 w 638821"/>
                  <a:gd name="connsiteY57" fmla="*/ 151173 h 919148"/>
                  <a:gd name="connsiteX58" fmla="*/ 559759 w 638821"/>
                  <a:gd name="connsiteY58" fmla="*/ 161428 h 919148"/>
                  <a:gd name="connsiteX59" fmla="*/ 557546 w 638821"/>
                  <a:gd name="connsiteY59" fmla="*/ 167904 h 919148"/>
                  <a:gd name="connsiteX60" fmla="*/ 543166 w 638821"/>
                  <a:gd name="connsiteY60" fmla="*/ 174921 h 919148"/>
                  <a:gd name="connsiteX61" fmla="*/ 544272 w 638821"/>
                  <a:gd name="connsiteY61" fmla="*/ 199208 h 919148"/>
                  <a:gd name="connsiteX62" fmla="*/ 537635 w 638821"/>
                  <a:gd name="connsiteY62" fmla="*/ 202986 h 919148"/>
                  <a:gd name="connsiteX63" fmla="*/ 534316 w 638821"/>
                  <a:gd name="connsiteY63" fmla="*/ 227274 h 919148"/>
                  <a:gd name="connsiteX64" fmla="*/ 544825 w 638821"/>
                  <a:gd name="connsiteY64" fmla="*/ 242386 h 919148"/>
                  <a:gd name="connsiteX65" fmla="*/ 533763 w 638821"/>
                  <a:gd name="connsiteY65" fmla="*/ 250482 h 919148"/>
                  <a:gd name="connsiteX66" fmla="*/ 533763 w 638821"/>
                  <a:gd name="connsiteY66" fmla="*/ 276389 h 919148"/>
                  <a:gd name="connsiteX67" fmla="*/ 546484 w 638821"/>
                  <a:gd name="connsiteY67" fmla="*/ 280707 h 919148"/>
                  <a:gd name="connsiteX68" fmla="*/ 554228 w 638821"/>
                  <a:gd name="connsiteY68" fmla="*/ 302295 h 919148"/>
                  <a:gd name="connsiteX69" fmla="*/ 551462 w 638821"/>
                  <a:gd name="connsiteY69" fmla="*/ 328202 h 919148"/>
                  <a:gd name="connsiteX70" fmla="*/ 579670 w 638821"/>
                  <a:gd name="connsiteY70" fmla="*/ 338457 h 919148"/>
                  <a:gd name="connsiteX71" fmla="*/ 596263 w 638821"/>
                  <a:gd name="connsiteY71" fmla="*/ 353569 h 919148"/>
                  <a:gd name="connsiteX72" fmla="*/ 608431 w 638821"/>
                  <a:gd name="connsiteY72" fmla="*/ 343314 h 919148"/>
                  <a:gd name="connsiteX73" fmla="*/ 637745 w 638821"/>
                  <a:gd name="connsiteY73" fmla="*/ 366523 h 919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638821" h="919148">
                    <a:moveTo>
                      <a:pt x="637745" y="366523"/>
                    </a:moveTo>
                    <a:lnTo>
                      <a:pt x="637745" y="914881"/>
                    </a:lnTo>
                    <a:lnTo>
                      <a:pt x="582435" y="918660"/>
                    </a:lnTo>
                    <a:lnTo>
                      <a:pt x="554228" y="827986"/>
                    </a:lnTo>
                    <a:lnTo>
                      <a:pt x="498365" y="848495"/>
                    </a:lnTo>
                    <a:lnTo>
                      <a:pt x="477901" y="817731"/>
                    </a:lnTo>
                    <a:lnTo>
                      <a:pt x="314739" y="812874"/>
                    </a:lnTo>
                    <a:lnTo>
                      <a:pt x="157108" y="794523"/>
                    </a:lnTo>
                    <a:lnTo>
                      <a:pt x="89630" y="802079"/>
                    </a:lnTo>
                    <a:lnTo>
                      <a:pt x="-1077" y="687658"/>
                    </a:lnTo>
                    <a:lnTo>
                      <a:pt x="149917" y="477706"/>
                    </a:lnTo>
                    <a:lnTo>
                      <a:pt x="156554" y="435067"/>
                    </a:lnTo>
                    <a:lnTo>
                      <a:pt x="132218" y="358966"/>
                    </a:lnTo>
                    <a:lnTo>
                      <a:pt x="133878" y="325504"/>
                    </a:lnTo>
                    <a:lnTo>
                      <a:pt x="127241" y="303375"/>
                    </a:lnTo>
                    <a:lnTo>
                      <a:pt x="107882" y="281246"/>
                    </a:lnTo>
                    <a:lnTo>
                      <a:pt x="96821" y="235910"/>
                    </a:lnTo>
                    <a:lnTo>
                      <a:pt x="98480" y="224575"/>
                    </a:lnTo>
                    <a:lnTo>
                      <a:pt x="129453" y="193271"/>
                    </a:lnTo>
                    <a:lnTo>
                      <a:pt x="154895" y="111773"/>
                    </a:lnTo>
                    <a:lnTo>
                      <a:pt x="169276" y="94502"/>
                    </a:lnTo>
                    <a:lnTo>
                      <a:pt x="177572" y="64817"/>
                    </a:lnTo>
                    <a:lnTo>
                      <a:pt x="189187" y="64278"/>
                    </a:lnTo>
                    <a:lnTo>
                      <a:pt x="203014" y="48086"/>
                    </a:lnTo>
                    <a:lnTo>
                      <a:pt x="218501" y="47546"/>
                    </a:lnTo>
                    <a:lnTo>
                      <a:pt x="227903" y="43768"/>
                    </a:lnTo>
                    <a:lnTo>
                      <a:pt x="243390" y="43768"/>
                    </a:lnTo>
                    <a:lnTo>
                      <a:pt x="272704" y="32434"/>
                    </a:lnTo>
                    <a:lnTo>
                      <a:pt x="281553" y="16782"/>
                    </a:lnTo>
                    <a:lnTo>
                      <a:pt x="289850" y="12464"/>
                    </a:lnTo>
                    <a:lnTo>
                      <a:pt x="302018" y="13004"/>
                    </a:lnTo>
                    <a:lnTo>
                      <a:pt x="306442" y="22179"/>
                    </a:lnTo>
                    <a:lnTo>
                      <a:pt x="305889" y="31894"/>
                    </a:lnTo>
                    <a:lnTo>
                      <a:pt x="311420" y="36752"/>
                    </a:lnTo>
                    <a:lnTo>
                      <a:pt x="320270" y="39990"/>
                    </a:lnTo>
                    <a:lnTo>
                      <a:pt x="323035" y="27576"/>
                    </a:lnTo>
                    <a:lnTo>
                      <a:pt x="338522" y="590"/>
                    </a:lnTo>
                    <a:lnTo>
                      <a:pt x="347371" y="-489"/>
                    </a:lnTo>
                    <a:lnTo>
                      <a:pt x="366176" y="5448"/>
                    </a:lnTo>
                    <a:lnTo>
                      <a:pt x="372260" y="35132"/>
                    </a:lnTo>
                    <a:lnTo>
                      <a:pt x="384428" y="31894"/>
                    </a:lnTo>
                    <a:lnTo>
                      <a:pt x="393278" y="35132"/>
                    </a:lnTo>
                    <a:lnTo>
                      <a:pt x="397149" y="52943"/>
                    </a:lnTo>
                    <a:lnTo>
                      <a:pt x="410424" y="65897"/>
                    </a:lnTo>
                    <a:lnTo>
                      <a:pt x="417614" y="60499"/>
                    </a:lnTo>
                    <a:lnTo>
                      <a:pt x="428676" y="61579"/>
                    </a:lnTo>
                    <a:lnTo>
                      <a:pt x="454118" y="102598"/>
                    </a:lnTo>
                    <a:lnTo>
                      <a:pt x="465180" y="92883"/>
                    </a:lnTo>
                    <a:lnTo>
                      <a:pt x="498365" y="102598"/>
                    </a:lnTo>
                    <a:lnTo>
                      <a:pt x="517724" y="83168"/>
                    </a:lnTo>
                    <a:lnTo>
                      <a:pt x="526020" y="84247"/>
                    </a:lnTo>
                    <a:lnTo>
                      <a:pt x="541507" y="72913"/>
                    </a:lnTo>
                    <a:lnTo>
                      <a:pt x="535423" y="91803"/>
                    </a:lnTo>
                    <a:lnTo>
                      <a:pt x="526020" y="103677"/>
                    </a:lnTo>
                    <a:lnTo>
                      <a:pt x="527679" y="124727"/>
                    </a:lnTo>
                    <a:lnTo>
                      <a:pt x="546484" y="137140"/>
                    </a:lnTo>
                    <a:lnTo>
                      <a:pt x="549803" y="148474"/>
                    </a:lnTo>
                    <a:lnTo>
                      <a:pt x="557546" y="151173"/>
                    </a:lnTo>
                    <a:lnTo>
                      <a:pt x="559759" y="161428"/>
                    </a:lnTo>
                    <a:lnTo>
                      <a:pt x="557546" y="167904"/>
                    </a:lnTo>
                    <a:lnTo>
                      <a:pt x="543166" y="174921"/>
                    </a:lnTo>
                    <a:lnTo>
                      <a:pt x="544272" y="199208"/>
                    </a:lnTo>
                    <a:lnTo>
                      <a:pt x="537635" y="202986"/>
                    </a:lnTo>
                    <a:lnTo>
                      <a:pt x="534316" y="227274"/>
                    </a:lnTo>
                    <a:lnTo>
                      <a:pt x="544825" y="242386"/>
                    </a:lnTo>
                    <a:lnTo>
                      <a:pt x="533763" y="250482"/>
                    </a:lnTo>
                    <a:lnTo>
                      <a:pt x="533763" y="276389"/>
                    </a:lnTo>
                    <a:lnTo>
                      <a:pt x="546484" y="280707"/>
                    </a:lnTo>
                    <a:lnTo>
                      <a:pt x="554228" y="302295"/>
                    </a:lnTo>
                    <a:lnTo>
                      <a:pt x="551462" y="328202"/>
                    </a:lnTo>
                    <a:lnTo>
                      <a:pt x="579670" y="338457"/>
                    </a:lnTo>
                    <a:lnTo>
                      <a:pt x="596263" y="353569"/>
                    </a:lnTo>
                    <a:lnTo>
                      <a:pt x="608431" y="343314"/>
                    </a:lnTo>
                    <a:lnTo>
                      <a:pt x="637745" y="366523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5" name="Freeform 1077">
                <a:extLst>
                  <a:ext uri="{FF2B5EF4-FFF2-40B4-BE49-F238E27FC236}">
                    <a16:creationId xmlns:a16="http://schemas.microsoft.com/office/drawing/2014/main" id="{6C9385E3-D36C-4C52-A6AA-6726E488A8E2}"/>
                  </a:ext>
                </a:extLst>
              </p:cNvPr>
              <p:cNvSpPr/>
              <p:nvPr/>
            </p:nvSpPr>
            <p:spPr>
              <a:xfrm>
                <a:off x="8879165" y="5430219"/>
                <a:ext cx="125551" cy="301705"/>
              </a:xfrm>
              <a:custGeom>
                <a:avLst/>
                <a:gdLst>
                  <a:gd name="connsiteX0" fmla="*/ 67583 w 125551"/>
                  <a:gd name="connsiteY0" fmla="*/ -555 h 301705"/>
                  <a:gd name="connsiteX1" fmla="*/ 72560 w 125551"/>
                  <a:gd name="connsiteY1" fmla="*/ 17796 h 301705"/>
                  <a:gd name="connsiteX2" fmla="*/ 73667 w 125551"/>
                  <a:gd name="connsiteY2" fmla="*/ 28590 h 301705"/>
                  <a:gd name="connsiteX3" fmla="*/ 78091 w 125551"/>
                  <a:gd name="connsiteY3" fmla="*/ 42083 h 301705"/>
                  <a:gd name="connsiteX4" fmla="*/ 78644 w 125551"/>
                  <a:gd name="connsiteY4" fmla="*/ 67450 h 301705"/>
                  <a:gd name="connsiteX5" fmla="*/ 78644 w 125551"/>
                  <a:gd name="connsiteY5" fmla="*/ 71228 h 301705"/>
                  <a:gd name="connsiteX6" fmla="*/ 83622 w 125551"/>
                  <a:gd name="connsiteY6" fmla="*/ 81483 h 301705"/>
                  <a:gd name="connsiteX7" fmla="*/ 88047 w 125551"/>
                  <a:gd name="connsiteY7" fmla="*/ 102532 h 301705"/>
                  <a:gd name="connsiteX8" fmla="*/ 79197 w 125551"/>
                  <a:gd name="connsiteY8" fmla="*/ 104151 h 301705"/>
                  <a:gd name="connsiteX9" fmla="*/ 70901 w 125551"/>
                  <a:gd name="connsiteY9" fmla="*/ 96055 h 301705"/>
                  <a:gd name="connsiteX10" fmla="*/ 55415 w 125551"/>
                  <a:gd name="connsiteY10" fmla="*/ 96055 h 301705"/>
                  <a:gd name="connsiteX11" fmla="*/ 47671 w 125551"/>
                  <a:gd name="connsiteY11" fmla="*/ 104151 h 301705"/>
                  <a:gd name="connsiteX12" fmla="*/ 41587 w 125551"/>
                  <a:gd name="connsiteY12" fmla="*/ 143011 h 301705"/>
                  <a:gd name="connsiteX13" fmla="*/ 43800 w 125551"/>
                  <a:gd name="connsiteY13" fmla="*/ 153266 h 301705"/>
                  <a:gd name="connsiteX14" fmla="*/ 57074 w 125551"/>
                  <a:gd name="connsiteY14" fmla="*/ 173236 h 301705"/>
                  <a:gd name="connsiteX15" fmla="*/ 54861 w 125551"/>
                  <a:gd name="connsiteY15" fmla="*/ 184570 h 301705"/>
                  <a:gd name="connsiteX16" fmla="*/ 75879 w 125551"/>
                  <a:gd name="connsiteY16" fmla="*/ 180792 h 301705"/>
                  <a:gd name="connsiteX17" fmla="*/ 80857 w 125551"/>
                  <a:gd name="connsiteY17" fmla="*/ 187269 h 301705"/>
                  <a:gd name="connsiteX18" fmla="*/ 61499 w 125551"/>
                  <a:gd name="connsiteY18" fmla="*/ 213175 h 301705"/>
                  <a:gd name="connsiteX19" fmla="*/ 63711 w 125551"/>
                  <a:gd name="connsiteY19" fmla="*/ 243400 h 301705"/>
                  <a:gd name="connsiteX20" fmla="*/ 91366 w 125551"/>
                  <a:gd name="connsiteY20" fmla="*/ 234764 h 301705"/>
                  <a:gd name="connsiteX21" fmla="*/ 102427 w 125551"/>
                  <a:gd name="connsiteY21" fmla="*/ 215334 h 301705"/>
                  <a:gd name="connsiteX22" fmla="*/ 110724 w 125551"/>
                  <a:gd name="connsiteY22" fmla="*/ 213715 h 301705"/>
                  <a:gd name="connsiteX23" fmla="*/ 116808 w 125551"/>
                  <a:gd name="connsiteY23" fmla="*/ 253655 h 301705"/>
                  <a:gd name="connsiteX24" fmla="*/ 120126 w 125551"/>
                  <a:gd name="connsiteY24" fmla="*/ 270926 h 301705"/>
                  <a:gd name="connsiteX25" fmla="*/ 124551 w 125551"/>
                  <a:gd name="connsiteY25" fmla="*/ 288197 h 301705"/>
                  <a:gd name="connsiteX26" fmla="*/ 122339 w 125551"/>
                  <a:gd name="connsiteY26" fmla="*/ 301150 h 301705"/>
                  <a:gd name="connsiteX27" fmla="*/ 19464 w 125551"/>
                  <a:gd name="connsiteY27" fmla="*/ 301150 h 301705"/>
                  <a:gd name="connsiteX28" fmla="*/ 10061 w 125551"/>
                  <a:gd name="connsiteY28" fmla="*/ 286038 h 301705"/>
                  <a:gd name="connsiteX29" fmla="*/ 24994 w 125551"/>
                  <a:gd name="connsiteY29" fmla="*/ 241241 h 301705"/>
                  <a:gd name="connsiteX30" fmla="*/ 15039 w 125551"/>
                  <a:gd name="connsiteY30" fmla="*/ 227748 h 301705"/>
                  <a:gd name="connsiteX31" fmla="*/ 22782 w 125551"/>
                  <a:gd name="connsiteY31" fmla="*/ 118184 h 301705"/>
                  <a:gd name="connsiteX32" fmla="*/ 18910 w 125551"/>
                  <a:gd name="connsiteY32" fmla="*/ 89039 h 301705"/>
                  <a:gd name="connsiteX33" fmla="*/ 16145 w 125551"/>
                  <a:gd name="connsiteY33" fmla="*/ 74466 h 301705"/>
                  <a:gd name="connsiteX34" fmla="*/ 24994 w 125551"/>
                  <a:gd name="connsiteY34" fmla="*/ 67990 h 301705"/>
                  <a:gd name="connsiteX35" fmla="*/ 23335 w 125551"/>
                  <a:gd name="connsiteY35" fmla="*/ 37765 h 301705"/>
                  <a:gd name="connsiteX36" fmla="*/ 54308 w 125551"/>
                  <a:gd name="connsiteY36" fmla="*/ 23732 h 301705"/>
                  <a:gd name="connsiteX37" fmla="*/ 61499 w 125551"/>
                  <a:gd name="connsiteY37" fmla="*/ 524 h 301705"/>
                  <a:gd name="connsiteX38" fmla="*/ 67583 w 125551"/>
                  <a:gd name="connsiteY38" fmla="*/ -555 h 301705"/>
                  <a:gd name="connsiteX39" fmla="*/ 88047 w 125551"/>
                  <a:gd name="connsiteY39" fmla="*/ 102532 h 301705"/>
                  <a:gd name="connsiteX40" fmla="*/ 93025 w 125551"/>
                  <a:gd name="connsiteY40" fmla="*/ 131137 h 301705"/>
                  <a:gd name="connsiteX41" fmla="*/ 100215 w 125551"/>
                  <a:gd name="connsiteY41" fmla="*/ 165140 h 301705"/>
                  <a:gd name="connsiteX42" fmla="*/ 110724 w 125551"/>
                  <a:gd name="connsiteY42" fmla="*/ 213715 h 301705"/>
                  <a:gd name="connsiteX43" fmla="*/ 102427 w 125551"/>
                  <a:gd name="connsiteY43" fmla="*/ 215334 h 301705"/>
                  <a:gd name="connsiteX44" fmla="*/ 91366 w 125551"/>
                  <a:gd name="connsiteY44" fmla="*/ 234764 h 301705"/>
                  <a:gd name="connsiteX45" fmla="*/ 63711 w 125551"/>
                  <a:gd name="connsiteY45" fmla="*/ 243400 h 301705"/>
                  <a:gd name="connsiteX46" fmla="*/ 61499 w 125551"/>
                  <a:gd name="connsiteY46" fmla="*/ 213175 h 301705"/>
                  <a:gd name="connsiteX47" fmla="*/ 80857 w 125551"/>
                  <a:gd name="connsiteY47" fmla="*/ 187269 h 301705"/>
                  <a:gd name="connsiteX48" fmla="*/ 75879 w 125551"/>
                  <a:gd name="connsiteY48" fmla="*/ 180792 h 301705"/>
                  <a:gd name="connsiteX49" fmla="*/ 54861 w 125551"/>
                  <a:gd name="connsiteY49" fmla="*/ 184570 h 301705"/>
                  <a:gd name="connsiteX50" fmla="*/ 57074 w 125551"/>
                  <a:gd name="connsiteY50" fmla="*/ 173236 h 301705"/>
                  <a:gd name="connsiteX51" fmla="*/ 43800 w 125551"/>
                  <a:gd name="connsiteY51" fmla="*/ 153266 h 301705"/>
                  <a:gd name="connsiteX52" fmla="*/ 41587 w 125551"/>
                  <a:gd name="connsiteY52" fmla="*/ 143011 h 301705"/>
                  <a:gd name="connsiteX53" fmla="*/ 47671 w 125551"/>
                  <a:gd name="connsiteY53" fmla="*/ 104151 h 301705"/>
                  <a:gd name="connsiteX54" fmla="*/ 55415 w 125551"/>
                  <a:gd name="connsiteY54" fmla="*/ 96055 h 301705"/>
                  <a:gd name="connsiteX55" fmla="*/ 70901 w 125551"/>
                  <a:gd name="connsiteY55" fmla="*/ 96055 h 301705"/>
                  <a:gd name="connsiteX56" fmla="*/ 79197 w 125551"/>
                  <a:gd name="connsiteY56" fmla="*/ 104151 h 301705"/>
                  <a:gd name="connsiteX57" fmla="*/ 88047 w 125551"/>
                  <a:gd name="connsiteY57" fmla="*/ 102532 h 301705"/>
                  <a:gd name="connsiteX58" fmla="*/ -1001 w 125551"/>
                  <a:gd name="connsiteY58" fmla="*/ 275244 h 301705"/>
                  <a:gd name="connsiteX59" fmla="*/ 15039 w 125551"/>
                  <a:gd name="connsiteY59" fmla="*/ 227748 h 301705"/>
                  <a:gd name="connsiteX60" fmla="*/ 24994 w 125551"/>
                  <a:gd name="connsiteY60" fmla="*/ 241241 h 301705"/>
                  <a:gd name="connsiteX61" fmla="*/ 10061 w 125551"/>
                  <a:gd name="connsiteY61" fmla="*/ 286038 h 301705"/>
                  <a:gd name="connsiteX62" fmla="*/ -1001 w 125551"/>
                  <a:gd name="connsiteY62" fmla="*/ 275244 h 301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125551" h="301705">
                    <a:moveTo>
                      <a:pt x="67583" y="-555"/>
                    </a:moveTo>
                    <a:cubicBezTo>
                      <a:pt x="69242" y="4302"/>
                      <a:pt x="71454" y="12938"/>
                      <a:pt x="72560" y="17796"/>
                    </a:cubicBezTo>
                    <a:cubicBezTo>
                      <a:pt x="73667" y="21034"/>
                      <a:pt x="73113" y="25891"/>
                      <a:pt x="73667" y="28590"/>
                    </a:cubicBezTo>
                    <a:cubicBezTo>
                      <a:pt x="74773" y="32368"/>
                      <a:pt x="77538" y="38305"/>
                      <a:pt x="78091" y="42083"/>
                    </a:cubicBezTo>
                    <a:cubicBezTo>
                      <a:pt x="78644" y="49099"/>
                      <a:pt x="78644" y="60434"/>
                      <a:pt x="78644" y="67450"/>
                    </a:cubicBezTo>
                    <a:lnTo>
                      <a:pt x="78644" y="71228"/>
                    </a:lnTo>
                    <a:cubicBezTo>
                      <a:pt x="79751" y="73927"/>
                      <a:pt x="83069" y="78245"/>
                      <a:pt x="83622" y="81483"/>
                    </a:cubicBezTo>
                    <a:cubicBezTo>
                      <a:pt x="85282" y="86880"/>
                      <a:pt x="86941" y="96595"/>
                      <a:pt x="88047" y="102532"/>
                    </a:cubicBezTo>
                    <a:lnTo>
                      <a:pt x="79197" y="104151"/>
                    </a:lnTo>
                    <a:lnTo>
                      <a:pt x="70901" y="96055"/>
                    </a:lnTo>
                    <a:lnTo>
                      <a:pt x="55415" y="96055"/>
                    </a:lnTo>
                    <a:lnTo>
                      <a:pt x="47671" y="104151"/>
                    </a:lnTo>
                    <a:lnTo>
                      <a:pt x="41587" y="143011"/>
                    </a:lnTo>
                    <a:lnTo>
                      <a:pt x="43800" y="153266"/>
                    </a:lnTo>
                    <a:lnTo>
                      <a:pt x="57074" y="173236"/>
                    </a:lnTo>
                    <a:lnTo>
                      <a:pt x="54861" y="184570"/>
                    </a:lnTo>
                    <a:lnTo>
                      <a:pt x="75879" y="180792"/>
                    </a:lnTo>
                    <a:lnTo>
                      <a:pt x="80857" y="187269"/>
                    </a:lnTo>
                    <a:lnTo>
                      <a:pt x="61499" y="213175"/>
                    </a:lnTo>
                    <a:lnTo>
                      <a:pt x="63711" y="243400"/>
                    </a:lnTo>
                    <a:lnTo>
                      <a:pt x="91366" y="234764"/>
                    </a:lnTo>
                    <a:lnTo>
                      <a:pt x="102427" y="215334"/>
                    </a:lnTo>
                    <a:lnTo>
                      <a:pt x="110724" y="213715"/>
                    </a:lnTo>
                    <a:lnTo>
                      <a:pt x="116808" y="253655"/>
                    </a:lnTo>
                    <a:cubicBezTo>
                      <a:pt x="117361" y="259052"/>
                      <a:pt x="118467" y="266068"/>
                      <a:pt x="120126" y="270926"/>
                    </a:cubicBezTo>
                    <a:cubicBezTo>
                      <a:pt x="121786" y="276323"/>
                      <a:pt x="124551" y="282260"/>
                      <a:pt x="124551" y="288197"/>
                    </a:cubicBezTo>
                    <a:cubicBezTo>
                      <a:pt x="123998" y="292515"/>
                      <a:pt x="123445" y="296832"/>
                      <a:pt x="122339" y="301150"/>
                    </a:cubicBezTo>
                    <a:lnTo>
                      <a:pt x="19464" y="301150"/>
                    </a:lnTo>
                    <a:lnTo>
                      <a:pt x="10061" y="286038"/>
                    </a:lnTo>
                    <a:lnTo>
                      <a:pt x="24994" y="241241"/>
                    </a:lnTo>
                    <a:lnTo>
                      <a:pt x="15039" y="227748"/>
                    </a:lnTo>
                    <a:cubicBezTo>
                      <a:pt x="24441" y="194285"/>
                      <a:pt x="24994" y="152726"/>
                      <a:pt x="22782" y="118184"/>
                    </a:cubicBezTo>
                    <a:cubicBezTo>
                      <a:pt x="21676" y="108469"/>
                      <a:pt x="20017" y="98754"/>
                      <a:pt x="18910" y="89039"/>
                    </a:cubicBezTo>
                    <a:cubicBezTo>
                      <a:pt x="18357" y="84721"/>
                      <a:pt x="16145" y="78784"/>
                      <a:pt x="16145" y="74466"/>
                    </a:cubicBezTo>
                    <a:cubicBezTo>
                      <a:pt x="16698" y="65831"/>
                      <a:pt x="22782" y="70688"/>
                      <a:pt x="24994" y="67990"/>
                    </a:cubicBezTo>
                    <a:cubicBezTo>
                      <a:pt x="27760" y="64751"/>
                      <a:pt x="24441" y="42623"/>
                      <a:pt x="23335" y="37765"/>
                    </a:cubicBezTo>
                    <a:lnTo>
                      <a:pt x="54308" y="23732"/>
                    </a:lnTo>
                    <a:lnTo>
                      <a:pt x="61499" y="524"/>
                    </a:lnTo>
                    <a:lnTo>
                      <a:pt x="67583" y="-555"/>
                    </a:lnTo>
                    <a:close/>
                    <a:moveTo>
                      <a:pt x="88047" y="102532"/>
                    </a:moveTo>
                    <a:cubicBezTo>
                      <a:pt x="90259" y="111707"/>
                      <a:pt x="91366" y="121422"/>
                      <a:pt x="93025" y="131137"/>
                    </a:cubicBezTo>
                    <a:cubicBezTo>
                      <a:pt x="95790" y="142472"/>
                      <a:pt x="98556" y="153266"/>
                      <a:pt x="100215" y="165140"/>
                    </a:cubicBezTo>
                    <a:lnTo>
                      <a:pt x="110724" y="213715"/>
                    </a:lnTo>
                    <a:lnTo>
                      <a:pt x="102427" y="215334"/>
                    </a:lnTo>
                    <a:lnTo>
                      <a:pt x="91366" y="234764"/>
                    </a:lnTo>
                    <a:lnTo>
                      <a:pt x="63711" y="243400"/>
                    </a:lnTo>
                    <a:lnTo>
                      <a:pt x="61499" y="213175"/>
                    </a:lnTo>
                    <a:lnTo>
                      <a:pt x="80857" y="187269"/>
                    </a:lnTo>
                    <a:lnTo>
                      <a:pt x="75879" y="180792"/>
                    </a:lnTo>
                    <a:lnTo>
                      <a:pt x="54861" y="184570"/>
                    </a:lnTo>
                    <a:lnTo>
                      <a:pt x="57074" y="173236"/>
                    </a:lnTo>
                    <a:lnTo>
                      <a:pt x="43800" y="153266"/>
                    </a:lnTo>
                    <a:lnTo>
                      <a:pt x="41587" y="143011"/>
                    </a:lnTo>
                    <a:lnTo>
                      <a:pt x="47671" y="104151"/>
                    </a:lnTo>
                    <a:lnTo>
                      <a:pt x="55415" y="96055"/>
                    </a:lnTo>
                    <a:lnTo>
                      <a:pt x="70901" y="96055"/>
                    </a:lnTo>
                    <a:lnTo>
                      <a:pt x="79197" y="104151"/>
                    </a:lnTo>
                    <a:lnTo>
                      <a:pt x="88047" y="102532"/>
                    </a:lnTo>
                    <a:close/>
                    <a:moveTo>
                      <a:pt x="-1001" y="275244"/>
                    </a:moveTo>
                    <a:cubicBezTo>
                      <a:pt x="8402" y="263909"/>
                      <a:pt x="11167" y="241781"/>
                      <a:pt x="15039" y="227748"/>
                    </a:cubicBezTo>
                    <a:lnTo>
                      <a:pt x="24994" y="241241"/>
                    </a:lnTo>
                    <a:lnTo>
                      <a:pt x="10061" y="286038"/>
                    </a:lnTo>
                    <a:lnTo>
                      <a:pt x="-1001" y="275244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6" name="Freeform 1078">
                <a:extLst>
                  <a:ext uri="{FF2B5EF4-FFF2-40B4-BE49-F238E27FC236}">
                    <a16:creationId xmlns:a16="http://schemas.microsoft.com/office/drawing/2014/main" id="{71605137-6BCD-405B-87A4-6CB1C9BB477F}"/>
                  </a:ext>
                </a:extLst>
              </p:cNvPr>
              <p:cNvSpPr/>
              <p:nvPr/>
            </p:nvSpPr>
            <p:spPr>
              <a:xfrm>
                <a:off x="4856749" y="3202054"/>
                <a:ext cx="345460" cy="410668"/>
              </a:xfrm>
              <a:custGeom>
                <a:avLst/>
                <a:gdLst>
                  <a:gd name="connsiteX0" fmla="*/ 81676 w 345460"/>
                  <a:gd name="connsiteY0" fmla="*/ 120808 h 410668"/>
                  <a:gd name="connsiteX1" fmla="*/ 78358 w 345460"/>
                  <a:gd name="connsiteY1" fmla="*/ 120808 h 410668"/>
                  <a:gd name="connsiteX2" fmla="*/ 75039 w 345460"/>
                  <a:gd name="connsiteY2" fmla="*/ 114871 h 410668"/>
                  <a:gd name="connsiteX3" fmla="*/ 68402 w 345460"/>
                  <a:gd name="connsiteY3" fmla="*/ 110014 h 410668"/>
                  <a:gd name="connsiteX4" fmla="*/ 68402 w 345460"/>
                  <a:gd name="connsiteY4" fmla="*/ 105696 h 410668"/>
                  <a:gd name="connsiteX5" fmla="*/ 81123 w 345460"/>
                  <a:gd name="connsiteY5" fmla="*/ 102458 h 410668"/>
                  <a:gd name="connsiteX6" fmla="*/ 81676 w 345460"/>
                  <a:gd name="connsiteY6" fmla="*/ 120808 h 410668"/>
                  <a:gd name="connsiteX7" fmla="*/ 303466 w 345460"/>
                  <a:gd name="connsiteY7" fmla="*/ 27976 h 410668"/>
                  <a:gd name="connsiteX8" fmla="*/ 286873 w 345460"/>
                  <a:gd name="connsiteY8" fmla="*/ 36611 h 410668"/>
                  <a:gd name="connsiteX9" fmla="*/ 274705 w 345460"/>
                  <a:gd name="connsiteY9" fmla="*/ 58740 h 410668"/>
                  <a:gd name="connsiteX10" fmla="*/ 261984 w 345460"/>
                  <a:gd name="connsiteY10" fmla="*/ 63597 h 410668"/>
                  <a:gd name="connsiteX11" fmla="*/ 256453 w 345460"/>
                  <a:gd name="connsiteY11" fmla="*/ 59280 h 410668"/>
                  <a:gd name="connsiteX12" fmla="*/ 250369 w 345460"/>
                  <a:gd name="connsiteY12" fmla="*/ 59819 h 410668"/>
                  <a:gd name="connsiteX13" fmla="*/ 249816 w 345460"/>
                  <a:gd name="connsiteY13" fmla="*/ 67375 h 410668"/>
                  <a:gd name="connsiteX14" fmla="*/ 256453 w 345460"/>
                  <a:gd name="connsiteY14" fmla="*/ 73312 h 410668"/>
                  <a:gd name="connsiteX15" fmla="*/ 248157 w 345460"/>
                  <a:gd name="connsiteY15" fmla="*/ 81408 h 410668"/>
                  <a:gd name="connsiteX16" fmla="*/ 240967 w 345460"/>
                  <a:gd name="connsiteY16" fmla="*/ 77091 h 410668"/>
                  <a:gd name="connsiteX17" fmla="*/ 228246 w 345460"/>
                  <a:gd name="connsiteY17" fmla="*/ 85726 h 410668"/>
                  <a:gd name="connsiteX18" fmla="*/ 229352 w 345460"/>
                  <a:gd name="connsiteY18" fmla="*/ 94901 h 410668"/>
                  <a:gd name="connsiteX19" fmla="*/ 238754 w 345460"/>
                  <a:gd name="connsiteY19" fmla="*/ 115411 h 410668"/>
                  <a:gd name="connsiteX20" fmla="*/ 249816 w 345460"/>
                  <a:gd name="connsiteY20" fmla="*/ 120808 h 410668"/>
                  <a:gd name="connsiteX21" fmla="*/ 255347 w 345460"/>
                  <a:gd name="connsiteY21" fmla="*/ 126745 h 410668"/>
                  <a:gd name="connsiteX22" fmla="*/ 269728 w 345460"/>
                  <a:gd name="connsiteY22" fmla="*/ 128904 h 410668"/>
                  <a:gd name="connsiteX23" fmla="*/ 277471 w 345460"/>
                  <a:gd name="connsiteY23" fmla="*/ 136460 h 410668"/>
                  <a:gd name="connsiteX24" fmla="*/ 286873 w 345460"/>
                  <a:gd name="connsiteY24" fmla="*/ 127824 h 410668"/>
                  <a:gd name="connsiteX25" fmla="*/ 287427 w 345460"/>
                  <a:gd name="connsiteY25" fmla="*/ 114871 h 410668"/>
                  <a:gd name="connsiteX26" fmla="*/ 299041 w 345460"/>
                  <a:gd name="connsiteY26" fmla="*/ 104077 h 410668"/>
                  <a:gd name="connsiteX27" fmla="*/ 310656 w 345460"/>
                  <a:gd name="connsiteY27" fmla="*/ 119729 h 410668"/>
                  <a:gd name="connsiteX28" fmla="*/ 310103 w 345460"/>
                  <a:gd name="connsiteY28" fmla="*/ 128364 h 410668"/>
                  <a:gd name="connsiteX29" fmla="*/ 321165 w 345460"/>
                  <a:gd name="connsiteY29" fmla="*/ 137000 h 410668"/>
                  <a:gd name="connsiteX30" fmla="*/ 321718 w 345460"/>
                  <a:gd name="connsiteY30" fmla="*/ 154811 h 410668"/>
                  <a:gd name="connsiteX31" fmla="*/ 344948 w 345460"/>
                  <a:gd name="connsiteY31" fmla="*/ 155890 h 410668"/>
                  <a:gd name="connsiteX32" fmla="*/ 344395 w 345460"/>
                  <a:gd name="connsiteY32" fmla="*/ 163986 h 410668"/>
                  <a:gd name="connsiteX33" fmla="*/ 334439 w 345460"/>
                  <a:gd name="connsiteY33" fmla="*/ 168304 h 410668"/>
                  <a:gd name="connsiteX34" fmla="*/ 340523 w 345460"/>
                  <a:gd name="connsiteY34" fmla="*/ 193131 h 410668"/>
                  <a:gd name="connsiteX35" fmla="*/ 338864 w 345460"/>
                  <a:gd name="connsiteY35" fmla="*/ 210942 h 410668"/>
                  <a:gd name="connsiteX36" fmla="*/ 339417 w 345460"/>
                  <a:gd name="connsiteY36" fmla="*/ 223895 h 410668"/>
                  <a:gd name="connsiteX37" fmla="*/ 333886 w 345460"/>
                  <a:gd name="connsiteY37" fmla="*/ 242786 h 410668"/>
                  <a:gd name="connsiteX38" fmla="*/ 334992 w 345460"/>
                  <a:gd name="connsiteY38" fmla="*/ 285424 h 410668"/>
                  <a:gd name="connsiteX39" fmla="*/ 315634 w 345460"/>
                  <a:gd name="connsiteY39" fmla="*/ 317807 h 410668"/>
                  <a:gd name="connsiteX40" fmla="*/ 306785 w 345460"/>
                  <a:gd name="connsiteY40" fmla="*/ 341015 h 410668"/>
                  <a:gd name="connsiteX41" fmla="*/ 301254 w 345460"/>
                  <a:gd name="connsiteY41" fmla="*/ 350730 h 410668"/>
                  <a:gd name="connsiteX42" fmla="*/ 294064 w 345460"/>
                  <a:gd name="connsiteY42" fmla="*/ 367462 h 410668"/>
                  <a:gd name="connsiteX43" fmla="*/ 270834 w 345460"/>
                  <a:gd name="connsiteY43" fmla="*/ 370160 h 410668"/>
                  <a:gd name="connsiteX44" fmla="*/ 265303 w 345460"/>
                  <a:gd name="connsiteY44" fmla="*/ 364763 h 410668"/>
                  <a:gd name="connsiteX45" fmla="*/ 262537 w 345460"/>
                  <a:gd name="connsiteY45" fmla="*/ 364763 h 410668"/>
                  <a:gd name="connsiteX46" fmla="*/ 255347 w 345460"/>
                  <a:gd name="connsiteY46" fmla="*/ 372859 h 410668"/>
                  <a:gd name="connsiteX47" fmla="*/ 249816 w 345460"/>
                  <a:gd name="connsiteY47" fmla="*/ 368541 h 410668"/>
                  <a:gd name="connsiteX48" fmla="*/ 247051 w 345460"/>
                  <a:gd name="connsiteY48" fmla="*/ 368541 h 410668"/>
                  <a:gd name="connsiteX49" fmla="*/ 242626 w 345460"/>
                  <a:gd name="connsiteY49" fmla="*/ 371240 h 410668"/>
                  <a:gd name="connsiteX50" fmla="*/ 211653 w 345460"/>
                  <a:gd name="connsiteY50" fmla="*/ 365842 h 410668"/>
                  <a:gd name="connsiteX51" fmla="*/ 200591 w 345460"/>
                  <a:gd name="connsiteY51" fmla="*/ 375018 h 410668"/>
                  <a:gd name="connsiteX52" fmla="*/ 181786 w 345460"/>
                  <a:gd name="connsiteY52" fmla="*/ 380955 h 410668"/>
                  <a:gd name="connsiteX53" fmla="*/ 171277 w 345460"/>
                  <a:gd name="connsiteY53" fmla="*/ 388511 h 410668"/>
                  <a:gd name="connsiteX54" fmla="*/ 149707 w 345460"/>
                  <a:gd name="connsiteY54" fmla="*/ 391209 h 410668"/>
                  <a:gd name="connsiteX55" fmla="*/ 147494 w 345460"/>
                  <a:gd name="connsiteY55" fmla="*/ 386892 h 410668"/>
                  <a:gd name="connsiteX56" fmla="*/ 141410 w 345460"/>
                  <a:gd name="connsiteY56" fmla="*/ 386352 h 410668"/>
                  <a:gd name="connsiteX57" fmla="*/ 136985 w 345460"/>
                  <a:gd name="connsiteY57" fmla="*/ 396607 h 410668"/>
                  <a:gd name="connsiteX58" fmla="*/ 125924 w 345460"/>
                  <a:gd name="connsiteY58" fmla="*/ 400924 h 410668"/>
                  <a:gd name="connsiteX59" fmla="*/ 109331 w 345460"/>
                  <a:gd name="connsiteY59" fmla="*/ 409020 h 410668"/>
                  <a:gd name="connsiteX60" fmla="*/ 75592 w 345460"/>
                  <a:gd name="connsiteY60" fmla="*/ 407401 h 410668"/>
                  <a:gd name="connsiteX61" fmla="*/ 57893 w 345460"/>
                  <a:gd name="connsiteY61" fmla="*/ 408481 h 410668"/>
                  <a:gd name="connsiteX62" fmla="*/ 52916 w 345460"/>
                  <a:gd name="connsiteY62" fmla="*/ 403623 h 410668"/>
                  <a:gd name="connsiteX63" fmla="*/ 28026 w 345460"/>
                  <a:gd name="connsiteY63" fmla="*/ 406322 h 410668"/>
                  <a:gd name="connsiteX64" fmla="*/ 51809 w 345460"/>
                  <a:gd name="connsiteY64" fmla="*/ 386892 h 410668"/>
                  <a:gd name="connsiteX65" fmla="*/ 50703 w 345460"/>
                  <a:gd name="connsiteY65" fmla="*/ 384193 h 410668"/>
                  <a:gd name="connsiteX66" fmla="*/ 47385 w 345460"/>
                  <a:gd name="connsiteY66" fmla="*/ 383114 h 410668"/>
                  <a:gd name="connsiteX67" fmla="*/ 26920 w 345460"/>
                  <a:gd name="connsiteY67" fmla="*/ 382574 h 410668"/>
                  <a:gd name="connsiteX68" fmla="*/ 12540 w 345460"/>
                  <a:gd name="connsiteY68" fmla="*/ 385273 h 410668"/>
                  <a:gd name="connsiteX69" fmla="*/ 10327 w 345460"/>
                  <a:gd name="connsiteY69" fmla="*/ 383653 h 410668"/>
                  <a:gd name="connsiteX70" fmla="*/ 37429 w 345460"/>
                  <a:gd name="connsiteY70" fmla="*/ 366382 h 410668"/>
                  <a:gd name="connsiteX71" fmla="*/ 36876 w 345460"/>
                  <a:gd name="connsiteY71" fmla="*/ 364223 h 410668"/>
                  <a:gd name="connsiteX72" fmla="*/ 25814 w 345460"/>
                  <a:gd name="connsiteY72" fmla="*/ 365842 h 410668"/>
                  <a:gd name="connsiteX73" fmla="*/ 15858 w 345460"/>
                  <a:gd name="connsiteY73" fmla="*/ 365303 h 410668"/>
                  <a:gd name="connsiteX74" fmla="*/ 5350 w 345460"/>
                  <a:gd name="connsiteY74" fmla="*/ 357747 h 410668"/>
                  <a:gd name="connsiteX75" fmla="*/ 925 w 345460"/>
                  <a:gd name="connsiteY75" fmla="*/ 355588 h 410668"/>
                  <a:gd name="connsiteX76" fmla="*/ -181 w 345460"/>
                  <a:gd name="connsiteY76" fmla="*/ 347492 h 410668"/>
                  <a:gd name="connsiteX77" fmla="*/ 30792 w 345460"/>
                  <a:gd name="connsiteY77" fmla="*/ 331840 h 410668"/>
                  <a:gd name="connsiteX78" fmla="*/ 30792 w 345460"/>
                  <a:gd name="connsiteY78" fmla="*/ 330760 h 410668"/>
                  <a:gd name="connsiteX79" fmla="*/ 28579 w 345460"/>
                  <a:gd name="connsiteY79" fmla="*/ 328062 h 410668"/>
                  <a:gd name="connsiteX80" fmla="*/ 2031 w 345460"/>
                  <a:gd name="connsiteY80" fmla="*/ 319426 h 410668"/>
                  <a:gd name="connsiteX81" fmla="*/ 6456 w 345460"/>
                  <a:gd name="connsiteY81" fmla="*/ 309711 h 410668"/>
                  <a:gd name="connsiteX82" fmla="*/ 21389 w 345460"/>
                  <a:gd name="connsiteY82" fmla="*/ 304854 h 410668"/>
                  <a:gd name="connsiteX83" fmla="*/ 41301 w 345460"/>
                  <a:gd name="connsiteY83" fmla="*/ 314029 h 410668"/>
                  <a:gd name="connsiteX84" fmla="*/ 47385 w 345460"/>
                  <a:gd name="connsiteY84" fmla="*/ 299996 h 410668"/>
                  <a:gd name="connsiteX85" fmla="*/ 49597 w 345460"/>
                  <a:gd name="connsiteY85" fmla="*/ 296758 h 410668"/>
                  <a:gd name="connsiteX86" fmla="*/ 57340 w 345460"/>
                  <a:gd name="connsiteY86" fmla="*/ 292980 h 410668"/>
                  <a:gd name="connsiteX87" fmla="*/ 71168 w 345460"/>
                  <a:gd name="connsiteY87" fmla="*/ 283265 h 410668"/>
                  <a:gd name="connsiteX88" fmla="*/ 85548 w 345460"/>
                  <a:gd name="connsiteY88" fmla="*/ 287043 h 410668"/>
                  <a:gd name="connsiteX89" fmla="*/ 107672 w 345460"/>
                  <a:gd name="connsiteY89" fmla="*/ 287583 h 410668"/>
                  <a:gd name="connsiteX90" fmla="*/ 132008 w 345460"/>
                  <a:gd name="connsiteY90" fmla="*/ 282725 h 410668"/>
                  <a:gd name="connsiteX91" fmla="*/ 139198 w 345460"/>
                  <a:gd name="connsiteY91" fmla="*/ 282725 h 410668"/>
                  <a:gd name="connsiteX92" fmla="*/ 138645 w 345460"/>
                  <a:gd name="connsiteY92" fmla="*/ 280566 h 410668"/>
                  <a:gd name="connsiteX93" fmla="*/ 92185 w 345460"/>
                  <a:gd name="connsiteY93" fmla="*/ 280566 h 410668"/>
                  <a:gd name="connsiteX94" fmla="*/ 75039 w 345460"/>
                  <a:gd name="connsiteY94" fmla="*/ 276788 h 410668"/>
                  <a:gd name="connsiteX95" fmla="*/ 56234 w 345460"/>
                  <a:gd name="connsiteY95" fmla="*/ 276788 h 410668"/>
                  <a:gd name="connsiteX96" fmla="*/ 54022 w 345460"/>
                  <a:gd name="connsiteY96" fmla="*/ 273550 h 410668"/>
                  <a:gd name="connsiteX97" fmla="*/ 89420 w 345460"/>
                  <a:gd name="connsiteY97" fmla="*/ 257358 h 410668"/>
                  <a:gd name="connsiteX98" fmla="*/ 106565 w 345460"/>
                  <a:gd name="connsiteY98" fmla="*/ 224435 h 410668"/>
                  <a:gd name="connsiteX99" fmla="*/ 134773 w 345460"/>
                  <a:gd name="connsiteY99" fmla="*/ 221197 h 410668"/>
                  <a:gd name="connsiteX100" fmla="*/ 135326 w 345460"/>
                  <a:gd name="connsiteY100" fmla="*/ 219038 h 410668"/>
                  <a:gd name="connsiteX101" fmla="*/ 129242 w 345460"/>
                  <a:gd name="connsiteY101" fmla="*/ 211482 h 410668"/>
                  <a:gd name="connsiteX102" fmla="*/ 92738 w 345460"/>
                  <a:gd name="connsiteY102" fmla="*/ 205545 h 410668"/>
                  <a:gd name="connsiteX103" fmla="*/ 93844 w 345460"/>
                  <a:gd name="connsiteY103" fmla="*/ 191512 h 410668"/>
                  <a:gd name="connsiteX104" fmla="*/ 73933 w 345460"/>
                  <a:gd name="connsiteY104" fmla="*/ 190972 h 410668"/>
                  <a:gd name="connsiteX105" fmla="*/ 72274 w 345460"/>
                  <a:gd name="connsiteY105" fmla="*/ 184495 h 410668"/>
                  <a:gd name="connsiteX106" fmla="*/ 65637 w 345460"/>
                  <a:gd name="connsiteY106" fmla="*/ 178019 h 410668"/>
                  <a:gd name="connsiteX107" fmla="*/ 63977 w 345460"/>
                  <a:gd name="connsiteY107" fmla="*/ 162367 h 410668"/>
                  <a:gd name="connsiteX108" fmla="*/ 80017 w 345460"/>
                  <a:gd name="connsiteY108" fmla="*/ 152652 h 410668"/>
                  <a:gd name="connsiteX109" fmla="*/ 84995 w 345460"/>
                  <a:gd name="connsiteY109" fmla="*/ 140778 h 410668"/>
                  <a:gd name="connsiteX110" fmla="*/ 104353 w 345460"/>
                  <a:gd name="connsiteY110" fmla="*/ 137540 h 410668"/>
                  <a:gd name="connsiteX111" fmla="*/ 107672 w 345460"/>
                  <a:gd name="connsiteY111" fmla="*/ 129444 h 410668"/>
                  <a:gd name="connsiteX112" fmla="*/ 89973 w 345460"/>
                  <a:gd name="connsiteY112" fmla="*/ 123507 h 410668"/>
                  <a:gd name="connsiteX113" fmla="*/ 90526 w 345460"/>
                  <a:gd name="connsiteY113" fmla="*/ 120268 h 410668"/>
                  <a:gd name="connsiteX114" fmla="*/ 91632 w 345460"/>
                  <a:gd name="connsiteY114" fmla="*/ 93282 h 410668"/>
                  <a:gd name="connsiteX115" fmla="*/ 83889 w 345460"/>
                  <a:gd name="connsiteY115" fmla="*/ 90044 h 410668"/>
                  <a:gd name="connsiteX116" fmla="*/ 94397 w 345460"/>
                  <a:gd name="connsiteY116" fmla="*/ 74932 h 410668"/>
                  <a:gd name="connsiteX117" fmla="*/ 95504 w 345460"/>
                  <a:gd name="connsiteY117" fmla="*/ 78170 h 410668"/>
                  <a:gd name="connsiteX118" fmla="*/ 97716 w 345460"/>
                  <a:gd name="connsiteY118" fmla="*/ 80329 h 410668"/>
                  <a:gd name="connsiteX119" fmla="*/ 104906 w 345460"/>
                  <a:gd name="connsiteY119" fmla="*/ 77091 h 410668"/>
                  <a:gd name="connsiteX120" fmla="*/ 138645 w 345460"/>
                  <a:gd name="connsiteY120" fmla="*/ 85186 h 410668"/>
                  <a:gd name="connsiteX121" fmla="*/ 148600 w 345460"/>
                  <a:gd name="connsiteY121" fmla="*/ 99759 h 410668"/>
                  <a:gd name="connsiteX122" fmla="*/ 166852 w 345460"/>
                  <a:gd name="connsiteY122" fmla="*/ 97060 h 410668"/>
                  <a:gd name="connsiteX123" fmla="*/ 190635 w 345460"/>
                  <a:gd name="connsiteY123" fmla="*/ 104077 h 410668"/>
                  <a:gd name="connsiteX124" fmla="*/ 191742 w 345460"/>
                  <a:gd name="connsiteY124" fmla="*/ 102458 h 410668"/>
                  <a:gd name="connsiteX125" fmla="*/ 192295 w 345460"/>
                  <a:gd name="connsiteY125" fmla="*/ 99219 h 410668"/>
                  <a:gd name="connsiteX126" fmla="*/ 186211 w 345460"/>
                  <a:gd name="connsiteY126" fmla="*/ 94362 h 410668"/>
                  <a:gd name="connsiteX127" fmla="*/ 187317 w 345460"/>
                  <a:gd name="connsiteY127" fmla="*/ 90044 h 410668"/>
                  <a:gd name="connsiteX128" fmla="*/ 200591 w 345460"/>
                  <a:gd name="connsiteY128" fmla="*/ 83567 h 410668"/>
                  <a:gd name="connsiteX129" fmla="*/ 205016 w 345460"/>
                  <a:gd name="connsiteY129" fmla="*/ 80869 h 410668"/>
                  <a:gd name="connsiteX130" fmla="*/ 226586 w 345460"/>
                  <a:gd name="connsiteY130" fmla="*/ 73852 h 410668"/>
                  <a:gd name="connsiteX131" fmla="*/ 229352 w 345460"/>
                  <a:gd name="connsiteY131" fmla="*/ 66836 h 410668"/>
                  <a:gd name="connsiteX132" fmla="*/ 190635 w 345460"/>
                  <a:gd name="connsiteY132" fmla="*/ 48485 h 410668"/>
                  <a:gd name="connsiteX133" fmla="*/ 211100 w 345460"/>
                  <a:gd name="connsiteY133" fmla="*/ 43628 h 410668"/>
                  <a:gd name="connsiteX134" fmla="*/ 221055 w 345460"/>
                  <a:gd name="connsiteY134" fmla="*/ 31754 h 410668"/>
                  <a:gd name="connsiteX135" fmla="*/ 223268 w 345460"/>
                  <a:gd name="connsiteY135" fmla="*/ 22039 h 410668"/>
                  <a:gd name="connsiteX136" fmla="*/ 235436 w 345460"/>
                  <a:gd name="connsiteY136" fmla="*/ 2609 h 410668"/>
                  <a:gd name="connsiteX137" fmla="*/ 238201 w 345460"/>
                  <a:gd name="connsiteY137" fmla="*/ 2609 h 410668"/>
                  <a:gd name="connsiteX138" fmla="*/ 253135 w 345460"/>
                  <a:gd name="connsiteY138" fmla="*/ 3148 h 410668"/>
                  <a:gd name="connsiteX139" fmla="*/ 261431 w 345460"/>
                  <a:gd name="connsiteY139" fmla="*/ 5847 h 410668"/>
                  <a:gd name="connsiteX140" fmla="*/ 278024 w 345460"/>
                  <a:gd name="connsiteY140" fmla="*/ 450 h 410668"/>
                  <a:gd name="connsiteX141" fmla="*/ 279683 w 345460"/>
                  <a:gd name="connsiteY141" fmla="*/ 4768 h 410668"/>
                  <a:gd name="connsiteX142" fmla="*/ 270834 w 345460"/>
                  <a:gd name="connsiteY142" fmla="*/ 29595 h 410668"/>
                  <a:gd name="connsiteX143" fmla="*/ 276918 w 345460"/>
                  <a:gd name="connsiteY143" fmla="*/ 30674 h 410668"/>
                  <a:gd name="connsiteX144" fmla="*/ 283002 w 345460"/>
                  <a:gd name="connsiteY144" fmla="*/ 23118 h 410668"/>
                  <a:gd name="connsiteX145" fmla="*/ 290745 w 345460"/>
                  <a:gd name="connsiteY145" fmla="*/ 2609 h 410668"/>
                  <a:gd name="connsiteX146" fmla="*/ 304572 w 345460"/>
                  <a:gd name="connsiteY146" fmla="*/ 2609 h 410668"/>
                  <a:gd name="connsiteX147" fmla="*/ 321165 w 345460"/>
                  <a:gd name="connsiteY147" fmla="*/ 10165 h 410668"/>
                  <a:gd name="connsiteX148" fmla="*/ 320612 w 345460"/>
                  <a:gd name="connsiteY148" fmla="*/ 12324 h 410668"/>
                  <a:gd name="connsiteX149" fmla="*/ 302360 w 345460"/>
                  <a:gd name="connsiteY149" fmla="*/ 25817 h 410668"/>
                  <a:gd name="connsiteX150" fmla="*/ 303466 w 345460"/>
                  <a:gd name="connsiteY150" fmla="*/ 27976 h 41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</a:cxnLst>
                <a:rect l="l" t="t" r="r" b="b"/>
                <a:pathLst>
                  <a:path w="345460" h="410668">
                    <a:moveTo>
                      <a:pt x="81676" y="120808"/>
                    </a:moveTo>
                    <a:lnTo>
                      <a:pt x="78358" y="120808"/>
                    </a:lnTo>
                    <a:cubicBezTo>
                      <a:pt x="76698" y="119189"/>
                      <a:pt x="76698" y="116490"/>
                      <a:pt x="75039" y="114871"/>
                    </a:cubicBezTo>
                    <a:cubicBezTo>
                      <a:pt x="73380" y="113252"/>
                      <a:pt x="70061" y="112173"/>
                      <a:pt x="68402" y="110014"/>
                    </a:cubicBezTo>
                    <a:cubicBezTo>
                      <a:pt x="68402" y="108934"/>
                      <a:pt x="68955" y="106775"/>
                      <a:pt x="68402" y="105696"/>
                    </a:cubicBezTo>
                    <a:cubicBezTo>
                      <a:pt x="71721" y="102997"/>
                      <a:pt x="77252" y="100838"/>
                      <a:pt x="81123" y="102458"/>
                    </a:cubicBezTo>
                    <a:cubicBezTo>
                      <a:pt x="83336" y="105696"/>
                      <a:pt x="84442" y="118109"/>
                      <a:pt x="81676" y="120808"/>
                    </a:cubicBezTo>
                    <a:close/>
                    <a:moveTo>
                      <a:pt x="303466" y="27976"/>
                    </a:moveTo>
                    <a:lnTo>
                      <a:pt x="286873" y="36611"/>
                    </a:lnTo>
                    <a:lnTo>
                      <a:pt x="274705" y="58740"/>
                    </a:lnTo>
                    <a:lnTo>
                      <a:pt x="261984" y="63597"/>
                    </a:lnTo>
                    <a:lnTo>
                      <a:pt x="256453" y="59280"/>
                    </a:lnTo>
                    <a:lnTo>
                      <a:pt x="250369" y="59819"/>
                    </a:lnTo>
                    <a:lnTo>
                      <a:pt x="249816" y="67375"/>
                    </a:lnTo>
                    <a:lnTo>
                      <a:pt x="256453" y="73312"/>
                    </a:lnTo>
                    <a:lnTo>
                      <a:pt x="248157" y="81408"/>
                    </a:lnTo>
                    <a:lnTo>
                      <a:pt x="240967" y="77091"/>
                    </a:lnTo>
                    <a:lnTo>
                      <a:pt x="228246" y="85726"/>
                    </a:lnTo>
                    <a:lnTo>
                      <a:pt x="229352" y="94901"/>
                    </a:lnTo>
                    <a:lnTo>
                      <a:pt x="238754" y="115411"/>
                    </a:lnTo>
                    <a:lnTo>
                      <a:pt x="249816" y="120808"/>
                    </a:lnTo>
                    <a:lnTo>
                      <a:pt x="255347" y="126745"/>
                    </a:lnTo>
                    <a:lnTo>
                      <a:pt x="269728" y="128904"/>
                    </a:lnTo>
                    <a:lnTo>
                      <a:pt x="277471" y="136460"/>
                    </a:lnTo>
                    <a:lnTo>
                      <a:pt x="286873" y="127824"/>
                    </a:lnTo>
                    <a:lnTo>
                      <a:pt x="287427" y="114871"/>
                    </a:lnTo>
                    <a:lnTo>
                      <a:pt x="299041" y="104077"/>
                    </a:lnTo>
                    <a:lnTo>
                      <a:pt x="310656" y="119729"/>
                    </a:lnTo>
                    <a:lnTo>
                      <a:pt x="310103" y="128364"/>
                    </a:lnTo>
                    <a:lnTo>
                      <a:pt x="321165" y="137000"/>
                    </a:lnTo>
                    <a:lnTo>
                      <a:pt x="321718" y="154811"/>
                    </a:lnTo>
                    <a:lnTo>
                      <a:pt x="344948" y="155890"/>
                    </a:lnTo>
                    <a:cubicBezTo>
                      <a:pt x="343289" y="156430"/>
                      <a:pt x="344948" y="162907"/>
                      <a:pt x="344395" y="163986"/>
                    </a:cubicBezTo>
                    <a:cubicBezTo>
                      <a:pt x="343842" y="164526"/>
                      <a:pt x="336652" y="166685"/>
                      <a:pt x="334439" y="168304"/>
                    </a:cubicBezTo>
                    <a:cubicBezTo>
                      <a:pt x="329462" y="185035"/>
                      <a:pt x="340523" y="180717"/>
                      <a:pt x="340523" y="193131"/>
                    </a:cubicBezTo>
                    <a:cubicBezTo>
                      <a:pt x="340523" y="199068"/>
                      <a:pt x="338864" y="205005"/>
                      <a:pt x="338864" y="210942"/>
                    </a:cubicBezTo>
                    <a:cubicBezTo>
                      <a:pt x="338864" y="215260"/>
                      <a:pt x="339970" y="219577"/>
                      <a:pt x="339417" y="223895"/>
                    </a:cubicBezTo>
                    <a:cubicBezTo>
                      <a:pt x="338311" y="230372"/>
                      <a:pt x="334439" y="236309"/>
                      <a:pt x="333886" y="242786"/>
                    </a:cubicBezTo>
                    <a:cubicBezTo>
                      <a:pt x="333333" y="257898"/>
                      <a:pt x="339417" y="265454"/>
                      <a:pt x="334992" y="285424"/>
                    </a:cubicBezTo>
                    <a:cubicBezTo>
                      <a:pt x="334439" y="289741"/>
                      <a:pt x="318953" y="310791"/>
                      <a:pt x="315634" y="317807"/>
                    </a:cubicBezTo>
                    <a:cubicBezTo>
                      <a:pt x="311763" y="325363"/>
                      <a:pt x="310103" y="333459"/>
                      <a:pt x="306785" y="341015"/>
                    </a:cubicBezTo>
                    <a:cubicBezTo>
                      <a:pt x="305679" y="344254"/>
                      <a:pt x="302913" y="347492"/>
                      <a:pt x="301254" y="350730"/>
                    </a:cubicBezTo>
                    <a:cubicBezTo>
                      <a:pt x="299595" y="354508"/>
                      <a:pt x="296829" y="365303"/>
                      <a:pt x="294064" y="367462"/>
                    </a:cubicBezTo>
                    <a:cubicBezTo>
                      <a:pt x="288533" y="372859"/>
                      <a:pt x="277471" y="373938"/>
                      <a:pt x="270834" y="370160"/>
                    </a:cubicBezTo>
                    <a:cubicBezTo>
                      <a:pt x="268621" y="368541"/>
                      <a:pt x="267515" y="365842"/>
                      <a:pt x="265303" y="364763"/>
                    </a:cubicBezTo>
                    <a:lnTo>
                      <a:pt x="262537" y="364763"/>
                    </a:lnTo>
                    <a:cubicBezTo>
                      <a:pt x="259772" y="366922"/>
                      <a:pt x="258113" y="370700"/>
                      <a:pt x="255347" y="372859"/>
                    </a:cubicBezTo>
                    <a:cubicBezTo>
                      <a:pt x="249816" y="371779"/>
                      <a:pt x="252582" y="370700"/>
                      <a:pt x="249816" y="368541"/>
                    </a:cubicBezTo>
                    <a:lnTo>
                      <a:pt x="247051" y="368541"/>
                    </a:lnTo>
                    <a:cubicBezTo>
                      <a:pt x="245945" y="370160"/>
                      <a:pt x="243732" y="370700"/>
                      <a:pt x="242626" y="371240"/>
                    </a:cubicBezTo>
                    <a:cubicBezTo>
                      <a:pt x="241520" y="371240"/>
                      <a:pt x="216078" y="365842"/>
                      <a:pt x="211653" y="365842"/>
                    </a:cubicBezTo>
                    <a:cubicBezTo>
                      <a:pt x="204463" y="365303"/>
                      <a:pt x="203910" y="371240"/>
                      <a:pt x="200591" y="375018"/>
                    </a:cubicBezTo>
                    <a:cubicBezTo>
                      <a:pt x="195060" y="380955"/>
                      <a:pt x="188423" y="378796"/>
                      <a:pt x="181786" y="380955"/>
                    </a:cubicBezTo>
                    <a:cubicBezTo>
                      <a:pt x="175702" y="382574"/>
                      <a:pt x="175702" y="386352"/>
                      <a:pt x="171277" y="388511"/>
                    </a:cubicBezTo>
                    <a:cubicBezTo>
                      <a:pt x="165746" y="391749"/>
                      <a:pt x="155791" y="395527"/>
                      <a:pt x="149707" y="391209"/>
                    </a:cubicBezTo>
                    <a:cubicBezTo>
                      <a:pt x="148600" y="390130"/>
                      <a:pt x="148600" y="387431"/>
                      <a:pt x="147494" y="386892"/>
                    </a:cubicBezTo>
                    <a:cubicBezTo>
                      <a:pt x="145835" y="385812"/>
                      <a:pt x="143070" y="385812"/>
                      <a:pt x="141410" y="386352"/>
                    </a:cubicBezTo>
                    <a:cubicBezTo>
                      <a:pt x="140304" y="387971"/>
                      <a:pt x="137539" y="396607"/>
                      <a:pt x="136985" y="396607"/>
                    </a:cubicBezTo>
                    <a:cubicBezTo>
                      <a:pt x="133114" y="399845"/>
                      <a:pt x="129795" y="399305"/>
                      <a:pt x="125924" y="400924"/>
                    </a:cubicBezTo>
                    <a:cubicBezTo>
                      <a:pt x="120393" y="403623"/>
                      <a:pt x="115968" y="407941"/>
                      <a:pt x="109331" y="409020"/>
                    </a:cubicBezTo>
                    <a:cubicBezTo>
                      <a:pt x="96057" y="411179"/>
                      <a:pt x="86654" y="406861"/>
                      <a:pt x="75592" y="407401"/>
                    </a:cubicBezTo>
                    <a:cubicBezTo>
                      <a:pt x="69508" y="407401"/>
                      <a:pt x="64530" y="413338"/>
                      <a:pt x="57893" y="408481"/>
                    </a:cubicBezTo>
                    <a:cubicBezTo>
                      <a:pt x="55681" y="407401"/>
                      <a:pt x="57893" y="406322"/>
                      <a:pt x="52916" y="403623"/>
                    </a:cubicBezTo>
                    <a:cubicBezTo>
                      <a:pt x="42960" y="404703"/>
                      <a:pt x="39088" y="409020"/>
                      <a:pt x="28026" y="406322"/>
                    </a:cubicBezTo>
                    <a:cubicBezTo>
                      <a:pt x="22495" y="396067"/>
                      <a:pt x="47385" y="392289"/>
                      <a:pt x="51809" y="386892"/>
                    </a:cubicBezTo>
                    <a:lnTo>
                      <a:pt x="50703" y="384193"/>
                    </a:lnTo>
                    <a:lnTo>
                      <a:pt x="47385" y="383114"/>
                    </a:lnTo>
                    <a:cubicBezTo>
                      <a:pt x="38535" y="385273"/>
                      <a:pt x="35217" y="382574"/>
                      <a:pt x="26920" y="382574"/>
                    </a:cubicBezTo>
                    <a:cubicBezTo>
                      <a:pt x="21942" y="382574"/>
                      <a:pt x="16965" y="384733"/>
                      <a:pt x="12540" y="385273"/>
                    </a:cubicBezTo>
                    <a:lnTo>
                      <a:pt x="10327" y="383653"/>
                    </a:lnTo>
                    <a:cubicBezTo>
                      <a:pt x="10881" y="373938"/>
                      <a:pt x="33004" y="372319"/>
                      <a:pt x="37429" y="366382"/>
                    </a:cubicBezTo>
                    <a:lnTo>
                      <a:pt x="36876" y="364223"/>
                    </a:lnTo>
                    <a:cubicBezTo>
                      <a:pt x="33557" y="362604"/>
                      <a:pt x="28579" y="364763"/>
                      <a:pt x="25814" y="365842"/>
                    </a:cubicBezTo>
                    <a:cubicBezTo>
                      <a:pt x="24708" y="366382"/>
                      <a:pt x="17518" y="365842"/>
                      <a:pt x="15858" y="365303"/>
                    </a:cubicBezTo>
                    <a:cubicBezTo>
                      <a:pt x="7009" y="364223"/>
                      <a:pt x="10327" y="362064"/>
                      <a:pt x="5350" y="357747"/>
                    </a:cubicBezTo>
                    <a:cubicBezTo>
                      <a:pt x="4243" y="356667"/>
                      <a:pt x="1478" y="356127"/>
                      <a:pt x="925" y="355588"/>
                    </a:cubicBezTo>
                    <a:cubicBezTo>
                      <a:pt x="-734" y="353429"/>
                      <a:pt x="-734" y="350191"/>
                      <a:pt x="-181" y="347492"/>
                    </a:cubicBezTo>
                    <a:cubicBezTo>
                      <a:pt x="2584" y="338317"/>
                      <a:pt x="23049" y="338856"/>
                      <a:pt x="30792" y="331840"/>
                    </a:cubicBezTo>
                    <a:lnTo>
                      <a:pt x="30792" y="330760"/>
                    </a:lnTo>
                    <a:lnTo>
                      <a:pt x="28579" y="328062"/>
                    </a:lnTo>
                    <a:cubicBezTo>
                      <a:pt x="21389" y="325363"/>
                      <a:pt x="7562" y="323744"/>
                      <a:pt x="2031" y="319426"/>
                    </a:cubicBezTo>
                    <a:cubicBezTo>
                      <a:pt x="1478" y="315648"/>
                      <a:pt x="3690" y="312950"/>
                      <a:pt x="6456" y="309711"/>
                    </a:cubicBezTo>
                    <a:cubicBezTo>
                      <a:pt x="9774" y="305933"/>
                      <a:pt x="16411" y="303235"/>
                      <a:pt x="21389" y="304854"/>
                    </a:cubicBezTo>
                    <a:cubicBezTo>
                      <a:pt x="26920" y="307013"/>
                      <a:pt x="28026" y="314569"/>
                      <a:pt x="41301" y="314029"/>
                    </a:cubicBezTo>
                    <a:cubicBezTo>
                      <a:pt x="51809" y="313489"/>
                      <a:pt x="45172" y="303774"/>
                      <a:pt x="47385" y="299996"/>
                    </a:cubicBezTo>
                    <a:lnTo>
                      <a:pt x="49597" y="296758"/>
                    </a:lnTo>
                    <a:cubicBezTo>
                      <a:pt x="49597" y="296218"/>
                      <a:pt x="56234" y="294059"/>
                      <a:pt x="57340" y="292980"/>
                    </a:cubicBezTo>
                    <a:cubicBezTo>
                      <a:pt x="62318" y="289741"/>
                      <a:pt x="65637" y="285424"/>
                      <a:pt x="71168" y="283265"/>
                    </a:cubicBezTo>
                    <a:cubicBezTo>
                      <a:pt x="76145" y="284344"/>
                      <a:pt x="80570" y="286503"/>
                      <a:pt x="85548" y="287043"/>
                    </a:cubicBezTo>
                    <a:cubicBezTo>
                      <a:pt x="92738" y="288122"/>
                      <a:pt x="100481" y="288122"/>
                      <a:pt x="107672" y="287583"/>
                    </a:cubicBezTo>
                    <a:cubicBezTo>
                      <a:pt x="111543" y="287043"/>
                      <a:pt x="131455" y="282725"/>
                      <a:pt x="132008" y="282725"/>
                    </a:cubicBezTo>
                    <a:cubicBezTo>
                      <a:pt x="134773" y="283265"/>
                      <a:pt x="136985" y="283805"/>
                      <a:pt x="139198" y="282725"/>
                    </a:cubicBezTo>
                    <a:lnTo>
                      <a:pt x="138645" y="280566"/>
                    </a:lnTo>
                    <a:cubicBezTo>
                      <a:pt x="118180" y="262755"/>
                      <a:pt x="112096" y="278407"/>
                      <a:pt x="92185" y="280566"/>
                    </a:cubicBezTo>
                    <a:cubicBezTo>
                      <a:pt x="88313" y="281106"/>
                      <a:pt x="79464" y="277328"/>
                      <a:pt x="75039" y="276788"/>
                    </a:cubicBezTo>
                    <a:cubicBezTo>
                      <a:pt x="69508" y="276248"/>
                      <a:pt x="61765" y="279487"/>
                      <a:pt x="56234" y="276788"/>
                    </a:cubicBezTo>
                    <a:cubicBezTo>
                      <a:pt x="55681" y="276248"/>
                      <a:pt x="54575" y="274629"/>
                      <a:pt x="54022" y="273550"/>
                    </a:cubicBezTo>
                    <a:cubicBezTo>
                      <a:pt x="54575" y="263295"/>
                      <a:pt x="77805" y="265994"/>
                      <a:pt x="89420" y="257358"/>
                    </a:cubicBezTo>
                    <a:cubicBezTo>
                      <a:pt x="96610" y="251961"/>
                      <a:pt x="85548" y="240087"/>
                      <a:pt x="106565" y="224435"/>
                    </a:cubicBezTo>
                    <a:cubicBezTo>
                      <a:pt x="117074" y="216879"/>
                      <a:pt x="122605" y="229292"/>
                      <a:pt x="134773" y="221197"/>
                    </a:cubicBezTo>
                    <a:lnTo>
                      <a:pt x="135326" y="219038"/>
                    </a:lnTo>
                    <a:cubicBezTo>
                      <a:pt x="134220" y="217419"/>
                      <a:pt x="131455" y="212021"/>
                      <a:pt x="129242" y="211482"/>
                    </a:cubicBezTo>
                    <a:cubicBezTo>
                      <a:pt x="123158" y="209323"/>
                      <a:pt x="93844" y="210402"/>
                      <a:pt x="92738" y="205545"/>
                    </a:cubicBezTo>
                    <a:cubicBezTo>
                      <a:pt x="91632" y="201767"/>
                      <a:pt x="94950" y="196909"/>
                      <a:pt x="93844" y="191512"/>
                    </a:cubicBezTo>
                    <a:cubicBezTo>
                      <a:pt x="89420" y="189353"/>
                      <a:pt x="79464" y="195290"/>
                      <a:pt x="73933" y="190972"/>
                    </a:cubicBezTo>
                    <a:cubicBezTo>
                      <a:pt x="72827" y="189893"/>
                      <a:pt x="73380" y="186115"/>
                      <a:pt x="72274" y="184495"/>
                    </a:cubicBezTo>
                    <a:cubicBezTo>
                      <a:pt x="71168" y="181797"/>
                      <a:pt x="67296" y="180178"/>
                      <a:pt x="65637" y="178019"/>
                    </a:cubicBezTo>
                    <a:cubicBezTo>
                      <a:pt x="63424" y="174780"/>
                      <a:pt x="60106" y="165605"/>
                      <a:pt x="63977" y="162367"/>
                    </a:cubicBezTo>
                    <a:cubicBezTo>
                      <a:pt x="66190" y="160208"/>
                      <a:pt x="73933" y="161287"/>
                      <a:pt x="80017" y="152652"/>
                    </a:cubicBezTo>
                    <a:cubicBezTo>
                      <a:pt x="82229" y="148874"/>
                      <a:pt x="82782" y="144556"/>
                      <a:pt x="84995" y="140778"/>
                    </a:cubicBezTo>
                    <a:cubicBezTo>
                      <a:pt x="89973" y="137540"/>
                      <a:pt x="98269" y="142397"/>
                      <a:pt x="104353" y="137540"/>
                    </a:cubicBezTo>
                    <a:cubicBezTo>
                      <a:pt x="106012" y="136460"/>
                      <a:pt x="107672" y="131063"/>
                      <a:pt x="107672" y="129444"/>
                    </a:cubicBezTo>
                    <a:cubicBezTo>
                      <a:pt x="104353" y="125666"/>
                      <a:pt x="94950" y="128904"/>
                      <a:pt x="89973" y="123507"/>
                    </a:cubicBezTo>
                    <a:lnTo>
                      <a:pt x="90526" y="120268"/>
                    </a:lnTo>
                    <a:cubicBezTo>
                      <a:pt x="95504" y="115411"/>
                      <a:pt x="94950" y="98679"/>
                      <a:pt x="91632" y="93282"/>
                    </a:cubicBezTo>
                    <a:cubicBezTo>
                      <a:pt x="90526" y="91663"/>
                      <a:pt x="85548" y="91123"/>
                      <a:pt x="83889" y="90044"/>
                    </a:cubicBezTo>
                    <a:cubicBezTo>
                      <a:pt x="81676" y="84107"/>
                      <a:pt x="89420" y="76551"/>
                      <a:pt x="94397" y="74932"/>
                    </a:cubicBezTo>
                    <a:lnTo>
                      <a:pt x="95504" y="78170"/>
                    </a:lnTo>
                    <a:lnTo>
                      <a:pt x="97716" y="80329"/>
                    </a:lnTo>
                    <a:cubicBezTo>
                      <a:pt x="102141" y="80869"/>
                      <a:pt x="101588" y="78170"/>
                      <a:pt x="104906" y="77091"/>
                    </a:cubicBezTo>
                    <a:cubicBezTo>
                      <a:pt x="108778" y="75471"/>
                      <a:pt x="133667" y="83027"/>
                      <a:pt x="138645" y="85186"/>
                    </a:cubicBezTo>
                    <a:cubicBezTo>
                      <a:pt x="149154" y="88964"/>
                      <a:pt x="143070" y="94901"/>
                      <a:pt x="148600" y="99759"/>
                    </a:cubicBezTo>
                    <a:cubicBezTo>
                      <a:pt x="152472" y="102997"/>
                      <a:pt x="156897" y="94901"/>
                      <a:pt x="166852" y="97060"/>
                    </a:cubicBezTo>
                    <a:cubicBezTo>
                      <a:pt x="175702" y="98679"/>
                      <a:pt x="180680" y="103537"/>
                      <a:pt x="190635" y="104077"/>
                    </a:cubicBezTo>
                    <a:lnTo>
                      <a:pt x="191742" y="102458"/>
                    </a:lnTo>
                    <a:lnTo>
                      <a:pt x="192295" y="99219"/>
                    </a:lnTo>
                    <a:cubicBezTo>
                      <a:pt x="191189" y="97600"/>
                      <a:pt x="186764" y="95441"/>
                      <a:pt x="186211" y="94362"/>
                    </a:cubicBezTo>
                    <a:cubicBezTo>
                      <a:pt x="185658" y="93282"/>
                      <a:pt x="186764" y="90584"/>
                      <a:pt x="187317" y="90044"/>
                    </a:cubicBezTo>
                    <a:cubicBezTo>
                      <a:pt x="189529" y="87885"/>
                      <a:pt x="197273" y="85186"/>
                      <a:pt x="200591" y="83567"/>
                    </a:cubicBezTo>
                    <a:cubicBezTo>
                      <a:pt x="202250" y="83027"/>
                      <a:pt x="203357" y="81408"/>
                      <a:pt x="205016" y="80869"/>
                    </a:cubicBezTo>
                    <a:cubicBezTo>
                      <a:pt x="215525" y="78170"/>
                      <a:pt x="217737" y="84647"/>
                      <a:pt x="226586" y="73852"/>
                    </a:cubicBezTo>
                    <a:cubicBezTo>
                      <a:pt x="228799" y="71693"/>
                      <a:pt x="229352" y="69534"/>
                      <a:pt x="229352" y="66836"/>
                    </a:cubicBezTo>
                    <a:cubicBezTo>
                      <a:pt x="217737" y="61439"/>
                      <a:pt x="182892" y="68995"/>
                      <a:pt x="190635" y="48485"/>
                    </a:cubicBezTo>
                    <a:cubicBezTo>
                      <a:pt x="197273" y="43628"/>
                      <a:pt x="203357" y="50644"/>
                      <a:pt x="211100" y="43628"/>
                    </a:cubicBezTo>
                    <a:cubicBezTo>
                      <a:pt x="213312" y="41469"/>
                      <a:pt x="219396" y="34452"/>
                      <a:pt x="221055" y="31754"/>
                    </a:cubicBezTo>
                    <a:cubicBezTo>
                      <a:pt x="222162" y="29055"/>
                      <a:pt x="222162" y="25277"/>
                      <a:pt x="223268" y="22039"/>
                    </a:cubicBezTo>
                    <a:cubicBezTo>
                      <a:pt x="225480" y="15562"/>
                      <a:pt x="231011" y="8006"/>
                      <a:pt x="235436" y="2609"/>
                    </a:cubicBezTo>
                    <a:lnTo>
                      <a:pt x="238201" y="2609"/>
                    </a:lnTo>
                    <a:cubicBezTo>
                      <a:pt x="242073" y="9085"/>
                      <a:pt x="248157" y="2069"/>
                      <a:pt x="253135" y="3148"/>
                    </a:cubicBezTo>
                    <a:cubicBezTo>
                      <a:pt x="255347" y="3148"/>
                      <a:pt x="259219" y="6387"/>
                      <a:pt x="261431" y="5847"/>
                    </a:cubicBezTo>
                    <a:cubicBezTo>
                      <a:pt x="262537" y="5847"/>
                      <a:pt x="270281" y="-2789"/>
                      <a:pt x="278024" y="450"/>
                    </a:cubicBezTo>
                    <a:cubicBezTo>
                      <a:pt x="278577" y="990"/>
                      <a:pt x="279130" y="3688"/>
                      <a:pt x="279683" y="4768"/>
                    </a:cubicBezTo>
                    <a:cubicBezTo>
                      <a:pt x="280789" y="13943"/>
                      <a:pt x="268068" y="18800"/>
                      <a:pt x="270834" y="29595"/>
                    </a:cubicBezTo>
                    <a:cubicBezTo>
                      <a:pt x="272493" y="30674"/>
                      <a:pt x="274705" y="31214"/>
                      <a:pt x="276918" y="30674"/>
                    </a:cubicBezTo>
                    <a:cubicBezTo>
                      <a:pt x="278577" y="29055"/>
                      <a:pt x="281896" y="25277"/>
                      <a:pt x="283002" y="23118"/>
                    </a:cubicBezTo>
                    <a:cubicBezTo>
                      <a:pt x="284661" y="19880"/>
                      <a:pt x="288533" y="4228"/>
                      <a:pt x="290745" y="2609"/>
                    </a:cubicBezTo>
                    <a:cubicBezTo>
                      <a:pt x="294064" y="990"/>
                      <a:pt x="300701" y="1529"/>
                      <a:pt x="304572" y="2609"/>
                    </a:cubicBezTo>
                    <a:cubicBezTo>
                      <a:pt x="308444" y="3688"/>
                      <a:pt x="318953" y="6926"/>
                      <a:pt x="321165" y="10165"/>
                    </a:cubicBezTo>
                    <a:lnTo>
                      <a:pt x="320612" y="12324"/>
                    </a:lnTo>
                    <a:cubicBezTo>
                      <a:pt x="316187" y="16102"/>
                      <a:pt x="301254" y="13403"/>
                      <a:pt x="302360" y="25817"/>
                    </a:cubicBezTo>
                    <a:lnTo>
                      <a:pt x="303466" y="27976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7" name="Freeform 1079">
                <a:extLst>
                  <a:ext uri="{FF2B5EF4-FFF2-40B4-BE49-F238E27FC236}">
                    <a16:creationId xmlns:a16="http://schemas.microsoft.com/office/drawing/2014/main" id="{07BBB298-2A56-49E1-869C-A9C5F2BA8D1F}"/>
                  </a:ext>
                </a:extLst>
              </p:cNvPr>
              <p:cNvSpPr/>
              <p:nvPr/>
            </p:nvSpPr>
            <p:spPr>
              <a:xfrm>
                <a:off x="6883609" y="3991856"/>
                <a:ext cx="523225" cy="372948"/>
              </a:xfrm>
              <a:custGeom>
                <a:avLst/>
                <a:gdLst>
                  <a:gd name="connsiteX0" fmla="*/ 86059 w 523225"/>
                  <a:gd name="connsiteY0" fmla="*/ 121062 h 372948"/>
                  <a:gd name="connsiteX1" fmla="*/ 58958 w 523225"/>
                  <a:gd name="connsiteY1" fmla="*/ 119443 h 372948"/>
                  <a:gd name="connsiteX2" fmla="*/ 63935 w 523225"/>
                  <a:gd name="connsiteY2" fmla="*/ 134016 h 372948"/>
                  <a:gd name="connsiteX3" fmla="*/ 58958 w 523225"/>
                  <a:gd name="connsiteY3" fmla="*/ 140492 h 372948"/>
                  <a:gd name="connsiteX4" fmla="*/ 66148 w 523225"/>
                  <a:gd name="connsiteY4" fmla="*/ 153446 h 372948"/>
                  <a:gd name="connsiteX5" fmla="*/ 60064 w 523225"/>
                  <a:gd name="connsiteY5" fmla="*/ 159922 h 372948"/>
                  <a:gd name="connsiteX6" fmla="*/ 43471 w 523225"/>
                  <a:gd name="connsiteY6" fmla="*/ 161541 h 372948"/>
                  <a:gd name="connsiteX7" fmla="*/ 39046 w 523225"/>
                  <a:gd name="connsiteY7" fmla="*/ 159383 h 372948"/>
                  <a:gd name="connsiteX8" fmla="*/ 31303 w 523225"/>
                  <a:gd name="connsiteY8" fmla="*/ 156144 h 372948"/>
                  <a:gd name="connsiteX9" fmla="*/ 15816 w 523225"/>
                  <a:gd name="connsiteY9" fmla="*/ 164780 h 372948"/>
                  <a:gd name="connsiteX10" fmla="*/ 19135 w 523225"/>
                  <a:gd name="connsiteY10" fmla="*/ 169637 h 372948"/>
                  <a:gd name="connsiteX11" fmla="*/ 27984 w 523225"/>
                  <a:gd name="connsiteY11" fmla="*/ 171796 h 372948"/>
                  <a:gd name="connsiteX12" fmla="*/ 35728 w 523225"/>
                  <a:gd name="connsiteY12" fmla="*/ 176654 h 372948"/>
                  <a:gd name="connsiteX13" fmla="*/ 32409 w 523225"/>
                  <a:gd name="connsiteY13" fmla="*/ 186908 h 372948"/>
                  <a:gd name="connsiteX14" fmla="*/ 21347 w 523225"/>
                  <a:gd name="connsiteY14" fmla="*/ 195544 h 372948"/>
                  <a:gd name="connsiteX15" fmla="*/ 27431 w 523225"/>
                  <a:gd name="connsiteY15" fmla="*/ 243040 h 372948"/>
                  <a:gd name="connsiteX16" fmla="*/ 11392 w 523225"/>
                  <a:gd name="connsiteY16" fmla="*/ 248437 h 372948"/>
                  <a:gd name="connsiteX17" fmla="*/ -776 w 523225"/>
                  <a:gd name="connsiteY17" fmla="*/ 267867 h 372948"/>
                  <a:gd name="connsiteX18" fmla="*/ 18029 w 523225"/>
                  <a:gd name="connsiteY18" fmla="*/ 265708 h 372948"/>
                  <a:gd name="connsiteX19" fmla="*/ 25219 w 523225"/>
                  <a:gd name="connsiteY19" fmla="*/ 285678 h 372948"/>
                  <a:gd name="connsiteX20" fmla="*/ 39599 w 523225"/>
                  <a:gd name="connsiteY20" fmla="*/ 302409 h 372948"/>
                  <a:gd name="connsiteX21" fmla="*/ 64488 w 523225"/>
                  <a:gd name="connsiteY21" fmla="*/ 315902 h 372948"/>
                  <a:gd name="connsiteX22" fmla="*/ 74997 w 523225"/>
                  <a:gd name="connsiteY22" fmla="*/ 327237 h 372948"/>
                  <a:gd name="connsiteX23" fmla="*/ 83847 w 523225"/>
                  <a:gd name="connsiteY23" fmla="*/ 333174 h 372948"/>
                  <a:gd name="connsiteX24" fmla="*/ 91037 w 523225"/>
                  <a:gd name="connsiteY24" fmla="*/ 341809 h 372948"/>
                  <a:gd name="connsiteX25" fmla="*/ 110948 w 523225"/>
                  <a:gd name="connsiteY25" fmla="*/ 357461 h 372948"/>
                  <a:gd name="connsiteX26" fmla="*/ 138050 w 523225"/>
                  <a:gd name="connsiteY26" fmla="*/ 359080 h 372948"/>
                  <a:gd name="connsiteX27" fmla="*/ 161280 w 523225"/>
                  <a:gd name="connsiteY27" fmla="*/ 369335 h 372948"/>
                  <a:gd name="connsiteX28" fmla="*/ 197784 w 523225"/>
                  <a:gd name="connsiteY28" fmla="*/ 368256 h 372948"/>
                  <a:gd name="connsiteX29" fmla="*/ 202761 w 523225"/>
                  <a:gd name="connsiteY29" fmla="*/ 372573 h 372948"/>
                  <a:gd name="connsiteX30" fmla="*/ 214929 w 523225"/>
                  <a:gd name="connsiteY30" fmla="*/ 366097 h 372948"/>
                  <a:gd name="connsiteX31" fmla="*/ 223226 w 523225"/>
                  <a:gd name="connsiteY31" fmla="*/ 353143 h 372948"/>
                  <a:gd name="connsiteX32" fmla="*/ 243690 w 523225"/>
                  <a:gd name="connsiteY32" fmla="*/ 350984 h 372948"/>
                  <a:gd name="connsiteX33" fmla="*/ 258624 w 523225"/>
                  <a:gd name="connsiteY33" fmla="*/ 333713 h 372948"/>
                  <a:gd name="connsiteX34" fmla="*/ 273004 w 523225"/>
                  <a:gd name="connsiteY34" fmla="*/ 332094 h 372948"/>
                  <a:gd name="connsiteX35" fmla="*/ 301212 w 523225"/>
                  <a:gd name="connsiteY35" fmla="*/ 305108 h 372948"/>
                  <a:gd name="connsiteX36" fmla="*/ 318358 w 523225"/>
                  <a:gd name="connsiteY36" fmla="*/ 308886 h 372948"/>
                  <a:gd name="connsiteX37" fmla="*/ 338822 w 523225"/>
                  <a:gd name="connsiteY37" fmla="*/ 302409 h 372948"/>
                  <a:gd name="connsiteX38" fmla="*/ 357627 w 523225"/>
                  <a:gd name="connsiteY38" fmla="*/ 305108 h 372948"/>
                  <a:gd name="connsiteX39" fmla="*/ 369795 w 523225"/>
                  <a:gd name="connsiteY39" fmla="*/ 295933 h 372948"/>
                  <a:gd name="connsiteX40" fmla="*/ 382516 w 523225"/>
                  <a:gd name="connsiteY40" fmla="*/ 295393 h 372948"/>
                  <a:gd name="connsiteX41" fmla="*/ 390813 w 523225"/>
                  <a:gd name="connsiteY41" fmla="*/ 281360 h 372948"/>
                  <a:gd name="connsiteX42" fmla="*/ 415149 w 523225"/>
                  <a:gd name="connsiteY42" fmla="*/ 276503 h 372948"/>
                  <a:gd name="connsiteX43" fmla="*/ 446122 w 523225"/>
                  <a:gd name="connsiteY43" fmla="*/ 194465 h 372948"/>
                  <a:gd name="connsiteX44" fmla="*/ 453312 w 523225"/>
                  <a:gd name="connsiteY44" fmla="*/ 153446 h 372948"/>
                  <a:gd name="connsiteX45" fmla="*/ 467139 w 523225"/>
                  <a:gd name="connsiteY45" fmla="*/ 132396 h 372948"/>
                  <a:gd name="connsiteX46" fmla="*/ 460502 w 523225"/>
                  <a:gd name="connsiteY46" fmla="*/ 114586 h 372948"/>
                  <a:gd name="connsiteX47" fmla="*/ 474883 w 523225"/>
                  <a:gd name="connsiteY47" fmla="*/ 91377 h 372948"/>
                  <a:gd name="connsiteX48" fmla="*/ 497560 w 523225"/>
                  <a:gd name="connsiteY48" fmla="*/ 73027 h 372948"/>
                  <a:gd name="connsiteX49" fmla="*/ 513599 w 523225"/>
                  <a:gd name="connsiteY49" fmla="*/ 68169 h 372948"/>
                  <a:gd name="connsiteX50" fmla="*/ 522449 w 523225"/>
                  <a:gd name="connsiteY50" fmla="*/ 44961 h 372948"/>
                  <a:gd name="connsiteX51" fmla="*/ 513046 w 523225"/>
                  <a:gd name="connsiteY51" fmla="*/ 35786 h 372948"/>
                  <a:gd name="connsiteX52" fmla="*/ 494794 w 523225"/>
                  <a:gd name="connsiteY52" fmla="*/ 31468 h 372948"/>
                  <a:gd name="connsiteX53" fmla="*/ 451653 w 523225"/>
                  <a:gd name="connsiteY53" fmla="*/ 6101 h 372948"/>
                  <a:gd name="connsiteX54" fmla="*/ 428423 w 523225"/>
                  <a:gd name="connsiteY54" fmla="*/ 21753 h 372948"/>
                  <a:gd name="connsiteX55" fmla="*/ 399109 w 523225"/>
                  <a:gd name="connsiteY55" fmla="*/ -375 h 372948"/>
                  <a:gd name="connsiteX56" fmla="*/ 368689 w 523225"/>
                  <a:gd name="connsiteY56" fmla="*/ 13657 h 372948"/>
                  <a:gd name="connsiteX57" fmla="*/ 336057 w 523225"/>
                  <a:gd name="connsiteY57" fmla="*/ 9340 h 372948"/>
                  <a:gd name="connsiteX58" fmla="*/ 321123 w 523225"/>
                  <a:gd name="connsiteY58" fmla="*/ 17975 h 372948"/>
                  <a:gd name="connsiteX59" fmla="*/ 310061 w 523225"/>
                  <a:gd name="connsiteY59" fmla="*/ 51438 h 372948"/>
                  <a:gd name="connsiteX60" fmla="*/ 298446 w 523225"/>
                  <a:gd name="connsiteY60" fmla="*/ 56835 h 372948"/>
                  <a:gd name="connsiteX61" fmla="*/ 288491 w 523225"/>
                  <a:gd name="connsiteY61" fmla="*/ 70328 h 372948"/>
                  <a:gd name="connsiteX62" fmla="*/ 257518 w 523225"/>
                  <a:gd name="connsiteY62" fmla="*/ 61693 h 372948"/>
                  <a:gd name="connsiteX63" fmla="*/ 245903 w 523225"/>
                  <a:gd name="connsiteY63" fmla="*/ 83821 h 372948"/>
                  <a:gd name="connsiteX64" fmla="*/ 205527 w 523225"/>
                  <a:gd name="connsiteY64" fmla="*/ 93536 h 372948"/>
                  <a:gd name="connsiteX65" fmla="*/ 198890 w 523225"/>
                  <a:gd name="connsiteY65" fmla="*/ 107569 h 372948"/>
                  <a:gd name="connsiteX66" fmla="*/ 202208 w 523225"/>
                  <a:gd name="connsiteY66" fmla="*/ 115125 h 372948"/>
                  <a:gd name="connsiteX67" fmla="*/ 197231 w 523225"/>
                  <a:gd name="connsiteY67" fmla="*/ 128079 h 372948"/>
                  <a:gd name="connsiteX68" fmla="*/ 145793 w 523225"/>
                  <a:gd name="connsiteY68" fmla="*/ 140492 h 372948"/>
                  <a:gd name="connsiteX69" fmla="*/ 116479 w 523225"/>
                  <a:gd name="connsiteY69" fmla="*/ 139953 h 372948"/>
                  <a:gd name="connsiteX70" fmla="*/ 86059 w 523225"/>
                  <a:gd name="connsiteY70" fmla="*/ 121062 h 372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523225" h="372948">
                    <a:moveTo>
                      <a:pt x="86059" y="121062"/>
                    </a:moveTo>
                    <a:lnTo>
                      <a:pt x="58958" y="119443"/>
                    </a:lnTo>
                    <a:lnTo>
                      <a:pt x="63935" y="134016"/>
                    </a:lnTo>
                    <a:lnTo>
                      <a:pt x="58958" y="140492"/>
                    </a:lnTo>
                    <a:lnTo>
                      <a:pt x="66148" y="153446"/>
                    </a:lnTo>
                    <a:lnTo>
                      <a:pt x="60064" y="159922"/>
                    </a:lnTo>
                    <a:lnTo>
                      <a:pt x="43471" y="161541"/>
                    </a:lnTo>
                    <a:lnTo>
                      <a:pt x="39046" y="159383"/>
                    </a:lnTo>
                    <a:lnTo>
                      <a:pt x="31303" y="156144"/>
                    </a:lnTo>
                    <a:lnTo>
                      <a:pt x="15816" y="164780"/>
                    </a:lnTo>
                    <a:lnTo>
                      <a:pt x="19135" y="169637"/>
                    </a:lnTo>
                    <a:lnTo>
                      <a:pt x="27984" y="171796"/>
                    </a:lnTo>
                    <a:lnTo>
                      <a:pt x="35728" y="176654"/>
                    </a:lnTo>
                    <a:lnTo>
                      <a:pt x="32409" y="186908"/>
                    </a:lnTo>
                    <a:lnTo>
                      <a:pt x="21347" y="195544"/>
                    </a:lnTo>
                    <a:lnTo>
                      <a:pt x="27431" y="243040"/>
                    </a:lnTo>
                    <a:lnTo>
                      <a:pt x="11392" y="248437"/>
                    </a:lnTo>
                    <a:lnTo>
                      <a:pt x="-776" y="267867"/>
                    </a:lnTo>
                    <a:lnTo>
                      <a:pt x="18029" y="265708"/>
                    </a:lnTo>
                    <a:lnTo>
                      <a:pt x="25219" y="285678"/>
                    </a:lnTo>
                    <a:lnTo>
                      <a:pt x="39599" y="302409"/>
                    </a:lnTo>
                    <a:lnTo>
                      <a:pt x="64488" y="315902"/>
                    </a:lnTo>
                    <a:lnTo>
                      <a:pt x="74997" y="327237"/>
                    </a:lnTo>
                    <a:cubicBezTo>
                      <a:pt x="77763" y="329395"/>
                      <a:pt x="81081" y="331015"/>
                      <a:pt x="83847" y="333174"/>
                    </a:cubicBezTo>
                    <a:cubicBezTo>
                      <a:pt x="86612" y="335332"/>
                      <a:pt x="88271" y="339110"/>
                      <a:pt x="91037" y="341809"/>
                    </a:cubicBezTo>
                    <a:cubicBezTo>
                      <a:pt x="97121" y="347206"/>
                      <a:pt x="104311" y="353143"/>
                      <a:pt x="110948" y="357461"/>
                    </a:cubicBezTo>
                    <a:cubicBezTo>
                      <a:pt x="114267" y="359080"/>
                      <a:pt x="131966" y="357461"/>
                      <a:pt x="138050" y="359080"/>
                    </a:cubicBezTo>
                    <a:cubicBezTo>
                      <a:pt x="145240" y="361239"/>
                      <a:pt x="144687" y="369875"/>
                      <a:pt x="161280" y="369335"/>
                    </a:cubicBezTo>
                    <a:cubicBezTo>
                      <a:pt x="172341" y="369335"/>
                      <a:pt x="186722" y="364477"/>
                      <a:pt x="197784" y="368256"/>
                    </a:cubicBezTo>
                    <a:cubicBezTo>
                      <a:pt x="199996" y="369335"/>
                      <a:pt x="201102" y="371494"/>
                      <a:pt x="202761" y="372573"/>
                    </a:cubicBezTo>
                    <a:lnTo>
                      <a:pt x="214929" y="366097"/>
                    </a:lnTo>
                    <a:lnTo>
                      <a:pt x="223226" y="353143"/>
                    </a:lnTo>
                    <a:lnTo>
                      <a:pt x="243690" y="350984"/>
                    </a:lnTo>
                    <a:lnTo>
                      <a:pt x="258624" y="333713"/>
                    </a:lnTo>
                    <a:lnTo>
                      <a:pt x="273004" y="332094"/>
                    </a:lnTo>
                    <a:lnTo>
                      <a:pt x="301212" y="305108"/>
                    </a:lnTo>
                    <a:lnTo>
                      <a:pt x="318358" y="308886"/>
                    </a:lnTo>
                    <a:lnTo>
                      <a:pt x="338822" y="302409"/>
                    </a:lnTo>
                    <a:lnTo>
                      <a:pt x="357627" y="305108"/>
                    </a:lnTo>
                    <a:lnTo>
                      <a:pt x="369795" y="295933"/>
                    </a:lnTo>
                    <a:lnTo>
                      <a:pt x="382516" y="295393"/>
                    </a:lnTo>
                    <a:lnTo>
                      <a:pt x="390813" y="281360"/>
                    </a:lnTo>
                    <a:lnTo>
                      <a:pt x="415149" y="276503"/>
                    </a:lnTo>
                    <a:lnTo>
                      <a:pt x="446122" y="194465"/>
                    </a:lnTo>
                    <a:lnTo>
                      <a:pt x="453312" y="153446"/>
                    </a:lnTo>
                    <a:lnTo>
                      <a:pt x="467139" y="132396"/>
                    </a:lnTo>
                    <a:lnTo>
                      <a:pt x="460502" y="114586"/>
                    </a:lnTo>
                    <a:lnTo>
                      <a:pt x="474883" y="91377"/>
                    </a:lnTo>
                    <a:lnTo>
                      <a:pt x="497560" y="73027"/>
                    </a:lnTo>
                    <a:lnTo>
                      <a:pt x="513599" y="68169"/>
                    </a:lnTo>
                    <a:lnTo>
                      <a:pt x="522449" y="44961"/>
                    </a:lnTo>
                    <a:lnTo>
                      <a:pt x="513046" y="35786"/>
                    </a:lnTo>
                    <a:lnTo>
                      <a:pt x="494794" y="31468"/>
                    </a:lnTo>
                    <a:lnTo>
                      <a:pt x="451653" y="6101"/>
                    </a:lnTo>
                    <a:lnTo>
                      <a:pt x="428423" y="21753"/>
                    </a:lnTo>
                    <a:lnTo>
                      <a:pt x="399109" y="-375"/>
                    </a:lnTo>
                    <a:lnTo>
                      <a:pt x="368689" y="13657"/>
                    </a:lnTo>
                    <a:lnTo>
                      <a:pt x="336057" y="9340"/>
                    </a:lnTo>
                    <a:lnTo>
                      <a:pt x="321123" y="17975"/>
                    </a:lnTo>
                    <a:lnTo>
                      <a:pt x="310061" y="51438"/>
                    </a:lnTo>
                    <a:lnTo>
                      <a:pt x="298446" y="56835"/>
                    </a:lnTo>
                    <a:lnTo>
                      <a:pt x="288491" y="70328"/>
                    </a:lnTo>
                    <a:lnTo>
                      <a:pt x="257518" y="61693"/>
                    </a:lnTo>
                    <a:lnTo>
                      <a:pt x="245903" y="83821"/>
                    </a:lnTo>
                    <a:lnTo>
                      <a:pt x="205527" y="93536"/>
                    </a:lnTo>
                    <a:lnTo>
                      <a:pt x="198890" y="107569"/>
                    </a:lnTo>
                    <a:lnTo>
                      <a:pt x="202208" y="115125"/>
                    </a:lnTo>
                    <a:lnTo>
                      <a:pt x="197231" y="128079"/>
                    </a:lnTo>
                    <a:cubicBezTo>
                      <a:pt x="180085" y="134016"/>
                      <a:pt x="163492" y="137794"/>
                      <a:pt x="145793" y="140492"/>
                    </a:cubicBezTo>
                    <a:cubicBezTo>
                      <a:pt x="137497" y="142111"/>
                      <a:pt x="124775" y="141572"/>
                      <a:pt x="116479" y="139953"/>
                    </a:cubicBezTo>
                    <a:cubicBezTo>
                      <a:pt x="107630" y="138873"/>
                      <a:pt x="93802" y="126459"/>
                      <a:pt x="86059" y="121062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8" name="Freeform 1080">
                <a:extLst>
                  <a:ext uri="{FF2B5EF4-FFF2-40B4-BE49-F238E27FC236}">
                    <a16:creationId xmlns:a16="http://schemas.microsoft.com/office/drawing/2014/main" id="{768DC303-207D-4D08-B592-3812D5941FAC}"/>
                  </a:ext>
                </a:extLst>
              </p:cNvPr>
              <p:cNvSpPr/>
              <p:nvPr/>
            </p:nvSpPr>
            <p:spPr>
              <a:xfrm>
                <a:off x="6684563" y="4294641"/>
                <a:ext cx="495503" cy="459304"/>
              </a:xfrm>
              <a:custGeom>
                <a:avLst/>
                <a:gdLst>
                  <a:gd name="connsiteX0" fmla="*/ 287344 w 495503"/>
                  <a:gd name="connsiteY0" fmla="*/ 144226 h 459304"/>
                  <a:gd name="connsiteX1" fmla="*/ 249734 w 495503"/>
                  <a:gd name="connsiteY1" fmla="*/ 156100 h 459304"/>
                  <a:gd name="connsiteX2" fmla="*/ 238672 w 495503"/>
                  <a:gd name="connsiteY2" fmla="*/ 172292 h 459304"/>
                  <a:gd name="connsiteX3" fmla="*/ 227610 w 495503"/>
                  <a:gd name="connsiteY3" fmla="*/ 169053 h 459304"/>
                  <a:gd name="connsiteX4" fmla="*/ 222079 w 495503"/>
                  <a:gd name="connsiteY4" fmla="*/ 157719 h 459304"/>
                  <a:gd name="connsiteX5" fmla="*/ 208805 w 495503"/>
                  <a:gd name="connsiteY5" fmla="*/ 155560 h 459304"/>
                  <a:gd name="connsiteX6" fmla="*/ 200509 w 495503"/>
                  <a:gd name="connsiteY6" fmla="*/ 194420 h 459304"/>
                  <a:gd name="connsiteX7" fmla="*/ 255818 w 495503"/>
                  <a:gd name="connsiteY7" fmla="*/ 277538 h 459304"/>
                  <a:gd name="connsiteX8" fmla="*/ 281813 w 495503"/>
                  <a:gd name="connsiteY8" fmla="*/ 295349 h 459304"/>
                  <a:gd name="connsiteX9" fmla="*/ 322742 w 495503"/>
                  <a:gd name="connsiteY9" fmla="*/ 340146 h 459304"/>
                  <a:gd name="connsiteX10" fmla="*/ 350950 w 495503"/>
                  <a:gd name="connsiteY10" fmla="*/ 349321 h 459304"/>
                  <a:gd name="connsiteX11" fmla="*/ 381370 w 495503"/>
                  <a:gd name="connsiteY11" fmla="*/ 386562 h 459304"/>
                  <a:gd name="connsiteX12" fmla="*/ 379157 w 495503"/>
                  <a:gd name="connsiteY12" fmla="*/ 398975 h 459304"/>
                  <a:gd name="connsiteX13" fmla="*/ 370861 w 495503"/>
                  <a:gd name="connsiteY13" fmla="*/ 404912 h 459304"/>
                  <a:gd name="connsiteX14" fmla="*/ 349290 w 495503"/>
                  <a:gd name="connsiteY14" fmla="*/ 384943 h 459304"/>
                  <a:gd name="connsiteX15" fmla="*/ 324954 w 495503"/>
                  <a:gd name="connsiteY15" fmla="*/ 375228 h 459304"/>
                  <a:gd name="connsiteX16" fmla="*/ 308362 w 495503"/>
                  <a:gd name="connsiteY16" fmla="*/ 360655 h 459304"/>
                  <a:gd name="connsiteX17" fmla="*/ 299512 w 495503"/>
                  <a:gd name="connsiteY17" fmla="*/ 359036 h 459304"/>
                  <a:gd name="connsiteX18" fmla="*/ 266327 w 495503"/>
                  <a:gd name="connsiteY18" fmla="*/ 348781 h 459304"/>
                  <a:gd name="connsiteX19" fmla="*/ 231482 w 495503"/>
                  <a:gd name="connsiteY19" fmla="*/ 359036 h 459304"/>
                  <a:gd name="connsiteX20" fmla="*/ 224845 w 495503"/>
                  <a:gd name="connsiteY20" fmla="*/ 357417 h 459304"/>
                  <a:gd name="connsiteX21" fmla="*/ 224845 w 495503"/>
                  <a:gd name="connsiteY21" fmla="*/ 348781 h 459304"/>
                  <a:gd name="connsiteX22" fmla="*/ 211017 w 495503"/>
                  <a:gd name="connsiteY22" fmla="*/ 328811 h 459304"/>
                  <a:gd name="connsiteX23" fmla="*/ 206593 w 495503"/>
                  <a:gd name="connsiteY23" fmla="*/ 325033 h 459304"/>
                  <a:gd name="connsiteX24" fmla="*/ 159580 w 495503"/>
                  <a:gd name="connsiteY24" fmla="*/ 281856 h 459304"/>
                  <a:gd name="connsiteX25" fmla="*/ 176173 w 495503"/>
                  <a:gd name="connsiteY25" fmla="*/ 267823 h 459304"/>
                  <a:gd name="connsiteX26" fmla="*/ 175066 w 495503"/>
                  <a:gd name="connsiteY26" fmla="*/ 266204 h 459304"/>
                  <a:gd name="connsiteX27" fmla="*/ 149071 w 495503"/>
                  <a:gd name="connsiteY27" fmla="*/ 255409 h 459304"/>
                  <a:gd name="connsiteX28" fmla="*/ 145752 w 495503"/>
                  <a:gd name="connsiteY28" fmla="*/ 249472 h 459304"/>
                  <a:gd name="connsiteX29" fmla="*/ 133584 w 495503"/>
                  <a:gd name="connsiteY29" fmla="*/ 237058 h 459304"/>
                  <a:gd name="connsiteX30" fmla="*/ 130266 w 495503"/>
                  <a:gd name="connsiteY30" fmla="*/ 232201 h 459304"/>
                  <a:gd name="connsiteX31" fmla="*/ 124735 w 495503"/>
                  <a:gd name="connsiteY31" fmla="*/ 228423 h 459304"/>
                  <a:gd name="connsiteX32" fmla="*/ 116992 w 495503"/>
                  <a:gd name="connsiteY32" fmla="*/ 180388 h 459304"/>
                  <a:gd name="connsiteX33" fmla="*/ 115886 w 495503"/>
                  <a:gd name="connsiteY33" fmla="*/ 180388 h 459304"/>
                  <a:gd name="connsiteX34" fmla="*/ 104824 w 495503"/>
                  <a:gd name="connsiteY34" fmla="*/ 177149 h 459304"/>
                  <a:gd name="connsiteX35" fmla="*/ 92656 w 495503"/>
                  <a:gd name="connsiteY35" fmla="*/ 164736 h 459304"/>
                  <a:gd name="connsiteX36" fmla="*/ 67213 w 495503"/>
                  <a:gd name="connsiteY36" fmla="*/ 155560 h 459304"/>
                  <a:gd name="connsiteX37" fmla="*/ 57258 w 495503"/>
                  <a:gd name="connsiteY37" fmla="*/ 184705 h 459304"/>
                  <a:gd name="connsiteX38" fmla="*/ 40112 w 495503"/>
                  <a:gd name="connsiteY38" fmla="*/ 218708 h 459304"/>
                  <a:gd name="connsiteX39" fmla="*/ 23519 w 495503"/>
                  <a:gd name="connsiteY39" fmla="*/ 205215 h 459304"/>
                  <a:gd name="connsiteX40" fmla="*/ 10245 w 495503"/>
                  <a:gd name="connsiteY40" fmla="*/ 176609 h 459304"/>
                  <a:gd name="connsiteX41" fmla="*/ 3055 w 495503"/>
                  <a:gd name="connsiteY41" fmla="*/ 166355 h 459304"/>
                  <a:gd name="connsiteX42" fmla="*/ 5820 w 495503"/>
                  <a:gd name="connsiteY42" fmla="*/ 141527 h 459304"/>
                  <a:gd name="connsiteX43" fmla="*/ 47855 w 495503"/>
                  <a:gd name="connsiteY43" fmla="*/ 142067 h 459304"/>
                  <a:gd name="connsiteX44" fmla="*/ 69426 w 495503"/>
                  <a:gd name="connsiteY44" fmla="*/ 131812 h 459304"/>
                  <a:gd name="connsiteX45" fmla="*/ 85465 w 495503"/>
                  <a:gd name="connsiteY45" fmla="*/ 116160 h 459304"/>
                  <a:gd name="connsiteX46" fmla="*/ 95974 w 495503"/>
                  <a:gd name="connsiteY46" fmla="*/ 110223 h 459304"/>
                  <a:gd name="connsiteX47" fmla="*/ 104824 w 495503"/>
                  <a:gd name="connsiteY47" fmla="*/ 127495 h 459304"/>
                  <a:gd name="connsiteX48" fmla="*/ 118651 w 495503"/>
                  <a:gd name="connsiteY48" fmla="*/ 128574 h 459304"/>
                  <a:gd name="connsiteX49" fmla="*/ 130266 w 495503"/>
                  <a:gd name="connsiteY49" fmla="*/ 124796 h 459304"/>
                  <a:gd name="connsiteX50" fmla="*/ 145199 w 495503"/>
                  <a:gd name="connsiteY50" fmla="*/ 128574 h 459304"/>
                  <a:gd name="connsiteX51" fmla="*/ 155155 w 495503"/>
                  <a:gd name="connsiteY51" fmla="*/ 123717 h 459304"/>
                  <a:gd name="connsiteX52" fmla="*/ 159580 w 495503"/>
                  <a:gd name="connsiteY52" fmla="*/ 115621 h 459304"/>
                  <a:gd name="connsiteX53" fmla="*/ 160686 w 495503"/>
                  <a:gd name="connsiteY53" fmla="*/ 90793 h 459304"/>
                  <a:gd name="connsiteX54" fmla="*/ 181703 w 495503"/>
                  <a:gd name="connsiteY54" fmla="*/ 74062 h 459304"/>
                  <a:gd name="connsiteX55" fmla="*/ 182810 w 495503"/>
                  <a:gd name="connsiteY55" fmla="*/ 30344 h 459304"/>
                  <a:gd name="connsiteX56" fmla="*/ 208805 w 495503"/>
                  <a:gd name="connsiteY56" fmla="*/ 20629 h 459304"/>
                  <a:gd name="connsiteX57" fmla="*/ 238672 w 495503"/>
                  <a:gd name="connsiteY57" fmla="*/ -420 h 459304"/>
                  <a:gd name="connsiteX58" fmla="*/ 263561 w 495503"/>
                  <a:gd name="connsiteY58" fmla="*/ 13073 h 459304"/>
                  <a:gd name="connsiteX59" fmla="*/ 274070 w 495503"/>
                  <a:gd name="connsiteY59" fmla="*/ 24407 h 459304"/>
                  <a:gd name="connsiteX60" fmla="*/ 282919 w 495503"/>
                  <a:gd name="connsiteY60" fmla="*/ 30344 h 459304"/>
                  <a:gd name="connsiteX61" fmla="*/ 290110 w 495503"/>
                  <a:gd name="connsiteY61" fmla="*/ 38980 h 459304"/>
                  <a:gd name="connsiteX62" fmla="*/ 310021 w 495503"/>
                  <a:gd name="connsiteY62" fmla="*/ 54632 h 459304"/>
                  <a:gd name="connsiteX63" fmla="*/ 337122 w 495503"/>
                  <a:gd name="connsiteY63" fmla="*/ 56251 h 459304"/>
                  <a:gd name="connsiteX64" fmla="*/ 360352 w 495503"/>
                  <a:gd name="connsiteY64" fmla="*/ 66506 h 459304"/>
                  <a:gd name="connsiteX65" fmla="*/ 396856 w 495503"/>
                  <a:gd name="connsiteY65" fmla="*/ 65426 h 459304"/>
                  <a:gd name="connsiteX66" fmla="*/ 401834 w 495503"/>
                  <a:gd name="connsiteY66" fmla="*/ 69744 h 459304"/>
                  <a:gd name="connsiteX67" fmla="*/ 414002 w 495503"/>
                  <a:gd name="connsiteY67" fmla="*/ 63268 h 459304"/>
                  <a:gd name="connsiteX68" fmla="*/ 422299 w 495503"/>
                  <a:gd name="connsiteY68" fmla="*/ 50314 h 459304"/>
                  <a:gd name="connsiteX69" fmla="*/ 442763 w 495503"/>
                  <a:gd name="connsiteY69" fmla="*/ 48155 h 459304"/>
                  <a:gd name="connsiteX70" fmla="*/ 444975 w 495503"/>
                  <a:gd name="connsiteY70" fmla="*/ 60029 h 459304"/>
                  <a:gd name="connsiteX71" fmla="*/ 456590 w 495503"/>
                  <a:gd name="connsiteY71" fmla="*/ 85936 h 459304"/>
                  <a:gd name="connsiteX72" fmla="*/ 468205 w 495503"/>
                  <a:gd name="connsiteY72" fmla="*/ 105906 h 459304"/>
                  <a:gd name="connsiteX73" fmla="*/ 487563 w 495503"/>
                  <a:gd name="connsiteY73" fmla="*/ 112922 h 459304"/>
                  <a:gd name="connsiteX74" fmla="*/ 481479 w 495503"/>
                  <a:gd name="connsiteY74" fmla="*/ 139908 h 459304"/>
                  <a:gd name="connsiteX75" fmla="*/ 494754 w 495503"/>
                  <a:gd name="connsiteY75" fmla="*/ 155021 h 459304"/>
                  <a:gd name="connsiteX76" fmla="*/ 480373 w 495503"/>
                  <a:gd name="connsiteY76" fmla="*/ 155560 h 459304"/>
                  <a:gd name="connsiteX77" fmla="*/ 451059 w 495503"/>
                  <a:gd name="connsiteY77" fmla="*/ 164736 h 459304"/>
                  <a:gd name="connsiteX78" fmla="*/ 438891 w 495503"/>
                  <a:gd name="connsiteY78" fmla="*/ 146925 h 459304"/>
                  <a:gd name="connsiteX79" fmla="*/ 417874 w 495503"/>
                  <a:gd name="connsiteY79" fmla="*/ 145306 h 459304"/>
                  <a:gd name="connsiteX80" fmla="*/ 399069 w 495503"/>
                  <a:gd name="connsiteY80" fmla="*/ 142607 h 459304"/>
                  <a:gd name="connsiteX81" fmla="*/ 389666 w 495503"/>
                  <a:gd name="connsiteY81" fmla="*/ 148004 h 459304"/>
                  <a:gd name="connsiteX82" fmla="*/ 378604 w 495503"/>
                  <a:gd name="connsiteY82" fmla="*/ 145845 h 459304"/>
                  <a:gd name="connsiteX83" fmla="*/ 365883 w 495503"/>
                  <a:gd name="connsiteY83" fmla="*/ 154481 h 459304"/>
                  <a:gd name="connsiteX84" fmla="*/ 351503 w 495503"/>
                  <a:gd name="connsiteY84" fmla="*/ 151782 h 459304"/>
                  <a:gd name="connsiteX85" fmla="*/ 339888 w 495503"/>
                  <a:gd name="connsiteY85" fmla="*/ 152862 h 459304"/>
                  <a:gd name="connsiteX86" fmla="*/ 287344 w 495503"/>
                  <a:gd name="connsiteY86" fmla="*/ 144226 h 459304"/>
                  <a:gd name="connsiteX87" fmla="*/ 458249 w 495503"/>
                  <a:gd name="connsiteY87" fmla="*/ 458885 h 459304"/>
                  <a:gd name="connsiteX88" fmla="*/ 438891 w 495503"/>
                  <a:gd name="connsiteY88" fmla="*/ 439994 h 459304"/>
                  <a:gd name="connsiteX89" fmla="*/ 424511 w 495503"/>
                  <a:gd name="connsiteY89" fmla="*/ 435677 h 459304"/>
                  <a:gd name="connsiteX90" fmla="*/ 420086 w 495503"/>
                  <a:gd name="connsiteY90" fmla="*/ 428660 h 459304"/>
                  <a:gd name="connsiteX91" fmla="*/ 407918 w 495503"/>
                  <a:gd name="connsiteY91" fmla="*/ 423263 h 459304"/>
                  <a:gd name="connsiteX92" fmla="*/ 396856 w 495503"/>
                  <a:gd name="connsiteY92" fmla="*/ 417326 h 459304"/>
                  <a:gd name="connsiteX93" fmla="*/ 391325 w 495503"/>
                  <a:gd name="connsiteY93" fmla="*/ 418406 h 459304"/>
                  <a:gd name="connsiteX94" fmla="*/ 392985 w 495503"/>
                  <a:gd name="connsiteY94" fmla="*/ 424882 h 459304"/>
                  <a:gd name="connsiteX95" fmla="*/ 375286 w 495503"/>
                  <a:gd name="connsiteY95" fmla="*/ 417866 h 459304"/>
                  <a:gd name="connsiteX96" fmla="*/ 340994 w 495503"/>
                  <a:gd name="connsiteY96" fmla="*/ 409230 h 459304"/>
                  <a:gd name="connsiteX97" fmla="*/ 333804 w 495503"/>
                  <a:gd name="connsiteY97" fmla="*/ 406532 h 459304"/>
                  <a:gd name="connsiteX98" fmla="*/ 328826 w 495503"/>
                  <a:gd name="connsiteY98" fmla="*/ 405452 h 459304"/>
                  <a:gd name="connsiteX99" fmla="*/ 327720 w 495503"/>
                  <a:gd name="connsiteY99" fmla="*/ 403293 h 459304"/>
                  <a:gd name="connsiteX100" fmla="*/ 332145 w 495503"/>
                  <a:gd name="connsiteY100" fmla="*/ 401134 h 459304"/>
                  <a:gd name="connsiteX101" fmla="*/ 360905 w 495503"/>
                  <a:gd name="connsiteY101" fmla="*/ 408690 h 459304"/>
                  <a:gd name="connsiteX102" fmla="*/ 370861 w 495503"/>
                  <a:gd name="connsiteY102" fmla="*/ 411389 h 459304"/>
                  <a:gd name="connsiteX103" fmla="*/ 375839 w 495503"/>
                  <a:gd name="connsiteY103" fmla="*/ 413008 h 459304"/>
                  <a:gd name="connsiteX104" fmla="*/ 378604 w 495503"/>
                  <a:gd name="connsiteY104" fmla="*/ 411929 h 459304"/>
                  <a:gd name="connsiteX105" fmla="*/ 395197 w 495503"/>
                  <a:gd name="connsiteY105" fmla="*/ 406532 h 459304"/>
                  <a:gd name="connsiteX106" fmla="*/ 441657 w 495503"/>
                  <a:gd name="connsiteY106" fmla="*/ 428660 h 459304"/>
                  <a:gd name="connsiteX107" fmla="*/ 456590 w 495503"/>
                  <a:gd name="connsiteY107" fmla="*/ 444852 h 459304"/>
                  <a:gd name="connsiteX108" fmla="*/ 458249 w 495503"/>
                  <a:gd name="connsiteY108" fmla="*/ 458885 h 459304"/>
                  <a:gd name="connsiteX109" fmla="*/ 305596 w 495503"/>
                  <a:gd name="connsiteY109" fmla="*/ 390340 h 459304"/>
                  <a:gd name="connsiteX110" fmla="*/ 313339 w 495503"/>
                  <a:gd name="connsiteY110" fmla="*/ 390340 h 459304"/>
                  <a:gd name="connsiteX111" fmla="*/ 326614 w 495503"/>
                  <a:gd name="connsiteY111" fmla="*/ 391959 h 459304"/>
                  <a:gd name="connsiteX112" fmla="*/ 327720 w 495503"/>
                  <a:gd name="connsiteY112" fmla="*/ 393578 h 459304"/>
                  <a:gd name="connsiteX113" fmla="*/ 303384 w 495503"/>
                  <a:gd name="connsiteY113" fmla="*/ 396277 h 459304"/>
                  <a:gd name="connsiteX114" fmla="*/ 290663 w 495503"/>
                  <a:gd name="connsiteY114" fmla="*/ 393578 h 459304"/>
                  <a:gd name="connsiteX115" fmla="*/ 273517 w 495503"/>
                  <a:gd name="connsiteY115" fmla="*/ 389260 h 459304"/>
                  <a:gd name="connsiteX116" fmla="*/ 296747 w 495503"/>
                  <a:gd name="connsiteY116" fmla="*/ 386562 h 459304"/>
                  <a:gd name="connsiteX117" fmla="*/ 305596 w 495503"/>
                  <a:gd name="connsiteY117" fmla="*/ 390340 h 459304"/>
                  <a:gd name="connsiteX118" fmla="*/ 125841 w 495503"/>
                  <a:gd name="connsiteY118" fmla="*/ 289951 h 459304"/>
                  <a:gd name="connsiteX119" fmla="*/ 129713 w 495503"/>
                  <a:gd name="connsiteY119" fmla="*/ 288332 h 459304"/>
                  <a:gd name="connsiteX120" fmla="*/ 131925 w 495503"/>
                  <a:gd name="connsiteY120" fmla="*/ 289412 h 459304"/>
                  <a:gd name="connsiteX121" fmla="*/ 155708 w 495503"/>
                  <a:gd name="connsiteY121" fmla="*/ 310461 h 459304"/>
                  <a:gd name="connsiteX122" fmla="*/ 150730 w 495503"/>
                  <a:gd name="connsiteY122" fmla="*/ 319096 h 459304"/>
                  <a:gd name="connsiteX123" fmla="*/ 145199 w 495503"/>
                  <a:gd name="connsiteY123" fmla="*/ 311540 h 459304"/>
                  <a:gd name="connsiteX124" fmla="*/ 136903 w 495503"/>
                  <a:gd name="connsiteY124" fmla="*/ 302905 h 459304"/>
                  <a:gd name="connsiteX125" fmla="*/ 130266 w 495503"/>
                  <a:gd name="connsiteY125" fmla="*/ 295888 h 459304"/>
                  <a:gd name="connsiteX126" fmla="*/ 125841 w 495503"/>
                  <a:gd name="connsiteY126" fmla="*/ 291571 h 459304"/>
                  <a:gd name="connsiteX127" fmla="*/ 125841 w 495503"/>
                  <a:gd name="connsiteY127" fmla="*/ 289951 h 459304"/>
                  <a:gd name="connsiteX128" fmla="*/ 127500 w 495503"/>
                  <a:gd name="connsiteY128" fmla="*/ 249472 h 459304"/>
                  <a:gd name="connsiteX129" fmla="*/ 151283 w 495503"/>
                  <a:gd name="connsiteY129" fmla="*/ 266743 h 459304"/>
                  <a:gd name="connsiteX130" fmla="*/ 151837 w 495503"/>
                  <a:gd name="connsiteY130" fmla="*/ 274839 h 459304"/>
                  <a:gd name="connsiteX131" fmla="*/ 150730 w 495503"/>
                  <a:gd name="connsiteY131" fmla="*/ 277538 h 459304"/>
                  <a:gd name="connsiteX132" fmla="*/ 147965 w 495503"/>
                  <a:gd name="connsiteY132" fmla="*/ 277538 h 459304"/>
                  <a:gd name="connsiteX133" fmla="*/ 143540 w 495503"/>
                  <a:gd name="connsiteY133" fmla="*/ 266204 h 459304"/>
                  <a:gd name="connsiteX134" fmla="*/ 131925 w 495503"/>
                  <a:gd name="connsiteY134" fmla="*/ 260267 h 459304"/>
                  <a:gd name="connsiteX135" fmla="*/ 128054 w 495503"/>
                  <a:gd name="connsiteY135" fmla="*/ 256489 h 459304"/>
                  <a:gd name="connsiteX136" fmla="*/ 125841 w 495503"/>
                  <a:gd name="connsiteY136" fmla="*/ 253790 h 459304"/>
                  <a:gd name="connsiteX137" fmla="*/ 127500 w 495503"/>
                  <a:gd name="connsiteY137" fmla="*/ 249472 h 459304"/>
                  <a:gd name="connsiteX138" fmla="*/ 81594 w 495503"/>
                  <a:gd name="connsiteY138" fmla="*/ 199278 h 459304"/>
                  <a:gd name="connsiteX139" fmla="*/ 83253 w 495503"/>
                  <a:gd name="connsiteY139" fmla="*/ 216549 h 459304"/>
                  <a:gd name="connsiteX140" fmla="*/ 90996 w 495503"/>
                  <a:gd name="connsiteY140" fmla="*/ 232741 h 459304"/>
                  <a:gd name="connsiteX141" fmla="*/ 89890 w 495503"/>
                  <a:gd name="connsiteY141" fmla="*/ 238138 h 459304"/>
                  <a:gd name="connsiteX142" fmla="*/ 87125 w 495503"/>
                  <a:gd name="connsiteY142" fmla="*/ 237598 h 459304"/>
                  <a:gd name="connsiteX143" fmla="*/ 72744 w 495503"/>
                  <a:gd name="connsiteY143" fmla="*/ 209533 h 459304"/>
                  <a:gd name="connsiteX144" fmla="*/ 74404 w 495503"/>
                  <a:gd name="connsiteY144" fmla="*/ 197659 h 459304"/>
                  <a:gd name="connsiteX145" fmla="*/ 64448 w 495503"/>
                  <a:gd name="connsiteY145" fmla="*/ 182007 h 459304"/>
                  <a:gd name="connsiteX146" fmla="*/ 66107 w 495503"/>
                  <a:gd name="connsiteY146" fmla="*/ 178229 h 459304"/>
                  <a:gd name="connsiteX147" fmla="*/ 75510 w 495503"/>
                  <a:gd name="connsiteY147" fmla="*/ 187944 h 459304"/>
                  <a:gd name="connsiteX148" fmla="*/ 81594 w 495503"/>
                  <a:gd name="connsiteY148" fmla="*/ 199278 h 459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</a:cxnLst>
                <a:rect l="l" t="t" r="r" b="b"/>
                <a:pathLst>
                  <a:path w="495503" h="459304">
                    <a:moveTo>
                      <a:pt x="287344" y="144226"/>
                    </a:moveTo>
                    <a:lnTo>
                      <a:pt x="249734" y="156100"/>
                    </a:lnTo>
                    <a:lnTo>
                      <a:pt x="238672" y="172292"/>
                    </a:lnTo>
                    <a:lnTo>
                      <a:pt x="227610" y="169053"/>
                    </a:lnTo>
                    <a:lnTo>
                      <a:pt x="222079" y="157719"/>
                    </a:lnTo>
                    <a:lnTo>
                      <a:pt x="208805" y="155560"/>
                    </a:lnTo>
                    <a:lnTo>
                      <a:pt x="200509" y="194420"/>
                    </a:lnTo>
                    <a:lnTo>
                      <a:pt x="255818" y="277538"/>
                    </a:lnTo>
                    <a:lnTo>
                      <a:pt x="281813" y="295349"/>
                    </a:lnTo>
                    <a:lnTo>
                      <a:pt x="322742" y="340146"/>
                    </a:lnTo>
                    <a:lnTo>
                      <a:pt x="350950" y="349321"/>
                    </a:lnTo>
                    <a:lnTo>
                      <a:pt x="381370" y="386562"/>
                    </a:lnTo>
                    <a:lnTo>
                      <a:pt x="379157" y="398975"/>
                    </a:lnTo>
                    <a:lnTo>
                      <a:pt x="370861" y="404912"/>
                    </a:lnTo>
                    <a:cubicBezTo>
                      <a:pt x="360905" y="398975"/>
                      <a:pt x="358693" y="389800"/>
                      <a:pt x="349290" y="384943"/>
                    </a:cubicBezTo>
                    <a:cubicBezTo>
                      <a:pt x="341547" y="381165"/>
                      <a:pt x="332145" y="380085"/>
                      <a:pt x="324954" y="375228"/>
                    </a:cubicBezTo>
                    <a:cubicBezTo>
                      <a:pt x="318870" y="371450"/>
                      <a:pt x="314999" y="364433"/>
                      <a:pt x="308362" y="360655"/>
                    </a:cubicBezTo>
                    <a:cubicBezTo>
                      <a:pt x="306702" y="359576"/>
                      <a:pt x="302278" y="359576"/>
                      <a:pt x="299512" y="359036"/>
                    </a:cubicBezTo>
                    <a:cubicBezTo>
                      <a:pt x="290663" y="356877"/>
                      <a:pt x="274623" y="348781"/>
                      <a:pt x="266327" y="348781"/>
                    </a:cubicBezTo>
                    <a:cubicBezTo>
                      <a:pt x="254712" y="348781"/>
                      <a:pt x="244756" y="360115"/>
                      <a:pt x="231482" y="359036"/>
                    </a:cubicBezTo>
                    <a:cubicBezTo>
                      <a:pt x="229822" y="358496"/>
                      <a:pt x="225951" y="358496"/>
                      <a:pt x="224845" y="357417"/>
                    </a:cubicBezTo>
                    <a:cubicBezTo>
                      <a:pt x="224292" y="355798"/>
                      <a:pt x="225398" y="350940"/>
                      <a:pt x="224845" y="348781"/>
                    </a:cubicBezTo>
                    <a:cubicBezTo>
                      <a:pt x="223738" y="346083"/>
                      <a:pt x="213783" y="331510"/>
                      <a:pt x="211017" y="328811"/>
                    </a:cubicBezTo>
                    <a:cubicBezTo>
                      <a:pt x="209911" y="327732"/>
                      <a:pt x="208252" y="326113"/>
                      <a:pt x="206593" y="325033"/>
                    </a:cubicBezTo>
                    <a:cubicBezTo>
                      <a:pt x="184469" y="312620"/>
                      <a:pt x="164005" y="310461"/>
                      <a:pt x="159580" y="281856"/>
                    </a:cubicBezTo>
                    <a:cubicBezTo>
                      <a:pt x="157921" y="273220"/>
                      <a:pt x="173960" y="279697"/>
                      <a:pt x="176173" y="267823"/>
                    </a:cubicBezTo>
                    <a:cubicBezTo>
                      <a:pt x="175619" y="267283"/>
                      <a:pt x="175619" y="266743"/>
                      <a:pt x="175066" y="266204"/>
                    </a:cubicBezTo>
                    <a:cubicBezTo>
                      <a:pt x="173960" y="265664"/>
                      <a:pt x="152943" y="258647"/>
                      <a:pt x="149071" y="255409"/>
                    </a:cubicBezTo>
                    <a:cubicBezTo>
                      <a:pt x="147965" y="253790"/>
                      <a:pt x="146859" y="251091"/>
                      <a:pt x="145752" y="249472"/>
                    </a:cubicBezTo>
                    <a:cubicBezTo>
                      <a:pt x="141881" y="244615"/>
                      <a:pt x="137456" y="241376"/>
                      <a:pt x="133584" y="237058"/>
                    </a:cubicBezTo>
                    <a:cubicBezTo>
                      <a:pt x="132478" y="235439"/>
                      <a:pt x="131925" y="233820"/>
                      <a:pt x="130266" y="232201"/>
                    </a:cubicBezTo>
                    <a:cubicBezTo>
                      <a:pt x="129160" y="231122"/>
                      <a:pt x="125841" y="230042"/>
                      <a:pt x="124735" y="228423"/>
                    </a:cubicBezTo>
                    <a:cubicBezTo>
                      <a:pt x="116439" y="216549"/>
                      <a:pt x="126947" y="187404"/>
                      <a:pt x="116992" y="180388"/>
                    </a:cubicBezTo>
                    <a:lnTo>
                      <a:pt x="115886" y="180388"/>
                    </a:lnTo>
                    <a:cubicBezTo>
                      <a:pt x="114779" y="180927"/>
                      <a:pt x="105930" y="177689"/>
                      <a:pt x="104824" y="177149"/>
                    </a:cubicBezTo>
                    <a:cubicBezTo>
                      <a:pt x="99846" y="173911"/>
                      <a:pt x="97080" y="167974"/>
                      <a:pt x="92656" y="164736"/>
                    </a:cubicBezTo>
                    <a:cubicBezTo>
                      <a:pt x="84359" y="157719"/>
                      <a:pt x="78275" y="155021"/>
                      <a:pt x="67213" y="155560"/>
                    </a:cubicBezTo>
                    <a:cubicBezTo>
                      <a:pt x="59470" y="160957"/>
                      <a:pt x="60023" y="177149"/>
                      <a:pt x="57258" y="184705"/>
                    </a:cubicBezTo>
                    <a:cubicBezTo>
                      <a:pt x="55045" y="190103"/>
                      <a:pt x="42877" y="216009"/>
                      <a:pt x="40112" y="218708"/>
                    </a:cubicBezTo>
                    <a:cubicBezTo>
                      <a:pt x="35687" y="223026"/>
                      <a:pt x="24625" y="207913"/>
                      <a:pt x="23519" y="205215"/>
                    </a:cubicBezTo>
                    <a:cubicBezTo>
                      <a:pt x="17988" y="196040"/>
                      <a:pt x="15223" y="185785"/>
                      <a:pt x="10245" y="176609"/>
                    </a:cubicBezTo>
                    <a:cubicBezTo>
                      <a:pt x="8033" y="172831"/>
                      <a:pt x="4714" y="170133"/>
                      <a:pt x="3055" y="166355"/>
                    </a:cubicBezTo>
                    <a:cubicBezTo>
                      <a:pt x="-817" y="158799"/>
                      <a:pt x="-4135" y="146385"/>
                      <a:pt x="5820" y="141527"/>
                    </a:cubicBezTo>
                    <a:lnTo>
                      <a:pt x="47855" y="142067"/>
                    </a:lnTo>
                    <a:lnTo>
                      <a:pt x="69426" y="131812"/>
                    </a:lnTo>
                    <a:lnTo>
                      <a:pt x="85465" y="116160"/>
                    </a:lnTo>
                    <a:lnTo>
                      <a:pt x="95974" y="110223"/>
                    </a:lnTo>
                    <a:lnTo>
                      <a:pt x="104824" y="127495"/>
                    </a:lnTo>
                    <a:lnTo>
                      <a:pt x="118651" y="128574"/>
                    </a:lnTo>
                    <a:lnTo>
                      <a:pt x="130266" y="124796"/>
                    </a:lnTo>
                    <a:lnTo>
                      <a:pt x="145199" y="128574"/>
                    </a:lnTo>
                    <a:lnTo>
                      <a:pt x="155155" y="123717"/>
                    </a:lnTo>
                    <a:lnTo>
                      <a:pt x="159580" y="115621"/>
                    </a:lnTo>
                    <a:lnTo>
                      <a:pt x="160686" y="90793"/>
                    </a:lnTo>
                    <a:lnTo>
                      <a:pt x="181703" y="74062"/>
                    </a:lnTo>
                    <a:lnTo>
                      <a:pt x="182810" y="30344"/>
                    </a:lnTo>
                    <a:lnTo>
                      <a:pt x="208805" y="20629"/>
                    </a:lnTo>
                    <a:lnTo>
                      <a:pt x="238672" y="-420"/>
                    </a:lnTo>
                    <a:lnTo>
                      <a:pt x="263561" y="13073"/>
                    </a:lnTo>
                    <a:lnTo>
                      <a:pt x="274070" y="24407"/>
                    </a:lnTo>
                    <a:cubicBezTo>
                      <a:pt x="276835" y="26566"/>
                      <a:pt x="280154" y="28186"/>
                      <a:pt x="282919" y="30344"/>
                    </a:cubicBezTo>
                    <a:cubicBezTo>
                      <a:pt x="285685" y="32503"/>
                      <a:pt x="287344" y="36281"/>
                      <a:pt x="290110" y="38980"/>
                    </a:cubicBezTo>
                    <a:cubicBezTo>
                      <a:pt x="296194" y="44377"/>
                      <a:pt x="303384" y="50314"/>
                      <a:pt x="310021" y="54632"/>
                    </a:cubicBezTo>
                    <a:cubicBezTo>
                      <a:pt x="313339" y="56251"/>
                      <a:pt x="331038" y="54632"/>
                      <a:pt x="337122" y="56251"/>
                    </a:cubicBezTo>
                    <a:cubicBezTo>
                      <a:pt x="344313" y="58410"/>
                      <a:pt x="343759" y="67046"/>
                      <a:pt x="360352" y="66506"/>
                    </a:cubicBezTo>
                    <a:cubicBezTo>
                      <a:pt x="371414" y="66506"/>
                      <a:pt x="385794" y="61648"/>
                      <a:pt x="396856" y="65426"/>
                    </a:cubicBezTo>
                    <a:cubicBezTo>
                      <a:pt x="399069" y="66506"/>
                      <a:pt x="400175" y="68665"/>
                      <a:pt x="401834" y="69744"/>
                    </a:cubicBezTo>
                    <a:lnTo>
                      <a:pt x="414002" y="63268"/>
                    </a:lnTo>
                    <a:lnTo>
                      <a:pt x="422299" y="50314"/>
                    </a:lnTo>
                    <a:lnTo>
                      <a:pt x="442763" y="48155"/>
                    </a:lnTo>
                    <a:lnTo>
                      <a:pt x="444975" y="60029"/>
                    </a:lnTo>
                    <a:cubicBezTo>
                      <a:pt x="446081" y="70284"/>
                      <a:pt x="453272" y="81078"/>
                      <a:pt x="456590" y="85936"/>
                    </a:cubicBezTo>
                    <a:cubicBezTo>
                      <a:pt x="465440" y="99429"/>
                      <a:pt x="452719" y="93492"/>
                      <a:pt x="468205" y="105906"/>
                    </a:cubicBezTo>
                    <a:cubicBezTo>
                      <a:pt x="473736" y="110223"/>
                      <a:pt x="480373" y="112382"/>
                      <a:pt x="487563" y="112922"/>
                    </a:cubicBezTo>
                    <a:lnTo>
                      <a:pt x="481479" y="139908"/>
                    </a:lnTo>
                    <a:lnTo>
                      <a:pt x="494754" y="155021"/>
                    </a:lnTo>
                    <a:cubicBezTo>
                      <a:pt x="489776" y="156100"/>
                      <a:pt x="484798" y="154481"/>
                      <a:pt x="480373" y="155560"/>
                    </a:cubicBezTo>
                    <a:cubicBezTo>
                      <a:pt x="472630" y="158259"/>
                      <a:pt x="459356" y="171212"/>
                      <a:pt x="451059" y="164736"/>
                    </a:cubicBezTo>
                    <a:cubicBezTo>
                      <a:pt x="445528" y="159878"/>
                      <a:pt x="444422" y="151242"/>
                      <a:pt x="438891" y="146925"/>
                    </a:cubicBezTo>
                    <a:cubicBezTo>
                      <a:pt x="435020" y="143686"/>
                      <a:pt x="423405" y="144766"/>
                      <a:pt x="417874" y="145306"/>
                    </a:cubicBezTo>
                    <a:cubicBezTo>
                      <a:pt x="411237" y="145845"/>
                      <a:pt x="405153" y="142067"/>
                      <a:pt x="399069" y="142607"/>
                    </a:cubicBezTo>
                    <a:cubicBezTo>
                      <a:pt x="395750" y="143147"/>
                      <a:pt x="392985" y="147464"/>
                      <a:pt x="389666" y="148004"/>
                    </a:cubicBezTo>
                    <a:cubicBezTo>
                      <a:pt x="386348" y="148544"/>
                      <a:pt x="381923" y="144766"/>
                      <a:pt x="378604" y="145845"/>
                    </a:cubicBezTo>
                    <a:cubicBezTo>
                      <a:pt x="373626" y="146925"/>
                      <a:pt x="370308" y="154481"/>
                      <a:pt x="365883" y="154481"/>
                    </a:cubicBezTo>
                    <a:cubicBezTo>
                      <a:pt x="360905" y="154481"/>
                      <a:pt x="355927" y="151782"/>
                      <a:pt x="351503" y="151782"/>
                    </a:cubicBezTo>
                    <a:cubicBezTo>
                      <a:pt x="347631" y="151782"/>
                      <a:pt x="343759" y="153401"/>
                      <a:pt x="339888" y="152862"/>
                    </a:cubicBezTo>
                    <a:cubicBezTo>
                      <a:pt x="332145" y="152322"/>
                      <a:pt x="292875" y="146385"/>
                      <a:pt x="287344" y="144226"/>
                    </a:cubicBezTo>
                    <a:close/>
                    <a:moveTo>
                      <a:pt x="458249" y="458885"/>
                    </a:moveTo>
                    <a:cubicBezTo>
                      <a:pt x="453272" y="456726"/>
                      <a:pt x="445528" y="443773"/>
                      <a:pt x="438891" y="439994"/>
                    </a:cubicBezTo>
                    <a:cubicBezTo>
                      <a:pt x="435020" y="437296"/>
                      <a:pt x="428383" y="437836"/>
                      <a:pt x="424511" y="435677"/>
                    </a:cubicBezTo>
                    <a:cubicBezTo>
                      <a:pt x="422852" y="434597"/>
                      <a:pt x="421745" y="430279"/>
                      <a:pt x="420086" y="428660"/>
                    </a:cubicBezTo>
                    <a:cubicBezTo>
                      <a:pt x="418427" y="427041"/>
                      <a:pt x="411237" y="424342"/>
                      <a:pt x="407918" y="423263"/>
                    </a:cubicBezTo>
                    <a:cubicBezTo>
                      <a:pt x="405706" y="421644"/>
                      <a:pt x="399622" y="417326"/>
                      <a:pt x="396856" y="417326"/>
                    </a:cubicBezTo>
                    <a:cubicBezTo>
                      <a:pt x="395750" y="417326"/>
                      <a:pt x="392432" y="417326"/>
                      <a:pt x="391325" y="418406"/>
                    </a:cubicBezTo>
                    <a:cubicBezTo>
                      <a:pt x="391325" y="420564"/>
                      <a:pt x="392985" y="424882"/>
                      <a:pt x="392985" y="424882"/>
                    </a:cubicBezTo>
                    <a:cubicBezTo>
                      <a:pt x="391325" y="429200"/>
                      <a:pt x="376945" y="418406"/>
                      <a:pt x="375286" y="417866"/>
                    </a:cubicBezTo>
                    <a:cubicBezTo>
                      <a:pt x="364224" y="412469"/>
                      <a:pt x="352056" y="411929"/>
                      <a:pt x="340994" y="409230"/>
                    </a:cubicBezTo>
                    <a:cubicBezTo>
                      <a:pt x="338229" y="408690"/>
                      <a:pt x="336016" y="407611"/>
                      <a:pt x="333804" y="406532"/>
                    </a:cubicBezTo>
                    <a:cubicBezTo>
                      <a:pt x="332145" y="405992"/>
                      <a:pt x="330485" y="405992"/>
                      <a:pt x="328826" y="405452"/>
                    </a:cubicBezTo>
                    <a:lnTo>
                      <a:pt x="327720" y="403293"/>
                    </a:lnTo>
                    <a:cubicBezTo>
                      <a:pt x="328273" y="402754"/>
                      <a:pt x="331038" y="401134"/>
                      <a:pt x="332145" y="401134"/>
                    </a:cubicBezTo>
                    <a:cubicBezTo>
                      <a:pt x="342100" y="400595"/>
                      <a:pt x="351503" y="405452"/>
                      <a:pt x="360905" y="408690"/>
                    </a:cubicBezTo>
                    <a:cubicBezTo>
                      <a:pt x="364224" y="409770"/>
                      <a:pt x="367542" y="410310"/>
                      <a:pt x="370861" y="411389"/>
                    </a:cubicBezTo>
                    <a:cubicBezTo>
                      <a:pt x="371967" y="411929"/>
                      <a:pt x="375286" y="413008"/>
                      <a:pt x="375839" y="413008"/>
                    </a:cubicBezTo>
                    <a:cubicBezTo>
                      <a:pt x="376945" y="413008"/>
                      <a:pt x="378051" y="412469"/>
                      <a:pt x="378604" y="411929"/>
                    </a:cubicBezTo>
                    <a:lnTo>
                      <a:pt x="395197" y="406532"/>
                    </a:lnTo>
                    <a:lnTo>
                      <a:pt x="441657" y="428660"/>
                    </a:lnTo>
                    <a:lnTo>
                      <a:pt x="456590" y="444852"/>
                    </a:lnTo>
                    <a:lnTo>
                      <a:pt x="458249" y="458885"/>
                    </a:lnTo>
                    <a:close/>
                    <a:moveTo>
                      <a:pt x="305596" y="390340"/>
                    </a:moveTo>
                    <a:cubicBezTo>
                      <a:pt x="307808" y="390880"/>
                      <a:pt x="310574" y="390340"/>
                      <a:pt x="313339" y="390340"/>
                    </a:cubicBezTo>
                    <a:cubicBezTo>
                      <a:pt x="314999" y="390340"/>
                      <a:pt x="325507" y="391419"/>
                      <a:pt x="326614" y="391959"/>
                    </a:cubicBezTo>
                    <a:cubicBezTo>
                      <a:pt x="326614" y="391959"/>
                      <a:pt x="327720" y="393039"/>
                      <a:pt x="327720" y="393578"/>
                    </a:cubicBezTo>
                    <a:cubicBezTo>
                      <a:pt x="326614" y="395197"/>
                      <a:pt x="306149" y="396817"/>
                      <a:pt x="303384" y="396277"/>
                    </a:cubicBezTo>
                    <a:cubicBezTo>
                      <a:pt x="298959" y="396277"/>
                      <a:pt x="295087" y="394658"/>
                      <a:pt x="290663" y="393578"/>
                    </a:cubicBezTo>
                    <a:cubicBezTo>
                      <a:pt x="288450" y="393039"/>
                      <a:pt x="272964" y="392499"/>
                      <a:pt x="273517" y="389260"/>
                    </a:cubicBezTo>
                    <a:cubicBezTo>
                      <a:pt x="274070" y="386022"/>
                      <a:pt x="293428" y="385482"/>
                      <a:pt x="296747" y="386562"/>
                    </a:cubicBezTo>
                    <a:cubicBezTo>
                      <a:pt x="299512" y="387641"/>
                      <a:pt x="302278" y="389800"/>
                      <a:pt x="305596" y="390340"/>
                    </a:cubicBezTo>
                    <a:close/>
                    <a:moveTo>
                      <a:pt x="125841" y="289951"/>
                    </a:moveTo>
                    <a:cubicBezTo>
                      <a:pt x="126947" y="289412"/>
                      <a:pt x="128054" y="288332"/>
                      <a:pt x="129713" y="288332"/>
                    </a:cubicBezTo>
                    <a:cubicBezTo>
                      <a:pt x="129713" y="288332"/>
                      <a:pt x="131372" y="288872"/>
                      <a:pt x="131925" y="289412"/>
                    </a:cubicBezTo>
                    <a:cubicBezTo>
                      <a:pt x="133584" y="290491"/>
                      <a:pt x="155155" y="309381"/>
                      <a:pt x="155708" y="310461"/>
                    </a:cubicBezTo>
                    <a:cubicBezTo>
                      <a:pt x="157921" y="314239"/>
                      <a:pt x="155155" y="322335"/>
                      <a:pt x="150730" y="319096"/>
                    </a:cubicBezTo>
                    <a:cubicBezTo>
                      <a:pt x="149624" y="318557"/>
                      <a:pt x="146859" y="313159"/>
                      <a:pt x="145199" y="311540"/>
                    </a:cubicBezTo>
                    <a:cubicBezTo>
                      <a:pt x="142987" y="308842"/>
                      <a:pt x="139668" y="306143"/>
                      <a:pt x="136903" y="302905"/>
                    </a:cubicBezTo>
                    <a:cubicBezTo>
                      <a:pt x="134691" y="300746"/>
                      <a:pt x="132478" y="298047"/>
                      <a:pt x="130266" y="295888"/>
                    </a:cubicBezTo>
                    <a:cubicBezTo>
                      <a:pt x="128607" y="294269"/>
                      <a:pt x="126947" y="293190"/>
                      <a:pt x="125841" y="291571"/>
                    </a:cubicBezTo>
                    <a:lnTo>
                      <a:pt x="125841" y="289951"/>
                    </a:lnTo>
                    <a:close/>
                    <a:moveTo>
                      <a:pt x="127500" y="249472"/>
                    </a:moveTo>
                    <a:cubicBezTo>
                      <a:pt x="131372" y="250012"/>
                      <a:pt x="149071" y="262965"/>
                      <a:pt x="151283" y="266743"/>
                    </a:cubicBezTo>
                    <a:cubicBezTo>
                      <a:pt x="153496" y="269442"/>
                      <a:pt x="152943" y="271601"/>
                      <a:pt x="151837" y="274839"/>
                    </a:cubicBezTo>
                    <a:cubicBezTo>
                      <a:pt x="151837" y="275379"/>
                      <a:pt x="151283" y="277538"/>
                      <a:pt x="150730" y="277538"/>
                    </a:cubicBezTo>
                    <a:cubicBezTo>
                      <a:pt x="150177" y="278077"/>
                      <a:pt x="148518" y="277538"/>
                      <a:pt x="147965" y="277538"/>
                    </a:cubicBezTo>
                    <a:cubicBezTo>
                      <a:pt x="142434" y="274839"/>
                      <a:pt x="144646" y="267283"/>
                      <a:pt x="143540" y="266204"/>
                    </a:cubicBezTo>
                    <a:cubicBezTo>
                      <a:pt x="141881" y="264045"/>
                      <a:pt x="134691" y="261886"/>
                      <a:pt x="131925" y="260267"/>
                    </a:cubicBezTo>
                    <a:cubicBezTo>
                      <a:pt x="130819" y="259727"/>
                      <a:pt x="129160" y="258108"/>
                      <a:pt x="128054" y="256489"/>
                    </a:cubicBezTo>
                    <a:cubicBezTo>
                      <a:pt x="127500" y="255949"/>
                      <a:pt x="125841" y="254869"/>
                      <a:pt x="125841" y="253790"/>
                    </a:cubicBezTo>
                    <a:cubicBezTo>
                      <a:pt x="125288" y="252710"/>
                      <a:pt x="125288" y="248932"/>
                      <a:pt x="127500" y="249472"/>
                    </a:cubicBezTo>
                    <a:close/>
                    <a:moveTo>
                      <a:pt x="81594" y="199278"/>
                    </a:moveTo>
                    <a:cubicBezTo>
                      <a:pt x="82700" y="204675"/>
                      <a:pt x="81594" y="211152"/>
                      <a:pt x="83253" y="216549"/>
                    </a:cubicBezTo>
                    <a:cubicBezTo>
                      <a:pt x="85465" y="221946"/>
                      <a:pt x="89890" y="222486"/>
                      <a:pt x="90996" y="232741"/>
                    </a:cubicBezTo>
                    <a:cubicBezTo>
                      <a:pt x="90996" y="233820"/>
                      <a:pt x="90443" y="237598"/>
                      <a:pt x="89890" y="238138"/>
                    </a:cubicBezTo>
                    <a:cubicBezTo>
                      <a:pt x="89337" y="238138"/>
                      <a:pt x="87678" y="238138"/>
                      <a:pt x="87125" y="237598"/>
                    </a:cubicBezTo>
                    <a:cubicBezTo>
                      <a:pt x="85465" y="237058"/>
                      <a:pt x="72744" y="212231"/>
                      <a:pt x="72744" y="209533"/>
                    </a:cubicBezTo>
                    <a:cubicBezTo>
                      <a:pt x="72191" y="204675"/>
                      <a:pt x="76063" y="202516"/>
                      <a:pt x="74404" y="197659"/>
                    </a:cubicBezTo>
                    <a:cubicBezTo>
                      <a:pt x="72744" y="192801"/>
                      <a:pt x="64448" y="186864"/>
                      <a:pt x="64448" y="182007"/>
                    </a:cubicBezTo>
                    <a:cubicBezTo>
                      <a:pt x="64448" y="180927"/>
                      <a:pt x="65554" y="178768"/>
                      <a:pt x="66107" y="178229"/>
                    </a:cubicBezTo>
                    <a:cubicBezTo>
                      <a:pt x="71085" y="172831"/>
                      <a:pt x="74404" y="185245"/>
                      <a:pt x="75510" y="187944"/>
                    </a:cubicBezTo>
                    <a:cubicBezTo>
                      <a:pt x="77722" y="191722"/>
                      <a:pt x="80488" y="194960"/>
                      <a:pt x="81594" y="199278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49" name="Freeform 1081">
                <a:extLst>
                  <a:ext uri="{FF2B5EF4-FFF2-40B4-BE49-F238E27FC236}">
                    <a16:creationId xmlns:a16="http://schemas.microsoft.com/office/drawing/2014/main" id="{3507424D-25A7-474C-B363-0DB0A6DBFE24}"/>
                  </a:ext>
                </a:extLst>
              </p:cNvPr>
              <p:cNvSpPr/>
              <p:nvPr/>
            </p:nvSpPr>
            <p:spPr>
              <a:xfrm>
                <a:off x="7301808" y="4703212"/>
                <a:ext cx="865623" cy="827962"/>
              </a:xfrm>
              <a:custGeom>
                <a:avLst/>
                <a:gdLst>
                  <a:gd name="connsiteX0" fmla="*/ 858040 w 865623"/>
                  <a:gd name="connsiteY0" fmla="*/ 620726 h 827962"/>
                  <a:gd name="connsiteX1" fmla="*/ 851956 w 865623"/>
                  <a:gd name="connsiteY1" fmla="*/ 622885 h 827962"/>
                  <a:gd name="connsiteX2" fmla="*/ 835917 w 865623"/>
                  <a:gd name="connsiteY2" fmla="*/ 646633 h 827962"/>
                  <a:gd name="connsiteX3" fmla="*/ 833151 w 865623"/>
                  <a:gd name="connsiteY3" fmla="*/ 646633 h 827962"/>
                  <a:gd name="connsiteX4" fmla="*/ 830386 w 865623"/>
                  <a:gd name="connsiteY4" fmla="*/ 645013 h 827962"/>
                  <a:gd name="connsiteX5" fmla="*/ 827067 w 865623"/>
                  <a:gd name="connsiteY5" fmla="*/ 627203 h 827962"/>
                  <a:gd name="connsiteX6" fmla="*/ 820430 w 865623"/>
                  <a:gd name="connsiteY6" fmla="*/ 618567 h 827962"/>
                  <a:gd name="connsiteX7" fmla="*/ 824302 w 865623"/>
                  <a:gd name="connsiteY7" fmla="*/ 613170 h 827962"/>
                  <a:gd name="connsiteX8" fmla="*/ 830386 w 865623"/>
                  <a:gd name="connsiteY8" fmla="*/ 598057 h 827962"/>
                  <a:gd name="connsiteX9" fmla="*/ 835917 w 865623"/>
                  <a:gd name="connsiteY9" fmla="*/ 594819 h 827962"/>
                  <a:gd name="connsiteX10" fmla="*/ 849191 w 865623"/>
                  <a:gd name="connsiteY10" fmla="*/ 582945 h 827962"/>
                  <a:gd name="connsiteX11" fmla="*/ 856381 w 865623"/>
                  <a:gd name="connsiteY11" fmla="*/ 576469 h 827962"/>
                  <a:gd name="connsiteX12" fmla="*/ 861359 w 865623"/>
                  <a:gd name="connsiteY12" fmla="*/ 574849 h 827962"/>
                  <a:gd name="connsiteX13" fmla="*/ 864678 w 865623"/>
                  <a:gd name="connsiteY13" fmla="*/ 582406 h 827962"/>
                  <a:gd name="connsiteX14" fmla="*/ 856381 w 865623"/>
                  <a:gd name="connsiteY14" fmla="*/ 615329 h 827962"/>
                  <a:gd name="connsiteX15" fmla="*/ 858040 w 865623"/>
                  <a:gd name="connsiteY15" fmla="*/ 620726 h 827962"/>
                  <a:gd name="connsiteX16" fmla="*/ 717002 w 865623"/>
                  <a:gd name="connsiteY16" fmla="*/ 451253 h 827962"/>
                  <a:gd name="connsiteX17" fmla="*/ 714237 w 865623"/>
                  <a:gd name="connsiteY17" fmla="*/ 455571 h 827962"/>
                  <a:gd name="connsiteX18" fmla="*/ 699303 w 865623"/>
                  <a:gd name="connsiteY18" fmla="*/ 466365 h 827962"/>
                  <a:gd name="connsiteX19" fmla="*/ 693772 w 865623"/>
                  <a:gd name="connsiteY19" fmla="*/ 462047 h 827962"/>
                  <a:gd name="connsiteX20" fmla="*/ 677179 w 865623"/>
                  <a:gd name="connsiteY20" fmla="*/ 462047 h 827962"/>
                  <a:gd name="connsiteX21" fmla="*/ 676626 w 865623"/>
                  <a:gd name="connsiteY21" fmla="*/ 459349 h 827962"/>
                  <a:gd name="connsiteX22" fmla="*/ 678286 w 865623"/>
                  <a:gd name="connsiteY22" fmla="*/ 457190 h 827962"/>
                  <a:gd name="connsiteX23" fmla="*/ 686582 w 865623"/>
                  <a:gd name="connsiteY23" fmla="*/ 450173 h 827962"/>
                  <a:gd name="connsiteX24" fmla="*/ 709812 w 865623"/>
                  <a:gd name="connsiteY24" fmla="*/ 448014 h 827962"/>
                  <a:gd name="connsiteX25" fmla="*/ 713130 w 865623"/>
                  <a:gd name="connsiteY25" fmla="*/ 443697 h 827962"/>
                  <a:gd name="connsiteX26" fmla="*/ 716449 w 865623"/>
                  <a:gd name="connsiteY26" fmla="*/ 443697 h 827962"/>
                  <a:gd name="connsiteX27" fmla="*/ 717002 w 865623"/>
                  <a:gd name="connsiteY27" fmla="*/ 451253 h 827962"/>
                  <a:gd name="connsiteX28" fmla="*/ 624636 w 865623"/>
                  <a:gd name="connsiteY28" fmla="*/ 302829 h 827962"/>
                  <a:gd name="connsiteX29" fmla="*/ 636251 w 865623"/>
                  <a:gd name="connsiteY29" fmla="*/ 314703 h 827962"/>
                  <a:gd name="connsiteX30" fmla="*/ 633485 w 865623"/>
                  <a:gd name="connsiteY30" fmla="*/ 317941 h 827962"/>
                  <a:gd name="connsiteX31" fmla="*/ 630720 w 865623"/>
                  <a:gd name="connsiteY31" fmla="*/ 320100 h 827962"/>
                  <a:gd name="connsiteX32" fmla="*/ 619105 w 865623"/>
                  <a:gd name="connsiteY32" fmla="*/ 321179 h 827962"/>
                  <a:gd name="connsiteX33" fmla="*/ 599746 w 865623"/>
                  <a:gd name="connsiteY33" fmla="*/ 315782 h 827962"/>
                  <a:gd name="connsiteX34" fmla="*/ 599746 w 865623"/>
                  <a:gd name="connsiteY34" fmla="*/ 312544 h 827962"/>
                  <a:gd name="connsiteX35" fmla="*/ 605277 w 865623"/>
                  <a:gd name="connsiteY35" fmla="*/ 307147 h 827962"/>
                  <a:gd name="connsiteX36" fmla="*/ 606937 w 865623"/>
                  <a:gd name="connsiteY36" fmla="*/ 296352 h 827962"/>
                  <a:gd name="connsiteX37" fmla="*/ 599193 w 865623"/>
                  <a:gd name="connsiteY37" fmla="*/ 297971 h 827962"/>
                  <a:gd name="connsiteX38" fmla="*/ 590344 w 865623"/>
                  <a:gd name="connsiteY38" fmla="*/ 310925 h 827962"/>
                  <a:gd name="connsiteX39" fmla="*/ 575410 w 865623"/>
                  <a:gd name="connsiteY39" fmla="*/ 303369 h 827962"/>
                  <a:gd name="connsiteX40" fmla="*/ 578176 w 865623"/>
                  <a:gd name="connsiteY40" fmla="*/ 294193 h 827962"/>
                  <a:gd name="connsiteX41" fmla="*/ 594769 w 865623"/>
                  <a:gd name="connsiteY41" fmla="*/ 285558 h 827962"/>
                  <a:gd name="connsiteX42" fmla="*/ 599193 w 865623"/>
                  <a:gd name="connsiteY42" fmla="*/ 276382 h 827962"/>
                  <a:gd name="connsiteX43" fmla="*/ 609702 w 865623"/>
                  <a:gd name="connsiteY43" fmla="*/ 275843 h 827962"/>
                  <a:gd name="connsiteX44" fmla="*/ 610808 w 865623"/>
                  <a:gd name="connsiteY44" fmla="*/ 276922 h 827962"/>
                  <a:gd name="connsiteX45" fmla="*/ 615786 w 865623"/>
                  <a:gd name="connsiteY45" fmla="*/ 278002 h 827962"/>
                  <a:gd name="connsiteX46" fmla="*/ 617445 w 865623"/>
                  <a:gd name="connsiteY46" fmla="*/ 286637 h 827962"/>
                  <a:gd name="connsiteX47" fmla="*/ 628507 w 865623"/>
                  <a:gd name="connsiteY47" fmla="*/ 293654 h 827962"/>
                  <a:gd name="connsiteX48" fmla="*/ 640122 w 865623"/>
                  <a:gd name="connsiteY48" fmla="*/ 303908 h 827962"/>
                  <a:gd name="connsiteX49" fmla="*/ 642888 w 865623"/>
                  <a:gd name="connsiteY49" fmla="*/ 308226 h 827962"/>
                  <a:gd name="connsiteX50" fmla="*/ 624636 w 865623"/>
                  <a:gd name="connsiteY50" fmla="*/ 302829 h 827962"/>
                  <a:gd name="connsiteX51" fmla="*/ 617445 w 865623"/>
                  <a:gd name="connsiteY51" fmla="*/ 400519 h 827962"/>
                  <a:gd name="connsiteX52" fmla="*/ 611914 w 865623"/>
                  <a:gd name="connsiteY52" fmla="*/ 425346 h 827962"/>
                  <a:gd name="connsiteX53" fmla="*/ 600300 w 865623"/>
                  <a:gd name="connsiteY53" fmla="*/ 421028 h 827962"/>
                  <a:gd name="connsiteX54" fmla="*/ 603065 w 865623"/>
                  <a:gd name="connsiteY54" fmla="*/ 399979 h 827962"/>
                  <a:gd name="connsiteX55" fmla="*/ 600853 w 865623"/>
                  <a:gd name="connsiteY55" fmla="*/ 393502 h 827962"/>
                  <a:gd name="connsiteX56" fmla="*/ 599746 w 865623"/>
                  <a:gd name="connsiteY56" fmla="*/ 392963 h 827962"/>
                  <a:gd name="connsiteX57" fmla="*/ 587578 w 865623"/>
                  <a:gd name="connsiteY57" fmla="*/ 380009 h 827962"/>
                  <a:gd name="connsiteX58" fmla="*/ 587578 w 865623"/>
                  <a:gd name="connsiteY58" fmla="*/ 376771 h 827962"/>
                  <a:gd name="connsiteX59" fmla="*/ 595875 w 865623"/>
                  <a:gd name="connsiteY59" fmla="*/ 371913 h 827962"/>
                  <a:gd name="connsiteX60" fmla="*/ 611914 w 865623"/>
                  <a:gd name="connsiteY60" fmla="*/ 375691 h 827962"/>
                  <a:gd name="connsiteX61" fmla="*/ 617445 w 865623"/>
                  <a:gd name="connsiteY61" fmla="*/ 400519 h 827962"/>
                  <a:gd name="connsiteX62" fmla="*/ 429394 w 865623"/>
                  <a:gd name="connsiteY62" fmla="*/ 143610 h 827962"/>
                  <a:gd name="connsiteX63" fmla="*/ 438797 w 865623"/>
                  <a:gd name="connsiteY63" fmla="*/ 152786 h 827962"/>
                  <a:gd name="connsiteX64" fmla="*/ 437690 w 865623"/>
                  <a:gd name="connsiteY64" fmla="*/ 164660 h 827962"/>
                  <a:gd name="connsiteX65" fmla="*/ 433266 w 865623"/>
                  <a:gd name="connsiteY65" fmla="*/ 166819 h 827962"/>
                  <a:gd name="connsiteX66" fmla="*/ 421651 w 865623"/>
                  <a:gd name="connsiteY66" fmla="*/ 164660 h 827962"/>
                  <a:gd name="connsiteX67" fmla="*/ 416120 w 865623"/>
                  <a:gd name="connsiteY67" fmla="*/ 158183 h 827962"/>
                  <a:gd name="connsiteX68" fmla="*/ 417226 w 865623"/>
                  <a:gd name="connsiteY68" fmla="*/ 147389 h 827962"/>
                  <a:gd name="connsiteX69" fmla="*/ 425522 w 865623"/>
                  <a:gd name="connsiteY69" fmla="*/ 145230 h 827962"/>
                  <a:gd name="connsiteX70" fmla="*/ 429394 w 865623"/>
                  <a:gd name="connsiteY70" fmla="*/ 143610 h 827962"/>
                  <a:gd name="connsiteX71" fmla="*/ 512358 w 865623"/>
                  <a:gd name="connsiteY71" fmla="*/ 240761 h 827962"/>
                  <a:gd name="connsiteX72" fmla="*/ 514017 w 865623"/>
                  <a:gd name="connsiteY72" fmla="*/ 242380 h 827962"/>
                  <a:gd name="connsiteX73" fmla="*/ 510699 w 865623"/>
                  <a:gd name="connsiteY73" fmla="*/ 248317 h 827962"/>
                  <a:gd name="connsiteX74" fmla="*/ 505168 w 865623"/>
                  <a:gd name="connsiteY74" fmla="*/ 244539 h 827962"/>
                  <a:gd name="connsiteX75" fmla="*/ 499637 w 865623"/>
                  <a:gd name="connsiteY75" fmla="*/ 237522 h 827962"/>
                  <a:gd name="connsiteX76" fmla="*/ 489128 w 865623"/>
                  <a:gd name="connsiteY76" fmla="*/ 242380 h 827962"/>
                  <a:gd name="connsiteX77" fmla="*/ 481385 w 865623"/>
                  <a:gd name="connsiteY77" fmla="*/ 241840 h 827962"/>
                  <a:gd name="connsiteX78" fmla="*/ 479725 w 865623"/>
                  <a:gd name="connsiteY78" fmla="*/ 231585 h 827962"/>
                  <a:gd name="connsiteX79" fmla="*/ 483044 w 865623"/>
                  <a:gd name="connsiteY79" fmla="*/ 228347 h 827962"/>
                  <a:gd name="connsiteX80" fmla="*/ 492447 w 865623"/>
                  <a:gd name="connsiteY80" fmla="*/ 225109 h 827962"/>
                  <a:gd name="connsiteX81" fmla="*/ 501296 w 865623"/>
                  <a:gd name="connsiteY81" fmla="*/ 227268 h 827962"/>
                  <a:gd name="connsiteX82" fmla="*/ 506274 w 865623"/>
                  <a:gd name="connsiteY82" fmla="*/ 219172 h 827962"/>
                  <a:gd name="connsiteX83" fmla="*/ 513464 w 865623"/>
                  <a:gd name="connsiteY83" fmla="*/ 215394 h 827962"/>
                  <a:gd name="connsiteX84" fmla="*/ 515123 w 865623"/>
                  <a:gd name="connsiteY84" fmla="*/ 219172 h 827962"/>
                  <a:gd name="connsiteX85" fmla="*/ 508486 w 865623"/>
                  <a:gd name="connsiteY85" fmla="*/ 236443 h 827962"/>
                  <a:gd name="connsiteX86" fmla="*/ 512358 w 865623"/>
                  <a:gd name="connsiteY86" fmla="*/ 240761 h 827962"/>
                  <a:gd name="connsiteX87" fmla="*/ 600300 w 865623"/>
                  <a:gd name="connsiteY87" fmla="*/ 563515 h 827962"/>
                  <a:gd name="connsiteX88" fmla="*/ 599193 w 865623"/>
                  <a:gd name="connsiteY88" fmla="*/ 576469 h 827962"/>
                  <a:gd name="connsiteX89" fmla="*/ 594769 w 865623"/>
                  <a:gd name="connsiteY89" fmla="*/ 579167 h 827962"/>
                  <a:gd name="connsiteX90" fmla="*/ 593109 w 865623"/>
                  <a:gd name="connsiteY90" fmla="*/ 579167 h 827962"/>
                  <a:gd name="connsiteX91" fmla="*/ 586472 w 865623"/>
                  <a:gd name="connsiteY91" fmla="*/ 573770 h 827962"/>
                  <a:gd name="connsiteX92" fmla="*/ 582601 w 865623"/>
                  <a:gd name="connsiteY92" fmla="*/ 561896 h 827962"/>
                  <a:gd name="connsiteX93" fmla="*/ 585366 w 865623"/>
                  <a:gd name="connsiteY93" fmla="*/ 548403 h 827962"/>
                  <a:gd name="connsiteX94" fmla="*/ 598640 w 865623"/>
                  <a:gd name="connsiteY94" fmla="*/ 548943 h 827962"/>
                  <a:gd name="connsiteX95" fmla="*/ 600300 w 865623"/>
                  <a:gd name="connsiteY95" fmla="*/ 563515 h 827962"/>
                  <a:gd name="connsiteX96" fmla="*/ 447646 w 865623"/>
                  <a:gd name="connsiteY96" fmla="*/ 777246 h 827962"/>
                  <a:gd name="connsiteX97" fmla="*/ 449859 w 865623"/>
                  <a:gd name="connsiteY97" fmla="*/ 776166 h 827962"/>
                  <a:gd name="connsiteX98" fmla="*/ 452071 w 865623"/>
                  <a:gd name="connsiteY98" fmla="*/ 778865 h 827962"/>
                  <a:gd name="connsiteX99" fmla="*/ 458708 w 865623"/>
                  <a:gd name="connsiteY99" fmla="*/ 778325 h 827962"/>
                  <a:gd name="connsiteX100" fmla="*/ 461473 w 865623"/>
                  <a:gd name="connsiteY100" fmla="*/ 762673 h 827962"/>
                  <a:gd name="connsiteX101" fmla="*/ 469217 w 865623"/>
                  <a:gd name="connsiteY101" fmla="*/ 772928 h 827962"/>
                  <a:gd name="connsiteX102" fmla="*/ 481938 w 865623"/>
                  <a:gd name="connsiteY102" fmla="*/ 775626 h 827962"/>
                  <a:gd name="connsiteX103" fmla="*/ 490787 w 865623"/>
                  <a:gd name="connsiteY103" fmla="*/ 775087 h 827962"/>
                  <a:gd name="connsiteX104" fmla="*/ 502402 w 865623"/>
                  <a:gd name="connsiteY104" fmla="*/ 778865 h 827962"/>
                  <a:gd name="connsiteX105" fmla="*/ 513464 w 865623"/>
                  <a:gd name="connsiteY105" fmla="*/ 778865 h 827962"/>
                  <a:gd name="connsiteX106" fmla="*/ 517889 w 865623"/>
                  <a:gd name="connsiteY106" fmla="*/ 786421 h 827962"/>
                  <a:gd name="connsiteX107" fmla="*/ 525079 w 865623"/>
                  <a:gd name="connsiteY107" fmla="*/ 788580 h 827962"/>
                  <a:gd name="connsiteX108" fmla="*/ 548862 w 865623"/>
                  <a:gd name="connsiteY108" fmla="*/ 777785 h 827962"/>
                  <a:gd name="connsiteX109" fmla="*/ 574857 w 865623"/>
                  <a:gd name="connsiteY109" fmla="*/ 769150 h 827962"/>
                  <a:gd name="connsiteX110" fmla="*/ 587578 w 865623"/>
                  <a:gd name="connsiteY110" fmla="*/ 768610 h 827962"/>
                  <a:gd name="connsiteX111" fmla="*/ 599193 w 865623"/>
                  <a:gd name="connsiteY111" fmla="*/ 774007 h 827962"/>
                  <a:gd name="connsiteX112" fmla="*/ 617999 w 865623"/>
                  <a:gd name="connsiteY112" fmla="*/ 769689 h 827962"/>
                  <a:gd name="connsiteX113" fmla="*/ 634038 w 865623"/>
                  <a:gd name="connsiteY113" fmla="*/ 770229 h 827962"/>
                  <a:gd name="connsiteX114" fmla="*/ 646206 w 865623"/>
                  <a:gd name="connsiteY114" fmla="*/ 762133 h 827962"/>
                  <a:gd name="connsiteX115" fmla="*/ 653949 w 865623"/>
                  <a:gd name="connsiteY115" fmla="*/ 760514 h 827962"/>
                  <a:gd name="connsiteX116" fmla="*/ 657821 w 865623"/>
                  <a:gd name="connsiteY116" fmla="*/ 762673 h 827962"/>
                  <a:gd name="connsiteX117" fmla="*/ 662799 w 865623"/>
                  <a:gd name="connsiteY117" fmla="*/ 782643 h 827962"/>
                  <a:gd name="connsiteX118" fmla="*/ 667777 w 865623"/>
                  <a:gd name="connsiteY118" fmla="*/ 784262 h 827962"/>
                  <a:gd name="connsiteX119" fmla="*/ 681604 w 865623"/>
                  <a:gd name="connsiteY119" fmla="*/ 767531 h 827962"/>
                  <a:gd name="connsiteX120" fmla="*/ 705940 w 865623"/>
                  <a:gd name="connsiteY120" fmla="*/ 764292 h 827962"/>
                  <a:gd name="connsiteX121" fmla="*/ 713683 w 865623"/>
                  <a:gd name="connsiteY121" fmla="*/ 750259 h 827962"/>
                  <a:gd name="connsiteX122" fmla="*/ 717555 w 865623"/>
                  <a:gd name="connsiteY122" fmla="*/ 749180 h 827962"/>
                  <a:gd name="connsiteX123" fmla="*/ 720874 w 865623"/>
                  <a:gd name="connsiteY123" fmla="*/ 751879 h 827962"/>
                  <a:gd name="connsiteX124" fmla="*/ 720321 w 865623"/>
                  <a:gd name="connsiteY124" fmla="*/ 761054 h 827962"/>
                  <a:gd name="connsiteX125" fmla="*/ 719214 w 865623"/>
                  <a:gd name="connsiteY125" fmla="*/ 769150 h 827962"/>
                  <a:gd name="connsiteX126" fmla="*/ 718661 w 865623"/>
                  <a:gd name="connsiteY126" fmla="*/ 787500 h 827962"/>
                  <a:gd name="connsiteX127" fmla="*/ 707599 w 865623"/>
                  <a:gd name="connsiteY127" fmla="*/ 789659 h 827962"/>
                  <a:gd name="connsiteX128" fmla="*/ 700962 w 865623"/>
                  <a:gd name="connsiteY128" fmla="*/ 784802 h 827962"/>
                  <a:gd name="connsiteX129" fmla="*/ 694325 w 865623"/>
                  <a:gd name="connsiteY129" fmla="*/ 791278 h 827962"/>
                  <a:gd name="connsiteX130" fmla="*/ 679945 w 865623"/>
                  <a:gd name="connsiteY130" fmla="*/ 794517 h 827962"/>
                  <a:gd name="connsiteX131" fmla="*/ 671648 w 865623"/>
                  <a:gd name="connsiteY131" fmla="*/ 797755 h 827962"/>
                  <a:gd name="connsiteX132" fmla="*/ 644547 w 865623"/>
                  <a:gd name="connsiteY132" fmla="*/ 805311 h 827962"/>
                  <a:gd name="connsiteX133" fmla="*/ 635144 w 865623"/>
                  <a:gd name="connsiteY133" fmla="*/ 808550 h 827962"/>
                  <a:gd name="connsiteX134" fmla="*/ 613574 w 865623"/>
                  <a:gd name="connsiteY134" fmla="*/ 816106 h 827962"/>
                  <a:gd name="connsiteX135" fmla="*/ 580941 w 865623"/>
                  <a:gd name="connsiteY135" fmla="*/ 827440 h 827962"/>
                  <a:gd name="connsiteX136" fmla="*/ 571539 w 865623"/>
                  <a:gd name="connsiteY136" fmla="*/ 817185 h 827962"/>
                  <a:gd name="connsiteX137" fmla="*/ 567114 w 865623"/>
                  <a:gd name="connsiteY137" fmla="*/ 811788 h 827962"/>
                  <a:gd name="connsiteX138" fmla="*/ 556605 w 865623"/>
                  <a:gd name="connsiteY138" fmla="*/ 811248 h 827962"/>
                  <a:gd name="connsiteX139" fmla="*/ 528398 w 865623"/>
                  <a:gd name="connsiteY139" fmla="*/ 805851 h 827962"/>
                  <a:gd name="connsiteX140" fmla="*/ 508486 w 865623"/>
                  <a:gd name="connsiteY140" fmla="*/ 809629 h 827962"/>
                  <a:gd name="connsiteX141" fmla="*/ 478619 w 865623"/>
                  <a:gd name="connsiteY141" fmla="*/ 809629 h 827962"/>
                  <a:gd name="connsiteX142" fmla="*/ 449305 w 865623"/>
                  <a:gd name="connsiteY142" fmla="*/ 813407 h 827962"/>
                  <a:gd name="connsiteX143" fmla="*/ 447093 w 865623"/>
                  <a:gd name="connsiteY143" fmla="*/ 811788 h 827962"/>
                  <a:gd name="connsiteX144" fmla="*/ 447646 w 865623"/>
                  <a:gd name="connsiteY144" fmla="*/ 777246 h 827962"/>
                  <a:gd name="connsiteX145" fmla="*/ 12916 w 865623"/>
                  <a:gd name="connsiteY145" fmla="*/ 340070 h 827962"/>
                  <a:gd name="connsiteX146" fmla="*/ 16787 w 865623"/>
                  <a:gd name="connsiteY146" fmla="*/ 340070 h 827962"/>
                  <a:gd name="connsiteX147" fmla="*/ 17894 w 865623"/>
                  <a:gd name="connsiteY147" fmla="*/ 351944 h 827962"/>
                  <a:gd name="connsiteX148" fmla="*/ 22871 w 865623"/>
                  <a:gd name="connsiteY148" fmla="*/ 361659 h 827962"/>
                  <a:gd name="connsiteX149" fmla="*/ 25084 w 865623"/>
                  <a:gd name="connsiteY149" fmla="*/ 369215 h 827962"/>
                  <a:gd name="connsiteX150" fmla="*/ 28402 w 865623"/>
                  <a:gd name="connsiteY150" fmla="*/ 375152 h 827962"/>
                  <a:gd name="connsiteX151" fmla="*/ 44995 w 865623"/>
                  <a:gd name="connsiteY151" fmla="*/ 387565 h 827962"/>
                  <a:gd name="connsiteX152" fmla="*/ 26743 w 865623"/>
                  <a:gd name="connsiteY152" fmla="*/ 384327 h 827962"/>
                  <a:gd name="connsiteX153" fmla="*/ 13469 w 865623"/>
                  <a:gd name="connsiteY153" fmla="*/ 365437 h 827962"/>
                  <a:gd name="connsiteX154" fmla="*/ -358 w 865623"/>
                  <a:gd name="connsiteY154" fmla="*/ 355182 h 827962"/>
                  <a:gd name="connsiteX155" fmla="*/ -358 w 865623"/>
                  <a:gd name="connsiteY155" fmla="*/ 348166 h 827962"/>
                  <a:gd name="connsiteX156" fmla="*/ 12916 w 865623"/>
                  <a:gd name="connsiteY156" fmla="*/ 340070 h 827962"/>
                  <a:gd name="connsiteX157" fmla="*/ 93667 w 865623"/>
                  <a:gd name="connsiteY157" fmla="*/ 524655 h 827962"/>
                  <a:gd name="connsiteX158" fmla="*/ 90349 w 865623"/>
                  <a:gd name="connsiteY158" fmla="*/ 523576 h 827962"/>
                  <a:gd name="connsiteX159" fmla="*/ 90902 w 865623"/>
                  <a:gd name="connsiteY159" fmla="*/ 504146 h 827962"/>
                  <a:gd name="connsiteX160" fmla="*/ 100857 w 865623"/>
                  <a:gd name="connsiteY160" fmla="*/ 505225 h 827962"/>
                  <a:gd name="connsiteX161" fmla="*/ 102517 w 865623"/>
                  <a:gd name="connsiteY161" fmla="*/ 501987 h 827962"/>
                  <a:gd name="connsiteX162" fmla="*/ 103070 w 865623"/>
                  <a:gd name="connsiteY162" fmla="*/ 498748 h 827962"/>
                  <a:gd name="connsiteX163" fmla="*/ 105835 w 865623"/>
                  <a:gd name="connsiteY163" fmla="*/ 491732 h 827962"/>
                  <a:gd name="connsiteX164" fmla="*/ 110260 w 865623"/>
                  <a:gd name="connsiteY164" fmla="*/ 500368 h 827962"/>
                  <a:gd name="connsiteX165" fmla="*/ 116897 w 865623"/>
                  <a:gd name="connsiteY165" fmla="*/ 510083 h 827962"/>
                  <a:gd name="connsiteX166" fmla="*/ 131278 w 865623"/>
                  <a:gd name="connsiteY166" fmla="*/ 523576 h 827962"/>
                  <a:gd name="connsiteX167" fmla="*/ 130724 w 865623"/>
                  <a:gd name="connsiteY167" fmla="*/ 527893 h 827962"/>
                  <a:gd name="connsiteX168" fmla="*/ 120216 w 865623"/>
                  <a:gd name="connsiteY168" fmla="*/ 528973 h 827962"/>
                  <a:gd name="connsiteX169" fmla="*/ 104729 w 865623"/>
                  <a:gd name="connsiteY169" fmla="*/ 529513 h 827962"/>
                  <a:gd name="connsiteX170" fmla="*/ 100304 w 865623"/>
                  <a:gd name="connsiteY170" fmla="*/ 520337 h 827962"/>
                  <a:gd name="connsiteX171" fmla="*/ 98645 w 865623"/>
                  <a:gd name="connsiteY171" fmla="*/ 519798 h 827962"/>
                  <a:gd name="connsiteX172" fmla="*/ 93667 w 865623"/>
                  <a:gd name="connsiteY172" fmla="*/ 524655 h 827962"/>
                  <a:gd name="connsiteX173" fmla="*/ 129618 w 865623"/>
                  <a:gd name="connsiteY173" fmla="*/ 557039 h 827962"/>
                  <a:gd name="connsiteX174" fmla="*/ 141786 w 865623"/>
                  <a:gd name="connsiteY174" fmla="*/ 560277 h 827962"/>
                  <a:gd name="connsiteX175" fmla="*/ 153401 w 865623"/>
                  <a:gd name="connsiteY175" fmla="*/ 566214 h 827962"/>
                  <a:gd name="connsiteX176" fmla="*/ 146211 w 865623"/>
                  <a:gd name="connsiteY176" fmla="*/ 571071 h 827962"/>
                  <a:gd name="connsiteX177" fmla="*/ 139021 w 865623"/>
                  <a:gd name="connsiteY177" fmla="*/ 577548 h 827962"/>
                  <a:gd name="connsiteX178" fmla="*/ 134043 w 865623"/>
                  <a:gd name="connsiteY178" fmla="*/ 572151 h 827962"/>
                  <a:gd name="connsiteX179" fmla="*/ 121875 w 865623"/>
                  <a:gd name="connsiteY179" fmla="*/ 559197 h 827962"/>
                  <a:gd name="connsiteX180" fmla="*/ 123534 w 865623"/>
                  <a:gd name="connsiteY180" fmla="*/ 551641 h 827962"/>
                  <a:gd name="connsiteX181" fmla="*/ 126300 w 865623"/>
                  <a:gd name="connsiteY181" fmla="*/ 551641 h 827962"/>
                  <a:gd name="connsiteX182" fmla="*/ 129618 w 865623"/>
                  <a:gd name="connsiteY182" fmla="*/ 557039 h 827962"/>
                  <a:gd name="connsiteX183" fmla="*/ 131278 w 865623"/>
                  <a:gd name="connsiteY183" fmla="*/ 410773 h 827962"/>
                  <a:gd name="connsiteX184" fmla="*/ 114685 w 865623"/>
                  <a:gd name="connsiteY184" fmla="*/ 410234 h 827962"/>
                  <a:gd name="connsiteX185" fmla="*/ 110813 w 865623"/>
                  <a:gd name="connsiteY185" fmla="*/ 416710 h 827962"/>
                  <a:gd name="connsiteX186" fmla="*/ 108048 w 865623"/>
                  <a:gd name="connsiteY186" fmla="*/ 417250 h 827962"/>
                  <a:gd name="connsiteX187" fmla="*/ 100304 w 865623"/>
                  <a:gd name="connsiteY187" fmla="*/ 408615 h 827962"/>
                  <a:gd name="connsiteX188" fmla="*/ 85371 w 865623"/>
                  <a:gd name="connsiteY188" fmla="*/ 399979 h 827962"/>
                  <a:gd name="connsiteX189" fmla="*/ 83158 w 865623"/>
                  <a:gd name="connsiteY189" fmla="*/ 393502 h 827962"/>
                  <a:gd name="connsiteX190" fmla="*/ 67672 w 865623"/>
                  <a:gd name="connsiteY190" fmla="*/ 390804 h 827962"/>
                  <a:gd name="connsiteX191" fmla="*/ 59376 w 865623"/>
                  <a:gd name="connsiteY191" fmla="*/ 383787 h 827962"/>
                  <a:gd name="connsiteX192" fmla="*/ 53845 w 865623"/>
                  <a:gd name="connsiteY192" fmla="*/ 370294 h 827962"/>
                  <a:gd name="connsiteX193" fmla="*/ 46101 w 865623"/>
                  <a:gd name="connsiteY193" fmla="*/ 365976 h 827962"/>
                  <a:gd name="connsiteX194" fmla="*/ 46101 w 865623"/>
                  <a:gd name="connsiteY194" fmla="*/ 358420 h 827962"/>
                  <a:gd name="connsiteX195" fmla="*/ 64353 w 865623"/>
                  <a:gd name="connsiteY195" fmla="*/ 329275 h 827962"/>
                  <a:gd name="connsiteX196" fmla="*/ 59929 w 865623"/>
                  <a:gd name="connsiteY196" fmla="*/ 317401 h 827962"/>
                  <a:gd name="connsiteX197" fmla="*/ 59929 w 865623"/>
                  <a:gd name="connsiteY197" fmla="*/ 309845 h 827962"/>
                  <a:gd name="connsiteX198" fmla="*/ 66566 w 865623"/>
                  <a:gd name="connsiteY198" fmla="*/ 301210 h 827962"/>
                  <a:gd name="connsiteX199" fmla="*/ 84818 w 865623"/>
                  <a:gd name="connsiteY199" fmla="*/ 294733 h 827962"/>
                  <a:gd name="connsiteX200" fmla="*/ 88689 w 865623"/>
                  <a:gd name="connsiteY200" fmla="*/ 273684 h 827962"/>
                  <a:gd name="connsiteX201" fmla="*/ 97539 w 865623"/>
                  <a:gd name="connsiteY201" fmla="*/ 262350 h 827962"/>
                  <a:gd name="connsiteX202" fmla="*/ 106388 w 865623"/>
                  <a:gd name="connsiteY202" fmla="*/ 238062 h 827962"/>
                  <a:gd name="connsiteX203" fmla="*/ 98645 w 865623"/>
                  <a:gd name="connsiteY203" fmla="*/ 223489 h 827962"/>
                  <a:gd name="connsiteX204" fmla="*/ 96986 w 865623"/>
                  <a:gd name="connsiteY204" fmla="*/ 215933 h 827962"/>
                  <a:gd name="connsiteX205" fmla="*/ 98092 w 865623"/>
                  <a:gd name="connsiteY205" fmla="*/ 202980 h 827962"/>
                  <a:gd name="connsiteX206" fmla="*/ 130724 w 865623"/>
                  <a:gd name="connsiteY206" fmla="*/ 191646 h 827962"/>
                  <a:gd name="connsiteX207" fmla="*/ 148976 w 865623"/>
                  <a:gd name="connsiteY207" fmla="*/ 191106 h 827962"/>
                  <a:gd name="connsiteX208" fmla="*/ 165016 w 865623"/>
                  <a:gd name="connsiteY208" fmla="*/ 181391 h 827962"/>
                  <a:gd name="connsiteX209" fmla="*/ 184374 w 865623"/>
                  <a:gd name="connsiteY209" fmla="*/ 151167 h 827962"/>
                  <a:gd name="connsiteX210" fmla="*/ 217007 w 865623"/>
                  <a:gd name="connsiteY210" fmla="*/ 150087 h 827962"/>
                  <a:gd name="connsiteX211" fmla="*/ 246874 w 865623"/>
                  <a:gd name="connsiteY211" fmla="*/ 136594 h 827962"/>
                  <a:gd name="connsiteX212" fmla="*/ 247427 w 865623"/>
                  <a:gd name="connsiteY212" fmla="*/ 120402 h 827962"/>
                  <a:gd name="connsiteX213" fmla="*/ 266785 w 865623"/>
                  <a:gd name="connsiteY213" fmla="*/ 115005 h 827962"/>
                  <a:gd name="connsiteX214" fmla="*/ 275635 w 865623"/>
                  <a:gd name="connsiteY214" fmla="*/ 113386 h 827962"/>
                  <a:gd name="connsiteX215" fmla="*/ 297758 w 865623"/>
                  <a:gd name="connsiteY215" fmla="*/ 99353 h 827962"/>
                  <a:gd name="connsiteX216" fmla="*/ 317116 w 865623"/>
                  <a:gd name="connsiteY216" fmla="*/ 97734 h 827962"/>
                  <a:gd name="connsiteX217" fmla="*/ 324307 w 865623"/>
                  <a:gd name="connsiteY217" fmla="*/ 93956 h 827962"/>
                  <a:gd name="connsiteX218" fmla="*/ 354727 w 865623"/>
                  <a:gd name="connsiteY218" fmla="*/ 77764 h 827962"/>
                  <a:gd name="connsiteX219" fmla="*/ 371873 w 865623"/>
                  <a:gd name="connsiteY219" fmla="*/ 61033 h 827962"/>
                  <a:gd name="connsiteX220" fmla="*/ 384041 w 865623"/>
                  <a:gd name="connsiteY220" fmla="*/ 64811 h 827962"/>
                  <a:gd name="connsiteX221" fmla="*/ 394549 w 865623"/>
                  <a:gd name="connsiteY221" fmla="*/ 58334 h 827962"/>
                  <a:gd name="connsiteX222" fmla="*/ 403952 w 865623"/>
                  <a:gd name="connsiteY222" fmla="*/ 69668 h 827962"/>
                  <a:gd name="connsiteX223" fmla="*/ 422757 w 865623"/>
                  <a:gd name="connsiteY223" fmla="*/ 73986 h 827962"/>
                  <a:gd name="connsiteX224" fmla="*/ 435478 w 865623"/>
                  <a:gd name="connsiteY224" fmla="*/ 68049 h 827962"/>
                  <a:gd name="connsiteX225" fmla="*/ 471982 w 865623"/>
                  <a:gd name="connsiteY225" fmla="*/ 78304 h 827962"/>
                  <a:gd name="connsiteX226" fmla="*/ 511805 w 865623"/>
                  <a:gd name="connsiteY226" fmla="*/ 58334 h 827962"/>
                  <a:gd name="connsiteX227" fmla="*/ 519548 w 865623"/>
                  <a:gd name="connsiteY227" fmla="*/ 58334 h 827962"/>
                  <a:gd name="connsiteX228" fmla="*/ 531163 w 865623"/>
                  <a:gd name="connsiteY228" fmla="*/ 47540 h 827962"/>
                  <a:gd name="connsiteX229" fmla="*/ 537800 w 865623"/>
                  <a:gd name="connsiteY229" fmla="*/ 29189 h 827962"/>
                  <a:gd name="connsiteX230" fmla="*/ 529504 w 865623"/>
                  <a:gd name="connsiteY230" fmla="*/ 12997 h 827962"/>
                  <a:gd name="connsiteX231" fmla="*/ 530057 w 865623"/>
                  <a:gd name="connsiteY231" fmla="*/ 7060 h 827962"/>
                  <a:gd name="connsiteX232" fmla="*/ 546650 w 865623"/>
                  <a:gd name="connsiteY232" fmla="*/ -496 h 827962"/>
                  <a:gd name="connsiteX233" fmla="*/ 572645 w 865623"/>
                  <a:gd name="connsiteY233" fmla="*/ 27570 h 827962"/>
                  <a:gd name="connsiteX234" fmla="*/ 571539 w 865623"/>
                  <a:gd name="connsiteY234" fmla="*/ 34586 h 827962"/>
                  <a:gd name="connsiteX235" fmla="*/ 556052 w 865623"/>
                  <a:gd name="connsiteY235" fmla="*/ 45921 h 827962"/>
                  <a:gd name="connsiteX236" fmla="*/ 562136 w 865623"/>
                  <a:gd name="connsiteY236" fmla="*/ 84241 h 827962"/>
                  <a:gd name="connsiteX237" fmla="*/ 548862 w 865623"/>
                  <a:gd name="connsiteY237" fmla="*/ 113926 h 827962"/>
                  <a:gd name="connsiteX238" fmla="*/ 544990 w 865623"/>
                  <a:gd name="connsiteY238" fmla="*/ 107989 h 827962"/>
                  <a:gd name="connsiteX239" fmla="*/ 530610 w 865623"/>
                  <a:gd name="connsiteY239" fmla="*/ 106370 h 827962"/>
                  <a:gd name="connsiteX240" fmla="*/ 510146 w 865623"/>
                  <a:gd name="connsiteY240" fmla="*/ 113386 h 827962"/>
                  <a:gd name="connsiteX241" fmla="*/ 482491 w 865623"/>
                  <a:gd name="connsiteY241" fmla="*/ 111227 h 827962"/>
                  <a:gd name="connsiteX242" fmla="*/ 471429 w 865623"/>
                  <a:gd name="connsiteY242" fmla="*/ 113926 h 827962"/>
                  <a:gd name="connsiteX243" fmla="*/ 462027 w 865623"/>
                  <a:gd name="connsiteY243" fmla="*/ 108528 h 827962"/>
                  <a:gd name="connsiteX244" fmla="*/ 458708 w 865623"/>
                  <a:gd name="connsiteY244" fmla="*/ 107989 h 827962"/>
                  <a:gd name="connsiteX245" fmla="*/ 445987 w 865623"/>
                  <a:gd name="connsiteY245" fmla="*/ 121482 h 827962"/>
                  <a:gd name="connsiteX246" fmla="*/ 425522 w 865623"/>
                  <a:gd name="connsiteY246" fmla="*/ 135515 h 827962"/>
                  <a:gd name="connsiteX247" fmla="*/ 419992 w 865623"/>
                  <a:gd name="connsiteY247" fmla="*/ 134975 h 827962"/>
                  <a:gd name="connsiteX248" fmla="*/ 404505 w 865623"/>
                  <a:gd name="connsiteY248" fmla="*/ 127419 h 827962"/>
                  <a:gd name="connsiteX249" fmla="*/ 401740 w 865623"/>
                  <a:gd name="connsiteY249" fmla="*/ 129038 h 827962"/>
                  <a:gd name="connsiteX250" fmla="*/ 394549 w 865623"/>
                  <a:gd name="connsiteY250" fmla="*/ 134975 h 827962"/>
                  <a:gd name="connsiteX251" fmla="*/ 393443 w 865623"/>
                  <a:gd name="connsiteY251" fmla="*/ 145230 h 827962"/>
                  <a:gd name="connsiteX252" fmla="*/ 375191 w 865623"/>
                  <a:gd name="connsiteY252" fmla="*/ 161421 h 827962"/>
                  <a:gd name="connsiteX253" fmla="*/ 360811 w 865623"/>
                  <a:gd name="connsiteY253" fmla="*/ 160342 h 827962"/>
                  <a:gd name="connsiteX254" fmla="*/ 352514 w 865623"/>
                  <a:gd name="connsiteY254" fmla="*/ 159262 h 827962"/>
                  <a:gd name="connsiteX255" fmla="*/ 342006 w 865623"/>
                  <a:gd name="connsiteY255" fmla="*/ 170597 h 827962"/>
                  <a:gd name="connsiteX256" fmla="*/ 361364 w 865623"/>
                  <a:gd name="connsiteY256" fmla="*/ 184090 h 827962"/>
                  <a:gd name="connsiteX257" fmla="*/ 361917 w 865623"/>
                  <a:gd name="connsiteY257" fmla="*/ 195964 h 827962"/>
                  <a:gd name="connsiteX258" fmla="*/ 365789 w 865623"/>
                  <a:gd name="connsiteY258" fmla="*/ 200281 h 827962"/>
                  <a:gd name="connsiteX259" fmla="*/ 403952 w 865623"/>
                  <a:gd name="connsiteY259" fmla="*/ 207838 h 827962"/>
                  <a:gd name="connsiteX260" fmla="*/ 415014 w 865623"/>
                  <a:gd name="connsiteY260" fmla="*/ 220791 h 827962"/>
                  <a:gd name="connsiteX261" fmla="*/ 415014 w 865623"/>
                  <a:gd name="connsiteY261" fmla="*/ 223489 h 827962"/>
                  <a:gd name="connsiteX262" fmla="*/ 405058 w 865623"/>
                  <a:gd name="connsiteY262" fmla="*/ 222410 h 827962"/>
                  <a:gd name="connsiteX263" fmla="*/ 398974 w 865623"/>
                  <a:gd name="connsiteY263" fmla="*/ 213774 h 827962"/>
                  <a:gd name="connsiteX264" fmla="*/ 377403 w 865623"/>
                  <a:gd name="connsiteY264" fmla="*/ 207298 h 827962"/>
                  <a:gd name="connsiteX265" fmla="*/ 366895 w 865623"/>
                  <a:gd name="connsiteY265" fmla="*/ 205679 h 827962"/>
                  <a:gd name="connsiteX266" fmla="*/ 353067 w 865623"/>
                  <a:gd name="connsiteY266" fmla="*/ 216473 h 827962"/>
                  <a:gd name="connsiteX267" fmla="*/ 354727 w 865623"/>
                  <a:gd name="connsiteY267" fmla="*/ 221870 h 827962"/>
                  <a:gd name="connsiteX268" fmla="*/ 384594 w 865623"/>
                  <a:gd name="connsiteY268" fmla="*/ 244539 h 827962"/>
                  <a:gd name="connsiteX269" fmla="*/ 384594 w 865623"/>
                  <a:gd name="connsiteY269" fmla="*/ 253174 h 827962"/>
                  <a:gd name="connsiteX270" fmla="*/ 363576 w 865623"/>
                  <a:gd name="connsiteY270" fmla="*/ 239141 h 827962"/>
                  <a:gd name="connsiteX271" fmla="*/ 356386 w 865623"/>
                  <a:gd name="connsiteY271" fmla="*/ 228887 h 827962"/>
                  <a:gd name="connsiteX272" fmla="*/ 350855 w 865623"/>
                  <a:gd name="connsiteY272" fmla="*/ 226188 h 827962"/>
                  <a:gd name="connsiteX273" fmla="*/ 336475 w 865623"/>
                  <a:gd name="connsiteY273" fmla="*/ 224029 h 827962"/>
                  <a:gd name="connsiteX274" fmla="*/ 329838 w 865623"/>
                  <a:gd name="connsiteY274" fmla="*/ 246158 h 827962"/>
                  <a:gd name="connsiteX275" fmla="*/ 339240 w 865623"/>
                  <a:gd name="connsiteY275" fmla="*/ 252095 h 827962"/>
                  <a:gd name="connsiteX276" fmla="*/ 364682 w 865623"/>
                  <a:gd name="connsiteY276" fmla="*/ 262350 h 827962"/>
                  <a:gd name="connsiteX277" fmla="*/ 354174 w 865623"/>
                  <a:gd name="connsiteY277" fmla="*/ 261270 h 827962"/>
                  <a:gd name="connsiteX278" fmla="*/ 338134 w 865623"/>
                  <a:gd name="connsiteY278" fmla="*/ 261270 h 827962"/>
                  <a:gd name="connsiteX279" fmla="*/ 333156 w 865623"/>
                  <a:gd name="connsiteY279" fmla="*/ 262350 h 827962"/>
                  <a:gd name="connsiteX280" fmla="*/ 320988 w 865623"/>
                  <a:gd name="connsiteY280" fmla="*/ 243999 h 827962"/>
                  <a:gd name="connsiteX281" fmla="*/ 320435 w 865623"/>
                  <a:gd name="connsiteY281" fmla="*/ 240221 h 827962"/>
                  <a:gd name="connsiteX282" fmla="*/ 315457 w 865623"/>
                  <a:gd name="connsiteY282" fmla="*/ 233744 h 827962"/>
                  <a:gd name="connsiteX283" fmla="*/ 304948 w 865623"/>
                  <a:gd name="connsiteY283" fmla="*/ 233205 h 827962"/>
                  <a:gd name="connsiteX284" fmla="*/ 291674 w 865623"/>
                  <a:gd name="connsiteY284" fmla="*/ 227268 h 827962"/>
                  <a:gd name="connsiteX285" fmla="*/ 278953 w 865623"/>
                  <a:gd name="connsiteY285" fmla="*/ 223489 h 827962"/>
                  <a:gd name="connsiteX286" fmla="*/ 273422 w 865623"/>
                  <a:gd name="connsiteY286" fmla="*/ 217013 h 827962"/>
                  <a:gd name="connsiteX287" fmla="*/ 278953 w 865623"/>
                  <a:gd name="connsiteY287" fmla="*/ 195424 h 827962"/>
                  <a:gd name="connsiteX288" fmla="*/ 274528 w 865623"/>
                  <a:gd name="connsiteY288" fmla="*/ 192725 h 827962"/>
                  <a:gd name="connsiteX289" fmla="*/ 264573 w 865623"/>
                  <a:gd name="connsiteY289" fmla="*/ 204059 h 827962"/>
                  <a:gd name="connsiteX290" fmla="*/ 254617 w 865623"/>
                  <a:gd name="connsiteY290" fmla="*/ 212155 h 827962"/>
                  <a:gd name="connsiteX291" fmla="*/ 251298 w 865623"/>
                  <a:gd name="connsiteY291" fmla="*/ 215933 h 827962"/>
                  <a:gd name="connsiteX292" fmla="*/ 252958 w 865623"/>
                  <a:gd name="connsiteY292" fmla="*/ 225109 h 827962"/>
                  <a:gd name="connsiteX293" fmla="*/ 252958 w 865623"/>
                  <a:gd name="connsiteY293" fmla="*/ 256413 h 827962"/>
                  <a:gd name="connsiteX294" fmla="*/ 275635 w 865623"/>
                  <a:gd name="connsiteY294" fmla="*/ 282859 h 827962"/>
                  <a:gd name="connsiteX295" fmla="*/ 291121 w 865623"/>
                  <a:gd name="connsiteY295" fmla="*/ 307686 h 827962"/>
                  <a:gd name="connsiteX296" fmla="*/ 327625 w 865623"/>
                  <a:gd name="connsiteY296" fmla="*/ 331434 h 827962"/>
                  <a:gd name="connsiteX297" fmla="*/ 338687 w 865623"/>
                  <a:gd name="connsiteY297" fmla="*/ 349785 h 827962"/>
                  <a:gd name="connsiteX298" fmla="*/ 341452 w 865623"/>
                  <a:gd name="connsiteY298" fmla="*/ 352483 h 827962"/>
                  <a:gd name="connsiteX299" fmla="*/ 342559 w 865623"/>
                  <a:gd name="connsiteY299" fmla="*/ 358960 h 827962"/>
                  <a:gd name="connsiteX300" fmla="*/ 326519 w 865623"/>
                  <a:gd name="connsiteY300" fmla="*/ 371374 h 827962"/>
                  <a:gd name="connsiteX301" fmla="*/ 321541 w 865623"/>
                  <a:gd name="connsiteY301" fmla="*/ 370294 h 827962"/>
                  <a:gd name="connsiteX302" fmla="*/ 330944 w 865623"/>
                  <a:gd name="connsiteY302" fmla="*/ 357341 h 827962"/>
                  <a:gd name="connsiteX303" fmla="*/ 330944 w 865623"/>
                  <a:gd name="connsiteY303" fmla="*/ 353023 h 827962"/>
                  <a:gd name="connsiteX304" fmla="*/ 316010 w 865623"/>
                  <a:gd name="connsiteY304" fmla="*/ 342768 h 827962"/>
                  <a:gd name="connsiteX305" fmla="*/ 306055 w 865623"/>
                  <a:gd name="connsiteY305" fmla="*/ 341689 h 827962"/>
                  <a:gd name="connsiteX306" fmla="*/ 304395 w 865623"/>
                  <a:gd name="connsiteY306" fmla="*/ 342229 h 827962"/>
                  <a:gd name="connsiteX307" fmla="*/ 303842 w 865623"/>
                  <a:gd name="connsiteY307" fmla="*/ 349785 h 827962"/>
                  <a:gd name="connsiteX308" fmla="*/ 298311 w 865623"/>
                  <a:gd name="connsiteY308" fmla="*/ 353563 h 827962"/>
                  <a:gd name="connsiteX309" fmla="*/ 298864 w 865623"/>
                  <a:gd name="connsiteY309" fmla="*/ 362738 h 827962"/>
                  <a:gd name="connsiteX310" fmla="*/ 311032 w 865623"/>
                  <a:gd name="connsiteY310" fmla="*/ 372993 h 827962"/>
                  <a:gd name="connsiteX311" fmla="*/ 314904 w 865623"/>
                  <a:gd name="connsiteY311" fmla="*/ 380009 h 827962"/>
                  <a:gd name="connsiteX312" fmla="*/ 320435 w 865623"/>
                  <a:gd name="connsiteY312" fmla="*/ 382168 h 827962"/>
                  <a:gd name="connsiteX313" fmla="*/ 314351 w 865623"/>
                  <a:gd name="connsiteY313" fmla="*/ 390264 h 827962"/>
                  <a:gd name="connsiteX314" fmla="*/ 293887 w 865623"/>
                  <a:gd name="connsiteY314" fmla="*/ 401598 h 827962"/>
                  <a:gd name="connsiteX315" fmla="*/ 290568 w 865623"/>
                  <a:gd name="connsiteY315" fmla="*/ 401598 h 827962"/>
                  <a:gd name="connsiteX316" fmla="*/ 282272 w 865623"/>
                  <a:gd name="connsiteY316" fmla="*/ 404837 h 827962"/>
                  <a:gd name="connsiteX317" fmla="*/ 281719 w 865623"/>
                  <a:gd name="connsiteY317" fmla="*/ 409154 h 827962"/>
                  <a:gd name="connsiteX318" fmla="*/ 296099 w 865623"/>
                  <a:gd name="connsiteY318" fmla="*/ 410234 h 827962"/>
                  <a:gd name="connsiteX319" fmla="*/ 308267 w 865623"/>
                  <a:gd name="connsiteY319" fmla="*/ 415091 h 827962"/>
                  <a:gd name="connsiteX320" fmla="*/ 325413 w 865623"/>
                  <a:gd name="connsiteY320" fmla="*/ 412393 h 827962"/>
                  <a:gd name="connsiteX321" fmla="*/ 332050 w 865623"/>
                  <a:gd name="connsiteY321" fmla="*/ 424267 h 827962"/>
                  <a:gd name="connsiteX322" fmla="*/ 337028 w 865623"/>
                  <a:gd name="connsiteY322" fmla="*/ 424267 h 827962"/>
                  <a:gd name="connsiteX323" fmla="*/ 344771 w 865623"/>
                  <a:gd name="connsiteY323" fmla="*/ 418330 h 827962"/>
                  <a:gd name="connsiteX324" fmla="*/ 353621 w 865623"/>
                  <a:gd name="connsiteY324" fmla="*/ 419409 h 827962"/>
                  <a:gd name="connsiteX325" fmla="*/ 353621 w 865623"/>
                  <a:gd name="connsiteY325" fmla="*/ 429124 h 827962"/>
                  <a:gd name="connsiteX326" fmla="*/ 361917 w 865623"/>
                  <a:gd name="connsiteY326" fmla="*/ 435601 h 827962"/>
                  <a:gd name="connsiteX327" fmla="*/ 380169 w 865623"/>
                  <a:gd name="connsiteY327" fmla="*/ 436140 h 827962"/>
                  <a:gd name="connsiteX328" fmla="*/ 385147 w 865623"/>
                  <a:gd name="connsiteY328" fmla="*/ 442617 h 827962"/>
                  <a:gd name="connsiteX329" fmla="*/ 393996 w 865623"/>
                  <a:gd name="connsiteY329" fmla="*/ 448014 h 827962"/>
                  <a:gd name="connsiteX330" fmla="*/ 426629 w 865623"/>
                  <a:gd name="connsiteY330" fmla="*/ 454491 h 827962"/>
                  <a:gd name="connsiteX331" fmla="*/ 432713 w 865623"/>
                  <a:gd name="connsiteY331" fmla="*/ 460968 h 827962"/>
                  <a:gd name="connsiteX332" fmla="*/ 427735 w 865623"/>
                  <a:gd name="connsiteY332" fmla="*/ 474461 h 827962"/>
                  <a:gd name="connsiteX333" fmla="*/ 436584 w 865623"/>
                  <a:gd name="connsiteY333" fmla="*/ 489573 h 827962"/>
                  <a:gd name="connsiteX334" fmla="*/ 438797 w 865623"/>
                  <a:gd name="connsiteY334" fmla="*/ 520337 h 827962"/>
                  <a:gd name="connsiteX335" fmla="*/ 434925 w 865623"/>
                  <a:gd name="connsiteY335" fmla="*/ 519258 h 827962"/>
                  <a:gd name="connsiteX336" fmla="*/ 433266 w 865623"/>
                  <a:gd name="connsiteY336" fmla="*/ 516020 h 827962"/>
                  <a:gd name="connsiteX337" fmla="*/ 424969 w 865623"/>
                  <a:gd name="connsiteY337" fmla="*/ 509003 h 827962"/>
                  <a:gd name="connsiteX338" fmla="*/ 410589 w 865623"/>
                  <a:gd name="connsiteY338" fmla="*/ 506844 h 827962"/>
                  <a:gd name="connsiteX339" fmla="*/ 402846 w 865623"/>
                  <a:gd name="connsiteY339" fmla="*/ 496050 h 827962"/>
                  <a:gd name="connsiteX340" fmla="*/ 393996 w 865623"/>
                  <a:gd name="connsiteY340" fmla="*/ 492272 h 827962"/>
                  <a:gd name="connsiteX341" fmla="*/ 391784 w 865623"/>
                  <a:gd name="connsiteY341" fmla="*/ 486874 h 827962"/>
                  <a:gd name="connsiteX342" fmla="*/ 353621 w 865623"/>
                  <a:gd name="connsiteY342" fmla="*/ 502526 h 827962"/>
                  <a:gd name="connsiteX343" fmla="*/ 347536 w 865623"/>
                  <a:gd name="connsiteY343" fmla="*/ 507384 h 827962"/>
                  <a:gd name="connsiteX344" fmla="*/ 344771 w 865623"/>
                  <a:gd name="connsiteY344" fmla="*/ 517099 h 827962"/>
                  <a:gd name="connsiteX345" fmla="*/ 356386 w 865623"/>
                  <a:gd name="connsiteY345" fmla="*/ 521417 h 827962"/>
                  <a:gd name="connsiteX346" fmla="*/ 359151 w 865623"/>
                  <a:gd name="connsiteY346" fmla="*/ 529513 h 827962"/>
                  <a:gd name="connsiteX347" fmla="*/ 370213 w 865623"/>
                  <a:gd name="connsiteY347" fmla="*/ 547323 h 827962"/>
                  <a:gd name="connsiteX348" fmla="*/ 377957 w 865623"/>
                  <a:gd name="connsiteY348" fmla="*/ 550562 h 827962"/>
                  <a:gd name="connsiteX349" fmla="*/ 380722 w 865623"/>
                  <a:gd name="connsiteY349" fmla="*/ 545704 h 827962"/>
                  <a:gd name="connsiteX350" fmla="*/ 377403 w 865623"/>
                  <a:gd name="connsiteY350" fmla="*/ 540307 h 827962"/>
                  <a:gd name="connsiteX351" fmla="*/ 382381 w 865623"/>
                  <a:gd name="connsiteY351" fmla="*/ 538148 h 827962"/>
                  <a:gd name="connsiteX352" fmla="*/ 387359 w 865623"/>
                  <a:gd name="connsiteY352" fmla="*/ 547863 h 827962"/>
                  <a:gd name="connsiteX353" fmla="*/ 397868 w 865623"/>
                  <a:gd name="connsiteY353" fmla="*/ 558118 h 827962"/>
                  <a:gd name="connsiteX354" fmla="*/ 395656 w 865623"/>
                  <a:gd name="connsiteY354" fmla="*/ 560817 h 827962"/>
                  <a:gd name="connsiteX355" fmla="*/ 393443 w 865623"/>
                  <a:gd name="connsiteY355" fmla="*/ 560277 h 827962"/>
                  <a:gd name="connsiteX356" fmla="*/ 376297 w 865623"/>
                  <a:gd name="connsiteY356" fmla="*/ 566214 h 827962"/>
                  <a:gd name="connsiteX357" fmla="*/ 374085 w 865623"/>
                  <a:gd name="connsiteY357" fmla="*/ 573770 h 827962"/>
                  <a:gd name="connsiteX358" fmla="*/ 369660 w 865623"/>
                  <a:gd name="connsiteY358" fmla="*/ 578627 h 827962"/>
                  <a:gd name="connsiteX359" fmla="*/ 361917 w 865623"/>
                  <a:gd name="connsiteY359" fmla="*/ 571611 h 827962"/>
                  <a:gd name="connsiteX360" fmla="*/ 363023 w 865623"/>
                  <a:gd name="connsiteY360" fmla="*/ 564595 h 827962"/>
                  <a:gd name="connsiteX361" fmla="*/ 330944 w 865623"/>
                  <a:gd name="connsiteY361" fmla="*/ 556499 h 827962"/>
                  <a:gd name="connsiteX362" fmla="*/ 325413 w 865623"/>
                  <a:gd name="connsiteY362" fmla="*/ 559197 h 827962"/>
                  <a:gd name="connsiteX363" fmla="*/ 324860 w 865623"/>
                  <a:gd name="connsiteY363" fmla="*/ 564055 h 827962"/>
                  <a:gd name="connsiteX364" fmla="*/ 336475 w 865623"/>
                  <a:gd name="connsiteY364" fmla="*/ 588882 h 827962"/>
                  <a:gd name="connsiteX365" fmla="*/ 347536 w 865623"/>
                  <a:gd name="connsiteY365" fmla="*/ 601296 h 827962"/>
                  <a:gd name="connsiteX366" fmla="*/ 351408 w 865623"/>
                  <a:gd name="connsiteY366" fmla="*/ 607773 h 827962"/>
                  <a:gd name="connsiteX367" fmla="*/ 354727 w 865623"/>
                  <a:gd name="connsiteY367" fmla="*/ 611011 h 827962"/>
                  <a:gd name="connsiteX368" fmla="*/ 365789 w 865623"/>
                  <a:gd name="connsiteY368" fmla="*/ 625583 h 827962"/>
                  <a:gd name="connsiteX369" fmla="*/ 368554 w 865623"/>
                  <a:gd name="connsiteY369" fmla="*/ 635838 h 827962"/>
                  <a:gd name="connsiteX370" fmla="*/ 374085 w 865623"/>
                  <a:gd name="connsiteY370" fmla="*/ 645013 h 827962"/>
                  <a:gd name="connsiteX371" fmla="*/ 375744 w 865623"/>
                  <a:gd name="connsiteY371" fmla="*/ 662824 h 827962"/>
                  <a:gd name="connsiteX372" fmla="*/ 389571 w 865623"/>
                  <a:gd name="connsiteY372" fmla="*/ 679016 h 827962"/>
                  <a:gd name="connsiteX373" fmla="*/ 377403 w 865623"/>
                  <a:gd name="connsiteY373" fmla="*/ 678476 h 827962"/>
                  <a:gd name="connsiteX374" fmla="*/ 376297 w 865623"/>
                  <a:gd name="connsiteY374" fmla="*/ 674698 h 827962"/>
                  <a:gd name="connsiteX375" fmla="*/ 367448 w 865623"/>
                  <a:gd name="connsiteY375" fmla="*/ 673079 h 827962"/>
                  <a:gd name="connsiteX376" fmla="*/ 358598 w 865623"/>
                  <a:gd name="connsiteY376" fmla="*/ 660665 h 827962"/>
                  <a:gd name="connsiteX377" fmla="*/ 354174 w 865623"/>
                  <a:gd name="connsiteY377" fmla="*/ 659046 h 827962"/>
                  <a:gd name="connsiteX378" fmla="*/ 346983 w 865623"/>
                  <a:gd name="connsiteY378" fmla="*/ 650411 h 827962"/>
                  <a:gd name="connsiteX379" fmla="*/ 336475 w 865623"/>
                  <a:gd name="connsiteY379" fmla="*/ 646093 h 827962"/>
                  <a:gd name="connsiteX380" fmla="*/ 329838 w 865623"/>
                  <a:gd name="connsiteY380" fmla="*/ 649871 h 827962"/>
                  <a:gd name="connsiteX381" fmla="*/ 322094 w 865623"/>
                  <a:gd name="connsiteY381" fmla="*/ 674698 h 827962"/>
                  <a:gd name="connsiteX382" fmla="*/ 320435 w 865623"/>
                  <a:gd name="connsiteY382" fmla="*/ 694128 h 827962"/>
                  <a:gd name="connsiteX383" fmla="*/ 318776 w 865623"/>
                  <a:gd name="connsiteY383" fmla="*/ 694128 h 827962"/>
                  <a:gd name="connsiteX384" fmla="*/ 316563 w 865623"/>
                  <a:gd name="connsiteY384" fmla="*/ 691969 h 827962"/>
                  <a:gd name="connsiteX385" fmla="*/ 309373 w 865623"/>
                  <a:gd name="connsiteY385" fmla="*/ 687652 h 827962"/>
                  <a:gd name="connsiteX386" fmla="*/ 311586 w 865623"/>
                  <a:gd name="connsiteY386" fmla="*/ 675778 h 827962"/>
                  <a:gd name="connsiteX387" fmla="*/ 304395 w 865623"/>
                  <a:gd name="connsiteY387" fmla="*/ 656348 h 827962"/>
                  <a:gd name="connsiteX388" fmla="*/ 281719 w 865623"/>
                  <a:gd name="connsiteY388" fmla="*/ 643394 h 827962"/>
                  <a:gd name="connsiteX389" fmla="*/ 280059 w 865623"/>
                  <a:gd name="connsiteY389" fmla="*/ 634219 h 827962"/>
                  <a:gd name="connsiteX390" fmla="*/ 261807 w 865623"/>
                  <a:gd name="connsiteY390" fmla="*/ 639616 h 827962"/>
                  <a:gd name="connsiteX391" fmla="*/ 261807 w 865623"/>
                  <a:gd name="connsiteY391" fmla="*/ 654728 h 827962"/>
                  <a:gd name="connsiteX392" fmla="*/ 263467 w 865623"/>
                  <a:gd name="connsiteY392" fmla="*/ 661745 h 827962"/>
                  <a:gd name="connsiteX393" fmla="*/ 261254 w 865623"/>
                  <a:gd name="connsiteY393" fmla="*/ 664983 h 827962"/>
                  <a:gd name="connsiteX394" fmla="*/ 254064 w 865623"/>
                  <a:gd name="connsiteY394" fmla="*/ 661745 h 827962"/>
                  <a:gd name="connsiteX395" fmla="*/ 243002 w 865623"/>
                  <a:gd name="connsiteY395" fmla="*/ 658506 h 827962"/>
                  <a:gd name="connsiteX396" fmla="*/ 240237 w 865623"/>
                  <a:gd name="connsiteY396" fmla="*/ 643934 h 827962"/>
                  <a:gd name="connsiteX397" fmla="*/ 229175 w 865623"/>
                  <a:gd name="connsiteY397" fmla="*/ 635838 h 827962"/>
                  <a:gd name="connsiteX398" fmla="*/ 224197 w 865623"/>
                  <a:gd name="connsiteY398" fmla="*/ 625583 h 827962"/>
                  <a:gd name="connsiteX399" fmla="*/ 228622 w 865623"/>
                  <a:gd name="connsiteY399" fmla="*/ 612090 h 827962"/>
                  <a:gd name="connsiteX400" fmla="*/ 228069 w 865623"/>
                  <a:gd name="connsiteY400" fmla="*/ 598057 h 827962"/>
                  <a:gd name="connsiteX401" fmla="*/ 208157 w 865623"/>
                  <a:gd name="connsiteY401" fmla="*/ 572151 h 827962"/>
                  <a:gd name="connsiteX402" fmla="*/ 192118 w 865623"/>
                  <a:gd name="connsiteY402" fmla="*/ 566754 h 827962"/>
                  <a:gd name="connsiteX403" fmla="*/ 184374 w 865623"/>
                  <a:gd name="connsiteY403" fmla="*/ 559197 h 827962"/>
                  <a:gd name="connsiteX404" fmla="*/ 170547 w 865623"/>
                  <a:gd name="connsiteY404" fmla="*/ 552721 h 827962"/>
                  <a:gd name="connsiteX405" fmla="*/ 168888 w 865623"/>
                  <a:gd name="connsiteY405" fmla="*/ 546784 h 827962"/>
                  <a:gd name="connsiteX406" fmla="*/ 181609 w 865623"/>
                  <a:gd name="connsiteY406" fmla="*/ 532751 h 827962"/>
                  <a:gd name="connsiteX407" fmla="*/ 185481 w 865623"/>
                  <a:gd name="connsiteY407" fmla="*/ 510622 h 827962"/>
                  <a:gd name="connsiteX408" fmla="*/ 206498 w 865623"/>
                  <a:gd name="connsiteY408" fmla="*/ 506305 h 827962"/>
                  <a:gd name="connsiteX409" fmla="*/ 220325 w 865623"/>
                  <a:gd name="connsiteY409" fmla="*/ 489033 h 827962"/>
                  <a:gd name="connsiteX410" fmla="*/ 242449 w 865623"/>
                  <a:gd name="connsiteY410" fmla="*/ 482557 h 827962"/>
                  <a:gd name="connsiteX411" fmla="*/ 249086 w 865623"/>
                  <a:gd name="connsiteY411" fmla="*/ 488494 h 827962"/>
                  <a:gd name="connsiteX412" fmla="*/ 259595 w 865623"/>
                  <a:gd name="connsiteY412" fmla="*/ 492811 h 827962"/>
                  <a:gd name="connsiteX413" fmla="*/ 281719 w 865623"/>
                  <a:gd name="connsiteY413" fmla="*/ 496050 h 827962"/>
                  <a:gd name="connsiteX414" fmla="*/ 311032 w 865623"/>
                  <a:gd name="connsiteY414" fmla="*/ 504146 h 827962"/>
                  <a:gd name="connsiteX415" fmla="*/ 318776 w 865623"/>
                  <a:gd name="connsiteY415" fmla="*/ 510083 h 827962"/>
                  <a:gd name="connsiteX416" fmla="*/ 332603 w 865623"/>
                  <a:gd name="connsiteY416" fmla="*/ 510083 h 827962"/>
                  <a:gd name="connsiteX417" fmla="*/ 337028 w 865623"/>
                  <a:gd name="connsiteY417" fmla="*/ 503606 h 827962"/>
                  <a:gd name="connsiteX418" fmla="*/ 327625 w 865623"/>
                  <a:gd name="connsiteY418" fmla="*/ 499828 h 827962"/>
                  <a:gd name="connsiteX419" fmla="*/ 336475 w 865623"/>
                  <a:gd name="connsiteY419" fmla="*/ 492272 h 827962"/>
                  <a:gd name="connsiteX420" fmla="*/ 349196 w 865623"/>
                  <a:gd name="connsiteY420" fmla="*/ 490653 h 827962"/>
                  <a:gd name="connsiteX421" fmla="*/ 353621 w 865623"/>
                  <a:gd name="connsiteY421" fmla="*/ 482017 h 827962"/>
                  <a:gd name="connsiteX422" fmla="*/ 353067 w 865623"/>
                  <a:gd name="connsiteY422" fmla="*/ 480398 h 827962"/>
                  <a:gd name="connsiteX423" fmla="*/ 336475 w 865623"/>
                  <a:gd name="connsiteY423" fmla="*/ 475001 h 827962"/>
                  <a:gd name="connsiteX424" fmla="*/ 316563 w 865623"/>
                  <a:gd name="connsiteY424" fmla="*/ 476080 h 827962"/>
                  <a:gd name="connsiteX425" fmla="*/ 313798 w 865623"/>
                  <a:gd name="connsiteY425" fmla="*/ 472302 h 827962"/>
                  <a:gd name="connsiteX426" fmla="*/ 307714 w 865623"/>
                  <a:gd name="connsiteY426" fmla="*/ 470143 h 827962"/>
                  <a:gd name="connsiteX427" fmla="*/ 304395 w 865623"/>
                  <a:gd name="connsiteY427" fmla="*/ 462587 h 827962"/>
                  <a:gd name="connsiteX428" fmla="*/ 302736 w 865623"/>
                  <a:gd name="connsiteY428" fmla="*/ 462047 h 827962"/>
                  <a:gd name="connsiteX429" fmla="*/ 288909 w 865623"/>
                  <a:gd name="connsiteY429" fmla="*/ 470683 h 827962"/>
                  <a:gd name="connsiteX430" fmla="*/ 282272 w 865623"/>
                  <a:gd name="connsiteY430" fmla="*/ 464746 h 827962"/>
                  <a:gd name="connsiteX431" fmla="*/ 276188 w 865623"/>
                  <a:gd name="connsiteY431" fmla="*/ 462047 h 827962"/>
                  <a:gd name="connsiteX432" fmla="*/ 273975 w 865623"/>
                  <a:gd name="connsiteY432" fmla="*/ 471762 h 827962"/>
                  <a:gd name="connsiteX433" fmla="*/ 264020 w 865623"/>
                  <a:gd name="connsiteY433" fmla="*/ 472302 h 827962"/>
                  <a:gd name="connsiteX434" fmla="*/ 256829 w 865623"/>
                  <a:gd name="connsiteY434" fmla="*/ 476080 h 827962"/>
                  <a:gd name="connsiteX435" fmla="*/ 233046 w 865623"/>
                  <a:gd name="connsiteY435" fmla="*/ 471762 h 827962"/>
                  <a:gd name="connsiteX436" fmla="*/ 223091 w 865623"/>
                  <a:gd name="connsiteY436" fmla="*/ 476080 h 827962"/>
                  <a:gd name="connsiteX437" fmla="*/ 215901 w 865623"/>
                  <a:gd name="connsiteY437" fmla="*/ 481477 h 827962"/>
                  <a:gd name="connsiteX438" fmla="*/ 200967 w 865623"/>
                  <a:gd name="connsiteY438" fmla="*/ 484176 h 827962"/>
                  <a:gd name="connsiteX439" fmla="*/ 197095 w 865623"/>
                  <a:gd name="connsiteY439" fmla="*/ 487954 h 827962"/>
                  <a:gd name="connsiteX440" fmla="*/ 187140 w 865623"/>
                  <a:gd name="connsiteY440" fmla="*/ 483096 h 827962"/>
                  <a:gd name="connsiteX441" fmla="*/ 173866 w 865623"/>
                  <a:gd name="connsiteY441" fmla="*/ 482017 h 827962"/>
                  <a:gd name="connsiteX442" fmla="*/ 160591 w 865623"/>
                  <a:gd name="connsiteY442" fmla="*/ 494970 h 827962"/>
                  <a:gd name="connsiteX443" fmla="*/ 155060 w 865623"/>
                  <a:gd name="connsiteY443" fmla="*/ 482017 h 827962"/>
                  <a:gd name="connsiteX444" fmla="*/ 142892 w 865623"/>
                  <a:gd name="connsiteY444" fmla="*/ 465286 h 827962"/>
                  <a:gd name="connsiteX445" fmla="*/ 128512 w 865623"/>
                  <a:gd name="connsiteY445" fmla="*/ 445316 h 827962"/>
                  <a:gd name="connsiteX446" fmla="*/ 118556 w 865623"/>
                  <a:gd name="connsiteY446" fmla="*/ 443157 h 827962"/>
                  <a:gd name="connsiteX447" fmla="*/ 118003 w 865623"/>
                  <a:gd name="connsiteY447" fmla="*/ 434521 h 827962"/>
                  <a:gd name="connsiteX448" fmla="*/ 150083 w 865623"/>
                  <a:gd name="connsiteY448" fmla="*/ 430743 h 827962"/>
                  <a:gd name="connsiteX449" fmla="*/ 152848 w 865623"/>
                  <a:gd name="connsiteY449" fmla="*/ 430204 h 827962"/>
                  <a:gd name="connsiteX450" fmla="*/ 153401 w 865623"/>
                  <a:gd name="connsiteY450" fmla="*/ 426425 h 827962"/>
                  <a:gd name="connsiteX451" fmla="*/ 152295 w 865623"/>
                  <a:gd name="connsiteY451" fmla="*/ 424267 h 827962"/>
                  <a:gd name="connsiteX452" fmla="*/ 147870 w 865623"/>
                  <a:gd name="connsiteY452" fmla="*/ 410773 h 827962"/>
                  <a:gd name="connsiteX453" fmla="*/ 131278 w 865623"/>
                  <a:gd name="connsiteY453" fmla="*/ 410773 h 827962"/>
                  <a:gd name="connsiteX454" fmla="*/ 782820 w 865623"/>
                  <a:gd name="connsiteY454" fmla="*/ 717336 h 827962"/>
                  <a:gd name="connsiteX455" fmla="*/ 781714 w 865623"/>
                  <a:gd name="connsiteY455" fmla="*/ 706542 h 827962"/>
                  <a:gd name="connsiteX456" fmla="*/ 776736 w 865623"/>
                  <a:gd name="connsiteY456" fmla="*/ 700605 h 827962"/>
                  <a:gd name="connsiteX457" fmla="*/ 778948 w 865623"/>
                  <a:gd name="connsiteY457" fmla="*/ 691430 h 827962"/>
                  <a:gd name="connsiteX458" fmla="*/ 781161 w 865623"/>
                  <a:gd name="connsiteY458" fmla="*/ 672000 h 827962"/>
                  <a:gd name="connsiteX459" fmla="*/ 785585 w 865623"/>
                  <a:gd name="connsiteY459" fmla="*/ 670380 h 827962"/>
                  <a:gd name="connsiteX460" fmla="*/ 786692 w 865623"/>
                  <a:gd name="connsiteY460" fmla="*/ 673619 h 827962"/>
                  <a:gd name="connsiteX461" fmla="*/ 786138 w 865623"/>
                  <a:gd name="connsiteY461" fmla="*/ 685493 h 827962"/>
                  <a:gd name="connsiteX462" fmla="*/ 785032 w 865623"/>
                  <a:gd name="connsiteY462" fmla="*/ 695747 h 827962"/>
                  <a:gd name="connsiteX463" fmla="*/ 793329 w 865623"/>
                  <a:gd name="connsiteY463" fmla="*/ 707621 h 827962"/>
                  <a:gd name="connsiteX464" fmla="*/ 782820 w 865623"/>
                  <a:gd name="connsiteY464" fmla="*/ 717336 h 827962"/>
                  <a:gd name="connsiteX465" fmla="*/ 386806 w 865623"/>
                  <a:gd name="connsiteY465" fmla="*/ 435601 h 827962"/>
                  <a:gd name="connsiteX466" fmla="*/ 385147 w 865623"/>
                  <a:gd name="connsiteY466" fmla="*/ 424806 h 827962"/>
                  <a:gd name="connsiteX467" fmla="*/ 369107 w 865623"/>
                  <a:gd name="connsiteY467" fmla="*/ 419949 h 827962"/>
                  <a:gd name="connsiteX468" fmla="*/ 364129 w 865623"/>
                  <a:gd name="connsiteY468" fmla="*/ 415631 h 827962"/>
                  <a:gd name="connsiteX469" fmla="*/ 356939 w 865623"/>
                  <a:gd name="connsiteY469" fmla="*/ 412393 h 827962"/>
                  <a:gd name="connsiteX470" fmla="*/ 337581 w 865623"/>
                  <a:gd name="connsiteY470" fmla="*/ 401058 h 827962"/>
                  <a:gd name="connsiteX471" fmla="*/ 332050 w 865623"/>
                  <a:gd name="connsiteY471" fmla="*/ 399979 h 827962"/>
                  <a:gd name="connsiteX472" fmla="*/ 313245 w 865623"/>
                  <a:gd name="connsiteY472" fmla="*/ 405916 h 827962"/>
                  <a:gd name="connsiteX473" fmla="*/ 308820 w 865623"/>
                  <a:gd name="connsiteY473" fmla="*/ 404297 h 827962"/>
                  <a:gd name="connsiteX474" fmla="*/ 311586 w 865623"/>
                  <a:gd name="connsiteY474" fmla="*/ 398360 h 827962"/>
                  <a:gd name="connsiteX475" fmla="*/ 320988 w 865623"/>
                  <a:gd name="connsiteY475" fmla="*/ 393502 h 827962"/>
                  <a:gd name="connsiteX476" fmla="*/ 340899 w 865623"/>
                  <a:gd name="connsiteY476" fmla="*/ 375152 h 827962"/>
                  <a:gd name="connsiteX477" fmla="*/ 355833 w 865623"/>
                  <a:gd name="connsiteY477" fmla="*/ 378930 h 827962"/>
                  <a:gd name="connsiteX478" fmla="*/ 373532 w 865623"/>
                  <a:gd name="connsiteY478" fmla="*/ 400519 h 827962"/>
                  <a:gd name="connsiteX479" fmla="*/ 391231 w 865623"/>
                  <a:gd name="connsiteY479" fmla="*/ 403217 h 827962"/>
                  <a:gd name="connsiteX480" fmla="*/ 411142 w 865623"/>
                  <a:gd name="connsiteY480" fmla="*/ 407535 h 827962"/>
                  <a:gd name="connsiteX481" fmla="*/ 419992 w 865623"/>
                  <a:gd name="connsiteY481" fmla="*/ 403757 h 827962"/>
                  <a:gd name="connsiteX482" fmla="*/ 429947 w 865623"/>
                  <a:gd name="connsiteY482" fmla="*/ 404837 h 827962"/>
                  <a:gd name="connsiteX483" fmla="*/ 432160 w 865623"/>
                  <a:gd name="connsiteY483" fmla="*/ 412393 h 827962"/>
                  <a:gd name="connsiteX484" fmla="*/ 439903 w 865623"/>
                  <a:gd name="connsiteY484" fmla="*/ 419409 h 827962"/>
                  <a:gd name="connsiteX485" fmla="*/ 443221 w 865623"/>
                  <a:gd name="connsiteY485" fmla="*/ 439919 h 827962"/>
                  <a:gd name="connsiteX486" fmla="*/ 447646 w 865623"/>
                  <a:gd name="connsiteY486" fmla="*/ 445855 h 827962"/>
                  <a:gd name="connsiteX487" fmla="*/ 453177 w 865623"/>
                  <a:gd name="connsiteY487" fmla="*/ 455031 h 827962"/>
                  <a:gd name="connsiteX488" fmla="*/ 463686 w 865623"/>
                  <a:gd name="connsiteY488" fmla="*/ 457729 h 827962"/>
                  <a:gd name="connsiteX489" fmla="*/ 478619 w 865623"/>
                  <a:gd name="connsiteY489" fmla="*/ 455571 h 827962"/>
                  <a:gd name="connsiteX490" fmla="*/ 484150 w 865623"/>
                  <a:gd name="connsiteY490" fmla="*/ 473381 h 827962"/>
                  <a:gd name="connsiteX491" fmla="*/ 472535 w 865623"/>
                  <a:gd name="connsiteY491" fmla="*/ 472302 h 827962"/>
                  <a:gd name="connsiteX492" fmla="*/ 468111 w 865623"/>
                  <a:gd name="connsiteY492" fmla="*/ 474461 h 827962"/>
                  <a:gd name="connsiteX493" fmla="*/ 459814 w 865623"/>
                  <a:gd name="connsiteY493" fmla="*/ 471762 h 827962"/>
                  <a:gd name="connsiteX494" fmla="*/ 454283 w 865623"/>
                  <a:gd name="connsiteY494" fmla="*/ 465825 h 827962"/>
                  <a:gd name="connsiteX495" fmla="*/ 436584 w 865623"/>
                  <a:gd name="connsiteY495" fmla="*/ 452332 h 827962"/>
                  <a:gd name="connsiteX496" fmla="*/ 426076 w 865623"/>
                  <a:gd name="connsiteY496" fmla="*/ 437760 h 827962"/>
                  <a:gd name="connsiteX497" fmla="*/ 413354 w 865623"/>
                  <a:gd name="connsiteY497" fmla="*/ 436140 h 827962"/>
                  <a:gd name="connsiteX498" fmla="*/ 398421 w 865623"/>
                  <a:gd name="connsiteY498" fmla="*/ 438299 h 827962"/>
                  <a:gd name="connsiteX499" fmla="*/ 386806 w 865623"/>
                  <a:gd name="connsiteY499" fmla="*/ 435601 h 827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</a:cxnLst>
                <a:rect l="l" t="t" r="r" b="b"/>
                <a:pathLst>
                  <a:path w="865623" h="827962">
                    <a:moveTo>
                      <a:pt x="858040" y="620726"/>
                    </a:moveTo>
                    <a:cubicBezTo>
                      <a:pt x="856381" y="621805"/>
                      <a:pt x="853616" y="621805"/>
                      <a:pt x="851956" y="622885"/>
                    </a:cubicBezTo>
                    <a:cubicBezTo>
                      <a:pt x="846426" y="626123"/>
                      <a:pt x="840342" y="642855"/>
                      <a:pt x="835917" y="646633"/>
                    </a:cubicBezTo>
                    <a:cubicBezTo>
                      <a:pt x="835364" y="647172"/>
                      <a:pt x="834257" y="647172"/>
                      <a:pt x="833151" y="646633"/>
                    </a:cubicBezTo>
                    <a:cubicBezTo>
                      <a:pt x="832598" y="646633"/>
                      <a:pt x="830386" y="645553"/>
                      <a:pt x="830386" y="645013"/>
                    </a:cubicBezTo>
                    <a:cubicBezTo>
                      <a:pt x="828727" y="642315"/>
                      <a:pt x="828173" y="630981"/>
                      <a:pt x="827067" y="627203"/>
                    </a:cubicBezTo>
                    <a:cubicBezTo>
                      <a:pt x="825961" y="624504"/>
                      <a:pt x="820430" y="620726"/>
                      <a:pt x="820430" y="618567"/>
                    </a:cubicBezTo>
                    <a:cubicBezTo>
                      <a:pt x="820983" y="617488"/>
                      <a:pt x="823749" y="614789"/>
                      <a:pt x="824302" y="613170"/>
                    </a:cubicBezTo>
                    <a:cubicBezTo>
                      <a:pt x="826514" y="608852"/>
                      <a:pt x="826514" y="601836"/>
                      <a:pt x="830386" y="598057"/>
                    </a:cubicBezTo>
                    <a:cubicBezTo>
                      <a:pt x="832045" y="596978"/>
                      <a:pt x="834257" y="595899"/>
                      <a:pt x="835917" y="594819"/>
                    </a:cubicBezTo>
                    <a:cubicBezTo>
                      <a:pt x="840342" y="591041"/>
                      <a:pt x="845319" y="587263"/>
                      <a:pt x="849191" y="582945"/>
                    </a:cubicBezTo>
                    <a:cubicBezTo>
                      <a:pt x="851956" y="580786"/>
                      <a:pt x="853616" y="578088"/>
                      <a:pt x="856381" y="576469"/>
                    </a:cubicBezTo>
                    <a:cubicBezTo>
                      <a:pt x="856934" y="575929"/>
                      <a:pt x="860253" y="574310"/>
                      <a:pt x="861359" y="574849"/>
                    </a:cubicBezTo>
                    <a:cubicBezTo>
                      <a:pt x="863018" y="575389"/>
                      <a:pt x="864678" y="580786"/>
                      <a:pt x="864678" y="582406"/>
                    </a:cubicBezTo>
                    <a:cubicBezTo>
                      <a:pt x="865784" y="593740"/>
                      <a:pt x="856934" y="606693"/>
                      <a:pt x="856381" y="615329"/>
                    </a:cubicBezTo>
                    <a:cubicBezTo>
                      <a:pt x="856381" y="617488"/>
                      <a:pt x="859147" y="618027"/>
                      <a:pt x="858040" y="620726"/>
                    </a:cubicBezTo>
                    <a:close/>
                    <a:moveTo>
                      <a:pt x="717002" y="451253"/>
                    </a:moveTo>
                    <a:cubicBezTo>
                      <a:pt x="716449" y="452872"/>
                      <a:pt x="715343" y="454491"/>
                      <a:pt x="714237" y="455571"/>
                    </a:cubicBezTo>
                    <a:cubicBezTo>
                      <a:pt x="712024" y="457729"/>
                      <a:pt x="702068" y="466365"/>
                      <a:pt x="699303" y="466365"/>
                    </a:cubicBezTo>
                    <a:cubicBezTo>
                      <a:pt x="694325" y="465825"/>
                      <a:pt x="695431" y="462047"/>
                      <a:pt x="693772" y="462047"/>
                    </a:cubicBezTo>
                    <a:cubicBezTo>
                      <a:pt x="690454" y="460968"/>
                      <a:pt x="679392" y="464206"/>
                      <a:pt x="677179" y="462047"/>
                    </a:cubicBezTo>
                    <a:cubicBezTo>
                      <a:pt x="676626" y="461507"/>
                      <a:pt x="676626" y="459888"/>
                      <a:pt x="676626" y="459349"/>
                    </a:cubicBezTo>
                    <a:cubicBezTo>
                      <a:pt x="677179" y="458809"/>
                      <a:pt x="677732" y="457729"/>
                      <a:pt x="678286" y="457190"/>
                    </a:cubicBezTo>
                    <a:cubicBezTo>
                      <a:pt x="679392" y="455571"/>
                      <a:pt x="684370" y="451253"/>
                      <a:pt x="686582" y="450173"/>
                    </a:cubicBezTo>
                    <a:cubicBezTo>
                      <a:pt x="692666" y="446395"/>
                      <a:pt x="707046" y="450173"/>
                      <a:pt x="709812" y="448014"/>
                    </a:cubicBezTo>
                    <a:cubicBezTo>
                      <a:pt x="710918" y="447475"/>
                      <a:pt x="710918" y="444236"/>
                      <a:pt x="713130" y="443697"/>
                    </a:cubicBezTo>
                    <a:cubicBezTo>
                      <a:pt x="713683" y="443157"/>
                      <a:pt x="715896" y="443697"/>
                      <a:pt x="716449" y="443697"/>
                    </a:cubicBezTo>
                    <a:cubicBezTo>
                      <a:pt x="719767" y="445316"/>
                      <a:pt x="718108" y="449094"/>
                      <a:pt x="717002" y="451253"/>
                    </a:cubicBezTo>
                    <a:close/>
                    <a:moveTo>
                      <a:pt x="624636" y="302829"/>
                    </a:moveTo>
                    <a:cubicBezTo>
                      <a:pt x="626295" y="307686"/>
                      <a:pt x="636251" y="310925"/>
                      <a:pt x="636251" y="314703"/>
                    </a:cubicBezTo>
                    <a:cubicBezTo>
                      <a:pt x="635697" y="316322"/>
                      <a:pt x="635144" y="317401"/>
                      <a:pt x="633485" y="317941"/>
                    </a:cubicBezTo>
                    <a:cubicBezTo>
                      <a:pt x="632932" y="319021"/>
                      <a:pt x="631273" y="319560"/>
                      <a:pt x="630720" y="320100"/>
                    </a:cubicBezTo>
                    <a:cubicBezTo>
                      <a:pt x="628507" y="320640"/>
                      <a:pt x="621317" y="321179"/>
                      <a:pt x="619105" y="321179"/>
                    </a:cubicBezTo>
                    <a:cubicBezTo>
                      <a:pt x="616339" y="320640"/>
                      <a:pt x="601959" y="316862"/>
                      <a:pt x="599746" y="315782"/>
                    </a:cubicBezTo>
                    <a:cubicBezTo>
                      <a:pt x="599193" y="315242"/>
                      <a:pt x="599193" y="313084"/>
                      <a:pt x="599746" y="312544"/>
                    </a:cubicBezTo>
                    <a:cubicBezTo>
                      <a:pt x="600300" y="309845"/>
                      <a:pt x="603618" y="309306"/>
                      <a:pt x="605277" y="307147"/>
                    </a:cubicBezTo>
                    <a:cubicBezTo>
                      <a:pt x="606384" y="305527"/>
                      <a:pt x="610255" y="297432"/>
                      <a:pt x="606937" y="296352"/>
                    </a:cubicBezTo>
                    <a:cubicBezTo>
                      <a:pt x="605277" y="295812"/>
                      <a:pt x="600853" y="296352"/>
                      <a:pt x="599193" y="297971"/>
                    </a:cubicBezTo>
                    <a:cubicBezTo>
                      <a:pt x="596981" y="301210"/>
                      <a:pt x="594216" y="309845"/>
                      <a:pt x="590344" y="310925"/>
                    </a:cubicBezTo>
                    <a:cubicBezTo>
                      <a:pt x="586472" y="312544"/>
                      <a:pt x="575410" y="306067"/>
                      <a:pt x="575410" y="303369"/>
                    </a:cubicBezTo>
                    <a:cubicBezTo>
                      <a:pt x="575410" y="301749"/>
                      <a:pt x="577070" y="295273"/>
                      <a:pt x="578176" y="294193"/>
                    </a:cubicBezTo>
                    <a:cubicBezTo>
                      <a:pt x="582601" y="289875"/>
                      <a:pt x="590344" y="289336"/>
                      <a:pt x="594769" y="285558"/>
                    </a:cubicBezTo>
                    <a:cubicBezTo>
                      <a:pt x="596981" y="283939"/>
                      <a:pt x="596428" y="278002"/>
                      <a:pt x="599193" y="276382"/>
                    </a:cubicBezTo>
                    <a:cubicBezTo>
                      <a:pt x="601406" y="275303"/>
                      <a:pt x="607490" y="273684"/>
                      <a:pt x="609702" y="275843"/>
                    </a:cubicBezTo>
                    <a:cubicBezTo>
                      <a:pt x="610255" y="275843"/>
                      <a:pt x="610255" y="276382"/>
                      <a:pt x="610808" y="276922"/>
                    </a:cubicBezTo>
                    <a:cubicBezTo>
                      <a:pt x="611361" y="277462"/>
                      <a:pt x="615233" y="277462"/>
                      <a:pt x="615786" y="278002"/>
                    </a:cubicBezTo>
                    <a:cubicBezTo>
                      <a:pt x="616892" y="279621"/>
                      <a:pt x="616339" y="285558"/>
                      <a:pt x="617445" y="286637"/>
                    </a:cubicBezTo>
                    <a:cubicBezTo>
                      <a:pt x="619105" y="288796"/>
                      <a:pt x="626295" y="292034"/>
                      <a:pt x="628507" y="293654"/>
                    </a:cubicBezTo>
                    <a:cubicBezTo>
                      <a:pt x="632932" y="296892"/>
                      <a:pt x="636251" y="300670"/>
                      <a:pt x="640122" y="303908"/>
                    </a:cubicBezTo>
                    <a:cubicBezTo>
                      <a:pt x="641228" y="304448"/>
                      <a:pt x="643994" y="306067"/>
                      <a:pt x="642888" y="308226"/>
                    </a:cubicBezTo>
                    <a:cubicBezTo>
                      <a:pt x="640675" y="312004"/>
                      <a:pt x="630167" y="299590"/>
                      <a:pt x="624636" y="302829"/>
                    </a:cubicBezTo>
                    <a:close/>
                    <a:moveTo>
                      <a:pt x="617445" y="400519"/>
                    </a:moveTo>
                    <a:cubicBezTo>
                      <a:pt x="617445" y="403757"/>
                      <a:pt x="616892" y="425346"/>
                      <a:pt x="611914" y="425346"/>
                    </a:cubicBezTo>
                    <a:cubicBezTo>
                      <a:pt x="611361" y="425346"/>
                      <a:pt x="600853" y="422108"/>
                      <a:pt x="600300" y="421028"/>
                    </a:cubicBezTo>
                    <a:cubicBezTo>
                      <a:pt x="593662" y="417250"/>
                      <a:pt x="601959" y="404837"/>
                      <a:pt x="603065" y="399979"/>
                    </a:cubicBezTo>
                    <a:cubicBezTo>
                      <a:pt x="603618" y="398360"/>
                      <a:pt x="602512" y="394582"/>
                      <a:pt x="600853" y="393502"/>
                    </a:cubicBezTo>
                    <a:cubicBezTo>
                      <a:pt x="600853" y="392963"/>
                      <a:pt x="599746" y="392963"/>
                      <a:pt x="599746" y="392963"/>
                    </a:cubicBezTo>
                    <a:cubicBezTo>
                      <a:pt x="598640" y="392423"/>
                      <a:pt x="588132" y="381089"/>
                      <a:pt x="587578" y="380009"/>
                    </a:cubicBezTo>
                    <a:cubicBezTo>
                      <a:pt x="587025" y="379470"/>
                      <a:pt x="587025" y="377850"/>
                      <a:pt x="587578" y="376771"/>
                    </a:cubicBezTo>
                    <a:cubicBezTo>
                      <a:pt x="588132" y="375691"/>
                      <a:pt x="594216" y="371913"/>
                      <a:pt x="595875" y="371913"/>
                    </a:cubicBezTo>
                    <a:cubicBezTo>
                      <a:pt x="598640" y="371374"/>
                      <a:pt x="610255" y="372993"/>
                      <a:pt x="611914" y="375691"/>
                    </a:cubicBezTo>
                    <a:cubicBezTo>
                      <a:pt x="615233" y="379470"/>
                      <a:pt x="616892" y="395122"/>
                      <a:pt x="617445" y="400519"/>
                    </a:cubicBezTo>
                    <a:close/>
                    <a:moveTo>
                      <a:pt x="429394" y="143610"/>
                    </a:moveTo>
                    <a:cubicBezTo>
                      <a:pt x="433819" y="143610"/>
                      <a:pt x="438244" y="149008"/>
                      <a:pt x="438797" y="152786"/>
                    </a:cubicBezTo>
                    <a:cubicBezTo>
                      <a:pt x="439350" y="154945"/>
                      <a:pt x="438244" y="162501"/>
                      <a:pt x="437690" y="164660"/>
                    </a:cubicBezTo>
                    <a:cubicBezTo>
                      <a:pt x="437137" y="165199"/>
                      <a:pt x="434372" y="166819"/>
                      <a:pt x="433266" y="166819"/>
                    </a:cubicBezTo>
                    <a:cubicBezTo>
                      <a:pt x="431053" y="166819"/>
                      <a:pt x="423310" y="165739"/>
                      <a:pt x="421651" y="164660"/>
                    </a:cubicBezTo>
                    <a:cubicBezTo>
                      <a:pt x="419992" y="164120"/>
                      <a:pt x="416120" y="159802"/>
                      <a:pt x="416120" y="158183"/>
                    </a:cubicBezTo>
                    <a:cubicBezTo>
                      <a:pt x="415567" y="156564"/>
                      <a:pt x="416673" y="149008"/>
                      <a:pt x="417226" y="147389"/>
                    </a:cubicBezTo>
                    <a:cubicBezTo>
                      <a:pt x="418332" y="145230"/>
                      <a:pt x="423310" y="145230"/>
                      <a:pt x="425522" y="145230"/>
                    </a:cubicBezTo>
                    <a:cubicBezTo>
                      <a:pt x="426629" y="144690"/>
                      <a:pt x="428288" y="143610"/>
                      <a:pt x="429394" y="143610"/>
                    </a:cubicBezTo>
                    <a:close/>
                    <a:moveTo>
                      <a:pt x="512358" y="240761"/>
                    </a:moveTo>
                    <a:cubicBezTo>
                      <a:pt x="512911" y="241300"/>
                      <a:pt x="514017" y="241840"/>
                      <a:pt x="514017" y="242380"/>
                    </a:cubicBezTo>
                    <a:cubicBezTo>
                      <a:pt x="515123" y="245078"/>
                      <a:pt x="513464" y="247777"/>
                      <a:pt x="510699" y="248317"/>
                    </a:cubicBezTo>
                    <a:cubicBezTo>
                      <a:pt x="509592" y="248317"/>
                      <a:pt x="505721" y="245078"/>
                      <a:pt x="505168" y="244539"/>
                    </a:cubicBezTo>
                    <a:cubicBezTo>
                      <a:pt x="502955" y="242380"/>
                      <a:pt x="502402" y="239141"/>
                      <a:pt x="499637" y="237522"/>
                    </a:cubicBezTo>
                    <a:cubicBezTo>
                      <a:pt x="496318" y="236443"/>
                      <a:pt x="491894" y="241840"/>
                      <a:pt x="489128" y="242380"/>
                    </a:cubicBezTo>
                    <a:cubicBezTo>
                      <a:pt x="487469" y="242920"/>
                      <a:pt x="482491" y="242920"/>
                      <a:pt x="481385" y="241840"/>
                    </a:cubicBezTo>
                    <a:cubicBezTo>
                      <a:pt x="479725" y="240761"/>
                      <a:pt x="479172" y="233205"/>
                      <a:pt x="479725" y="231585"/>
                    </a:cubicBezTo>
                    <a:cubicBezTo>
                      <a:pt x="480279" y="230506"/>
                      <a:pt x="482491" y="228887"/>
                      <a:pt x="483044" y="228347"/>
                    </a:cubicBezTo>
                    <a:cubicBezTo>
                      <a:pt x="485256" y="227807"/>
                      <a:pt x="490787" y="225109"/>
                      <a:pt x="492447" y="225109"/>
                    </a:cubicBezTo>
                    <a:cubicBezTo>
                      <a:pt x="495765" y="225109"/>
                      <a:pt x="498531" y="227268"/>
                      <a:pt x="501296" y="227268"/>
                    </a:cubicBezTo>
                    <a:cubicBezTo>
                      <a:pt x="505721" y="227268"/>
                      <a:pt x="504615" y="221331"/>
                      <a:pt x="506274" y="219172"/>
                    </a:cubicBezTo>
                    <a:cubicBezTo>
                      <a:pt x="507380" y="217013"/>
                      <a:pt x="511252" y="214314"/>
                      <a:pt x="513464" y="215394"/>
                    </a:cubicBezTo>
                    <a:cubicBezTo>
                      <a:pt x="514017" y="215933"/>
                      <a:pt x="515123" y="218092"/>
                      <a:pt x="515123" y="219172"/>
                    </a:cubicBezTo>
                    <a:cubicBezTo>
                      <a:pt x="515123" y="223489"/>
                      <a:pt x="506827" y="231585"/>
                      <a:pt x="508486" y="236443"/>
                    </a:cubicBezTo>
                    <a:cubicBezTo>
                      <a:pt x="508486" y="237522"/>
                      <a:pt x="511252" y="239681"/>
                      <a:pt x="512358" y="240761"/>
                    </a:cubicBezTo>
                    <a:close/>
                    <a:moveTo>
                      <a:pt x="600300" y="563515"/>
                    </a:moveTo>
                    <a:cubicBezTo>
                      <a:pt x="600300" y="565674"/>
                      <a:pt x="599746" y="574849"/>
                      <a:pt x="599193" y="576469"/>
                    </a:cubicBezTo>
                    <a:cubicBezTo>
                      <a:pt x="598640" y="577548"/>
                      <a:pt x="595875" y="578627"/>
                      <a:pt x="594769" y="579167"/>
                    </a:cubicBezTo>
                    <a:lnTo>
                      <a:pt x="593109" y="579167"/>
                    </a:lnTo>
                    <a:cubicBezTo>
                      <a:pt x="592003" y="578627"/>
                      <a:pt x="587578" y="574310"/>
                      <a:pt x="586472" y="573770"/>
                    </a:cubicBezTo>
                    <a:cubicBezTo>
                      <a:pt x="585366" y="571611"/>
                      <a:pt x="583154" y="564595"/>
                      <a:pt x="582601" y="561896"/>
                    </a:cubicBezTo>
                    <a:cubicBezTo>
                      <a:pt x="581494" y="559197"/>
                      <a:pt x="582048" y="550562"/>
                      <a:pt x="585366" y="548403"/>
                    </a:cubicBezTo>
                    <a:cubicBezTo>
                      <a:pt x="587025" y="547323"/>
                      <a:pt x="596981" y="546244"/>
                      <a:pt x="598640" y="548943"/>
                    </a:cubicBezTo>
                    <a:cubicBezTo>
                      <a:pt x="599193" y="551102"/>
                      <a:pt x="599746" y="560817"/>
                      <a:pt x="600300" y="563515"/>
                    </a:cubicBezTo>
                    <a:close/>
                    <a:moveTo>
                      <a:pt x="447646" y="777246"/>
                    </a:moveTo>
                    <a:cubicBezTo>
                      <a:pt x="448199" y="776166"/>
                      <a:pt x="448752" y="776166"/>
                      <a:pt x="449859" y="776166"/>
                    </a:cubicBezTo>
                    <a:cubicBezTo>
                      <a:pt x="450965" y="777246"/>
                      <a:pt x="451518" y="778325"/>
                      <a:pt x="452071" y="778865"/>
                    </a:cubicBezTo>
                    <a:cubicBezTo>
                      <a:pt x="453730" y="779405"/>
                      <a:pt x="457602" y="779944"/>
                      <a:pt x="458708" y="778325"/>
                    </a:cubicBezTo>
                    <a:cubicBezTo>
                      <a:pt x="458708" y="777785"/>
                      <a:pt x="457049" y="764832"/>
                      <a:pt x="461473" y="762673"/>
                    </a:cubicBezTo>
                    <a:cubicBezTo>
                      <a:pt x="464792" y="761594"/>
                      <a:pt x="467004" y="771309"/>
                      <a:pt x="469217" y="772928"/>
                    </a:cubicBezTo>
                    <a:cubicBezTo>
                      <a:pt x="471429" y="774547"/>
                      <a:pt x="479172" y="775626"/>
                      <a:pt x="481938" y="775626"/>
                    </a:cubicBezTo>
                    <a:cubicBezTo>
                      <a:pt x="484150" y="775626"/>
                      <a:pt x="490234" y="774547"/>
                      <a:pt x="490787" y="775087"/>
                    </a:cubicBezTo>
                    <a:cubicBezTo>
                      <a:pt x="494659" y="775626"/>
                      <a:pt x="498531" y="777785"/>
                      <a:pt x="502402" y="778865"/>
                    </a:cubicBezTo>
                    <a:cubicBezTo>
                      <a:pt x="505721" y="779405"/>
                      <a:pt x="510146" y="778325"/>
                      <a:pt x="513464" y="778865"/>
                    </a:cubicBezTo>
                    <a:cubicBezTo>
                      <a:pt x="516783" y="781024"/>
                      <a:pt x="515676" y="784262"/>
                      <a:pt x="517889" y="786421"/>
                    </a:cubicBezTo>
                    <a:cubicBezTo>
                      <a:pt x="518995" y="787500"/>
                      <a:pt x="523973" y="789120"/>
                      <a:pt x="525079" y="788580"/>
                    </a:cubicBezTo>
                    <a:cubicBezTo>
                      <a:pt x="532822" y="786961"/>
                      <a:pt x="541119" y="780484"/>
                      <a:pt x="548862" y="777785"/>
                    </a:cubicBezTo>
                    <a:cubicBezTo>
                      <a:pt x="557158" y="774547"/>
                      <a:pt x="566008" y="771309"/>
                      <a:pt x="574857" y="769150"/>
                    </a:cubicBezTo>
                    <a:cubicBezTo>
                      <a:pt x="576517" y="768610"/>
                      <a:pt x="585919" y="768070"/>
                      <a:pt x="587578" y="768610"/>
                    </a:cubicBezTo>
                    <a:cubicBezTo>
                      <a:pt x="589791" y="769150"/>
                      <a:pt x="588685" y="775087"/>
                      <a:pt x="599193" y="774007"/>
                    </a:cubicBezTo>
                    <a:cubicBezTo>
                      <a:pt x="605277" y="773468"/>
                      <a:pt x="611914" y="770229"/>
                      <a:pt x="617999" y="769689"/>
                    </a:cubicBezTo>
                    <a:cubicBezTo>
                      <a:pt x="622976" y="769150"/>
                      <a:pt x="629613" y="771309"/>
                      <a:pt x="634038" y="770229"/>
                    </a:cubicBezTo>
                    <a:cubicBezTo>
                      <a:pt x="635144" y="769689"/>
                      <a:pt x="643441" y="763213"/>
                      <a:pt x="646206" y="762133"/>
                    </a:cubicBezTo>
                    <a:cubicBezTo>
                      <a:pt x="647312" y="761594"/>
                      <a:pt x="652843" y="760514"/>
                      <a:pt x="653949" y="760514"/>
                    </a:cubicBezTo>
                    <a:cubicBezTo>
                      <a:pt x="655609" y="761054"/>
                      <a:pt x="657268" y="761054"/>
                      <a:pt x="657821" y="762673"/>
                    </a:cubicBezTo>
                    <a:cubicBezTo>
                      <a:pt x="660034" y="766991"/>
                      <a:pt x="657821" y="778325"/>
                      <a:pt x="662799" y="782643"/>
                    </a:cubicBezTo>
                    <a:cubicBezTo>
                      <a:pt x="663352" y="783183"/>
                      <a:pt x="667224" y="784802"/>
                      <a:pt x="667777" y="784262"/>
                    </a:cubicBezTo>
                    <a:cubicBezTo>
                      <a:pt x="671648" y="782103"/>
                      <a:pt x="674414" y="770229"/>
                      <a:pt x="681604" y="767531"/>
                    </a:cubicBezTo>
                    <a:cubicBezTo>
                      <a:pt x="687135" y="765911"/>
                      <a:pt x="698750" y="767531"/>
                      <a:pt x="705940" y="764292"/>
                    </a:cubicBezTo>
                    <a:cubicBezTo>
                      <a:pt x="717555" y="758355"/>
                      <a:pt x="705940" y="754038"/>
                      <a:pt x="713683" y="750259"/>
                    </a:cubicBezTo>
                    <a:cubicBezTo>
                      <a:pt x="714237" y="750259"/>
                      <a:pt x="716449" y="749180"/>
                      <a:pt x="717555" y="749180"/>
                    </a:cubicBezTo>
                    <a:cubicBezTo>
                      <a:pt x="718108" y="749720"/>
                      <a:pt x="720321" y="751339"/>
                      <a:pt x="720874" y="751879"/>
                    </a:cubicBezTo>
                    <a:cubicBezTo>
                      <a:pt x="721427" y="753498"/>
                      <a:pt x="720321" y="759435"/>
                      <a:pt x="720321" y="761054"/>
                    </a:cubicBezTo>
                    <a:cubicBezTo>
                      <a:pt x="719767" y="763753"/>
                      <a:pt x="719214" y="766451"/>
                      <a:pt x="719214" y="769150"/>
                    </a:cubicBezTo>
                    <a:cubicBezTo>
                      <a:pt x="719214" y="772928"/>
                      <a:pt x="719767" y="784802"/>
                      <a:pt x="718661" y="787500"/>
                    </a:cubicBezTo>
                    <a:cubicBezTo>
                      <a:pt x="717555" y="790739"/>
                      <a:pt x="710365" y="791278"/>
                      <a:pt x="707599" y="789659"/>
                    </a:cubicBezTo>
                    <a:cubicBezTo>
                      <a:pt x="705387" y="788580"/>
                      <a:pt x="704281" y="783722"/>
                      <a:pt x="700962" y="784802"/>
                    </a:cubicBezTo>
                    <a:cubicBezTo>
                      <a:pt x="699856" y="785341"/>
                      <a:pt x="695984" y="790199"/>
                      <a:pt x="694325" y="791278"/>
                    </a:cubicBezTo>
                    <a:cubicBezTo>
                      <a:pt x="690454" y="794517"/>
                      <a:pt x="684923" y="793437"/>
                      <a:pt x="679945" y="794517"/>
                    </a:cubicBezTo>
                    <a:cubicBezTo>
                      <a:pt x="677179" y="795056"/>
                      <a:pt x="674414" y="796676"/>
                      <a:pt x="671648" y="797755"/>
                    </a:cubicBezTo>
                    <a:cubicBezTo>
                      <a:pt x="662799" y="800454"/>
                      <a:pt x="653396" y="802073"/>
                      <a:pt x="644547" y="805311"/>
                    </a:cubicBezTo>
                    <a:cubicBezTo>
                      <a:pt x="641228" y="805851"/>
                      <a:pt x="638463" y="807470"/>
                      <a:pt x="635144" y="808550"/>
                    </a:cubicBezTo>
                    <a:cubicBezTo>
                      <a:pt x="627954" y="811248"/>
                      <a:pt x="620764" y="812867"/>
                      <a:pt x="613574" y="816106"/>
                    </a:cubicBezTo>
                    <a:cubicBezTo>
                      <a:pt x="606384" y="820423"/>
                      <a:pt x="589238" y="827980"/>
                      <a:pt x="580941" y="827440"/>
                    </a:cubicBezTo>
                    <a:cubicBezTo>
                      <a:pt x="569880" y="827440"/>
                      <a:pt x="574857" y="824202"/>
                      <a:pt x="571539" y="817185"/>
                    </a:cubicBezTo>
                    <a:cubicBezTo>
                      <a:pt x="570986" y="816106"/>
                      <a:pt x="568773" y="812867"/>
                      <a:pt x="567114" y="811788"/>
                    </a:cubicBezTo>
                    <a:cubicBezTo>
                      <a:pt x="565455" y="811248"/>
                      <a:pt x="558818" y="811788"/>
                      <a:pt x="556605" y="811248"/>
                    </a:cubicBezTo>
                    <a:cubicBezTo>
                      <a:pt x="547203" y="810169"/>
                      <a:pt x="537800" y="806391"/>
                      <a:pt x="528398" y="805851"/>
                    </a:cubicBezTo>
                    <a:cubicBezTo>
                      <a:pt x="521760" y="805851"/>
                      <a:pt x="515123" y="809089"/>
                      <a:pt x="508486" y="809629"/>
                    </a:cubicBezTo>
                    <a:cubicBezTo>
                      <a:pt x="498531" y="810169"/>
                      <a:pt x="488575" y="808550"/>
                      <a:pt x="478619" y="809629"/>
                    </a:cubicBezTo>
                    <a:cubicBezTo>
                      <a:pt x="468111" y="810708"/>
                      <a:pt x="459814" y="817185"/>
                      <a:pt x="449305" y="813407"/>
                    </a:cubicBezTo>
                    <a:cubicBezTo>
                      <a:pt x="448752" y="812867"/>
                      <a:pt x="447646" y="812328"/>
                      <a:pt x="447093" y="811788"/>
                    </a:cubicBezTo>
                    <a:cubicBezTo>
                      <a:pt x="441562" y="804232"/>
                      <a:pt x="444328" y="786421"/>
                      <a:pt x="447646" y="777246"/>
                    </a:cubicBezTo>
                    <a:close/>
                    <a:moveTo>
                      <a:pt x="12916" y="340070"/>
                    </a:moveTo>
                    <a:cubicBezTo>
                      <a:pt x="13469" y="338990"/>
                      <a:pt x="15681" y="339530"/>
                      <a:pt x="16787" y="340070"/>
                    </a:cubicBezTo>
                    <a:cubicBezTo>
                      <a:pt x="19000" y="341149"/>
                      <a:pt x="17341" y="349785"/>
                      <a:pt x="17894" y="351944"/>
                    </a:cubicBezTo>
                    <a:cubicBezTo>
                      <a:pt x="19000" y="355182"/>
                      <a:pt x="21212" y="358420"/>
                      <a:pt x="22871" y="361659"/>
                    </a:cubicBezTo>
                    <a:cubicBezTo>
                      <a:pt x="23978" y="364357"/>
                      <a:pt x="24531" y="367056"/>
                      <a:pt x="25084" y="369215"/>
                    </a:cubicBezTo>
                    <a:cubicBezTo>
                      <a:pt x="25637" y="370834"/>
                      <a:pt x="27296" y="374072"/>
                      <a:pt x="28402" y="375152"/>
                    </a:cubicBezTo>
                    <a:cubicBezTo>
                      <a:pt x="31721" y="378930"/>
                      <a:pt x="46101" y="382168"/>
                      <a:pt x="44995" y="387565"/>
                    </a:cubicBezTo>
                    <a:cubicBezTo>
                      <a:pt x="44442" y="391343"/>
                      <a:pt x="28955" y="385406"/>
                      <a:pt x="26743" y="384327"/>
                    </a:cubicBezTo>
                    <a:cubicBezTo>
                      <a:pt x="20659" y="380009"/>
                      <a:pt x="18447" y="370834"/>
                      <a:pt x="13469" y="365437"/>
                    </a:cubicBezTo>
                    <a:cubicBezTo>
                      <a:pt x="10150" y="362738"/>
                      <a:pt x="1301" y="357881"/>
                      <a:pt x="-358" y="355182"/>
                    </a:cubicBezTo>
                    <a:cubicBezTo>
                      <a:pt x="-1465" y="354103"/>
                      <a:pt x="-358" y="349785"/>
                      <a:pt x="-358" y="348166"/>
                    </a:cubicBezTo>
                    <a:cubicBezTo>
                      <a:pt x="1301" y="344388"/>
                      <a:pt x="10150" y="343848"/>
                      <a:pt x="12916" y="340070"/>
                    </a:cubicBezTo>
                    <a:close/>
                    <a:moveTo>
                      <a:pt x="93667" y="524655"/>
                    </a:moveTo>
                    <a:cubicBezTo>
                      <a:pt x="92561" y="524655"/>
                      <a:pt x="90902" y="524115"/>
                      <a:pt x="90349" y="523576"/>
                    </a:cubicBezTo>
                    <a:cubicBezTo>
                      <a:pt x="87583" y="520337"/>
                      <a:pt x="88136" y="505225"/>
                      <a:pt x="90902" y="504146"/>
                    </a:cubicBezTo>
                    <a:cubicBezTo>
                      <a:pt x="92561" y="503606"/>
                      <a:pt x="99198" y="505765"/>
                      <a:pt x="100857" y="505225"/>
                    </a:cubicBezTo>
                    <a:cubicBezTo>
                      <a:pt x="101411" y="505225"/>
                      <a:pt x="102517" y="503066"/>
                      <a:pt x="102517" y="501987"/>
                    </a:cubicBezTo>
                    <a:cubicBezTo>
                      <a:pt x="103070" y="501447"/>
                      <a:pt x="103070" y="499828"/>
                      <a:pt x="103070" y="498748"/>
                    </a:cubicBezTo>
                    <a:cubicBezTo>
                      <a:pt x="103623" y="497129"/>
                      <a:pt x="101964" y="490653"/>
                      <a:pt x="105835" y="491732"/>
                    </a:cubicBezTo>
                    <a:cubicBezTo>
                      <a:pt x="108601" y="492272"/>
                      <a:pt x="109707" y="498209"/>
                      <a:pt x="110260" y="500368"/>
                    </a:cubicBezTo>
                    <a:cubicBezTo>
                      <a:pt x="110813" y="501987"/>
                      <a:pt x="115791" y="509003"/>
                      <a:pt x="116897" y="510083"/>
                    </a:cubicBezTo>
                    <a:cubicBezTo>
                      <a:pt x="122981" y="515480"/>
                      <a:pt x="130171" y="513861"/>
                      <a:pt x="131278" y="523576"/>
                    </a:cubicBezTo>
                    <a:cubicBezTo>
                      <a:pt x="131278" y="524655"/>
                      <a:pt x="130724" y="526814"/>
                      <a:pt x="130724" y="527893"/>
                    </a:cubicBezTo>
                    <a:cubicBezTo>
                      <a:pt x="128512" y="531672"/>
                      <a:pt x="123534" y="528973"/>
                      <a:pt x="120216" y="528973"/>
                    </a:cubicBezTo>
                    <a:cubicBezTo>
                      <a:pt x="117450" y="528973"/>
                      <a:pt x="106941" y="531132"/>
                      <a:pt x="104729" y="529513"/>
                    </a:cubicBezTo>
                    <a:cubicBezTo>
                      <a:pt x="103623" y="528433"/>
                      <a:pt x="101411" y="522496"/>
                      <a:pt x="100304" y="520337"/>
                    </a:cubicBezTo>
                    <a:lnTo>
                      <a:pt x="98645" y="519798"/>
                    </a:lnTo>
                    <a:cubicBezTo>
                      <a:pt x="96433" y="521417"/>
                      <a:pt x="96433" y="523576"/>
                      <a:pt x="93667" y="524655"/>
                    </a:cubicBezTo>
                    <a:close/>
                    <a:moveTo>
                      <a:pt x="129618" y="557039"/>
                    </a:moveTo>
                    <a:cubicBezTo>
                      <a:pt x="131278" y="558658"/>
                      <a:pt x="139021" y="559197"/>
                      <a:pt x="141786" y="560277"/>
                    </a:cubicBezTo>
                    <a:cubicBezTo>
                      <a:pt x="143446" y="560817"/>
                      <a:pt x="152848" y="565674"/>
                      <a:pt x="153401" y="566214"/>
                    </a:cubicBezTo>
                    <a:cubicBezTo>
                      <a:pt x="155614" y="568912"/>
                      <a:pt x="147317" y="569992"/>
                      <a:pt x="146211" y="571071"/>
                    </a:cubicBezTo>
                    <a:cubicBezTo>
                      <a:pt x="143999" y="573230"/>
                      <a:pt x="143999" y="580247"/>
                      <a:pt x="139021" y="577548"/>
                    </a:cubicBezTo>
                    <a:cubicBezTo>
                      <a:pt x="137915" y="577008"/>
                      <a:pt x="135702" y="573770"/>
                      <a:pt x="134043" y="572151"/>
                    </a:cubicBezTo>
                    <a:cubicBezTo>
                      <a:pt x="129618" y="567833"/>
                      <a:pt x="124087" y="565674"/>
                      <a:pt x="121875" y="559197"/>
                    </a:cubicBezTo>
                    <a:cubicBezTo>
                      <a:pt x="121322" y="557039"/>
                      <a:pt x="121322" y="552721"/>
                      <a:pt x="123534" y="551641"/>
                    </a:cubicBezTo>
                    <a:lnTo>
                      <a:pt x="126300" y="551641"/>
                    </a:lnTo>
                    <a:cubicBezTo>
                      <a:pt x="126853" y="552181"/>
                      <a:pt x="127959" y="556499"/>
                      <a:pt x="129618" y="557039"/>
                    </a:cubicBezTo>
                    <a:close/>
                    <a:moveTo>
                      <a:pt x="131278" y="410773"/>
                    </a:moveTo>
                    <a:cubicBezTo>
                      <a:pt x="127406" y="409694"/>
                      <a:pt x="118003" y="406995"/>
                      <a:pt x="114685" y="410234"/>
                    </a:cubicBezTo>
                    <a:cubicBezTo>
                      <a:pt x="113025" y="411853"/>
                      <a:pt x="112472" y="415091"/>
                      <a:pt x="110813" y="416710"/>
                    </a:cubicBezTo>
                    <a:lnTo>
                      <a:pt x="108048" y="417250"/>
                    </a:lnTo>
                    <a:cubicBezTo>
                      <a:pt x="104729" y="414552"/>
                      <a:pt x="105282" y="411853"/>
                      <a:pt x="100304" y="408615"/>
                    </a:cubicBezTo>
                    <a:cubicBezTo>
                      <a:pt x="95880" y="406456"/>
                      <a:pt x="87583" y="404297"/>
                      <a:pt x="85371" y="399979"/>
                    </a:cubicBezTo>
                    <a:cubicBezTo>
                      <a:pt x="84265" y="398360"/>
                      <a:pt x="84265" y="394042"/>
                      <a:pt x="83158" y="393502"/>
                    </a:cubicBezTo>
                    <a:cubicBezTo>
                      <a:pt x="80393" y="391883"/>
                      <a:pt x="70437" y="392423"/>
                      <a:pt x="67672" y="390804"/>
                    </a:cubicBezTo>
                    <a:cubicBezTo>
                      <a:pt x="65460" y="390264"/>
                      <a:pt x="60482" y="385406"/>
                      <a:pt x="59376" y="383787"/>
                    </a:cubicBezTo>
                    <a:cubicBezTo>
                      <a:pt x="57163" y="379470"/>
                      <a:pt x="57716" y="373533"/>
                      <a:pt x="53845" y="370294"/>
                    </a:cubicBezTo>
                    <a:cubicBezTo>
                      <a:pt x="52185" y="368675"/>
                      <a:pt x="47208" y="367596"/>
                      <a:pt x="46101" y="365976"/>
                    </a:cubicBezTo>
                    <a:cubicBezTo>
                      <a:pt x="45548" y="364897"/>
                      <a:pt x="46101" y="360039"/>
                      <a:pt x="46101" y="358420"/>
                    </a:cubicBezTo>
                    <a:lnTo>
                      <a:pt x="64353" y="329275"/>
                    </a:lnTo>
                    <a:lnTo>
                      <a:pt x="59929" y="317401"/>
                    </a:lnTo>
                    <a:lnTo>
                      <a:pt x="59929" y="309845"/>
                    </a:lnTo>
                    <a:lnTo>
                      <a:pt x="66566" y="301210"/>
                    </a:lnTo>
                    <a:lnTo>
                      <a:pt x="84818" y="294733"/>
                    </a:lnTo>
                    <a:lnTo>
                      <a:pt x="88689" y="273684"/>
                    </a:lnTo>
                    <a:lnTo>
                      <a:pt x="97539" y="262350"/>
                    </a:lnTo>
                    <a:lnTo>
                      <a:pt x="106388" y="238062"/>
                    </a:lnTo>
                    <a:lnTo>
                      <a:pt x="98645" y="223489"/>
                    </a:lnTo>
                    <a:lnTo>
                      <a:pt x="96986" y="215933"/>
                    </a:lnTo>
                    <a:lnTo>
                      <a:pt x="98092" y="202980"/>
                    </a:lnTo>
                    <a:lnTo>
                      <a:pt x="130724" y="191646"/>
                    </a:lnTo>
                    <a:lnTo>
                      <a:pt x="148976" y="191106"/>
                    </a:lnTo>
                    <a:lnTo>
                      <a:pt x="165016" y="181391"/>
                    </a:lnTo>
                    <a:lnTo>
                      <a:pt x="184374" y="151167"/>
                    </a:lnTo>
                    <a:lnTo>
                      <a:pt x="217007" y="150087"/>
                    </a:lnTo>
                    <a:lnTo>
                      <a:pt x="246874" y="136594"/>
                    </a:lnTo>
                    <a:lnTo>
                      <a:pt x="247427" y="120402"/>
                    </a:lnTo>
                    <a:lnTo>
                      <a:pt x="266785" y="115005"/>
                    </a:lnTo>
                    <a:lnTo>
                      <a:pt x="275635" y="113386"/>
                    </a:lnTo>
                    <a:lnTo>
                      <a:pt x="297758" y="99353"/>
                    </a:lnTo>
                    <a:lnTo>
                      <a:pt x="317116" y="97734"/>
                    </a:lnTo>
                    <a:lnTo>
                      <a:pt x="324307" y="93956"/>
                    </a:lnTo>
                    <a:lnTo>
                      <a:pt x="354727" y="77764"/>
                    </a:lnTo>
                    <a:lnTo>
                      <a:pt x="371873" y="61033"/>
                    </a:lnTo>
                    <a:lnTo>
                      <a:pt x="384041" y="64811"/>
                    </a:lnTo>
                    <a:lnTo>
                      <a:pt x="394549" y="58334"/>
                    </a:lnTo>
                    <a:lnTo>
                      <a:pt x="403952" y="69668"/>
                    </a:lnTo>
                    <a:lnTo>
                      <a:pt x="422757" y="73986"/>
                    </a:lnTo>
                    <a:lnTo>
                      <a:pt x="435478" y="68049"/>
                    </a:lnTo>
                    <a:lnTo>
                      <a:pt x="471982" y="78304"/>
                    </a:lnTo>
                    <a:lnTo>
                      <a:pt x="511805" y="58334"/>
                    </a:lnTo>
                    <a:lnTo>
                      <a:pt x="519548" y="58334"/>
                    </a:lnTo>
                    <a:lnTo>
                      <a:pt x="531163" y="47540"/>
                    </a:lnTo>
                    <a:lnTo>
                      <a:pt x="537800" y="29189"/>
                    </a:lnTo>
                    <a:lnTo>
                      <a:pt x="529504" y="12997"/>
                    </a:lnTo>
                    <a:lnTo>
                      <a:pt x="530057" y="7060"/>
                    </a:lnTo>
                    <a:lnTo>
                      <a:pt x="546650" y="-496"/>
                    </a:lnTo>
                    <a:cubicBezTo>
                      <a:pt x="566561" y="7600"/>
                      <a:pt x="572645" y="1123"/>
                      <a:pt x="572645" y="27570"/>
                    </a:cubicBezTo>
                    <a:cubicBezTo>
                      <a:pt x="572645" y="29729"/>
                      <a:pt x="572645" y="32427"/>
                      <a:pt x="571539" y="34586"/>
                    </a:cubicBezTo>
                    <a:cubicBezTo>
                      <a:pt x="569880" y="37825"/>
                      <a:pt x="558265" y="41603"/>
                      <a:pt x="556052" y="45921"/>
                    </a:cubicBezTo>
                    <a:cubicBezTo>
                      <a:pt x="551074" y="57794"/>
                      <a:pt x="562136" y="75605"/>
                      <a:pt x="562136" y="84241"/>
                    </a:cubicBezTo>
                    <a:cubicBezTo>
                      <a:pt x="562136" y="87479"/>
                      <a:pt x="551074" y="109068"/>
                      <a:pt x="548862" y="113926"/>
                    </a:cubicBezTo>
                    <a:cubicBezTo>
                      <a:pt x="548309" y="112306"/>
                      <a:pt x="546097" y="108528"/>
                      <a:pt x="544990" y="107989"/>
                    </a:cubicBezTo>
                    <a:cubicBezTo>
                      <a:pt x="542778" y="107449"/>
                      <a:pt x="533375" y="106370"/>
                      <a:pt x="530610" y="106370"/>
                    </a:cubicBezTo>
                    <a:cubicBezTo>
                      <a:pt x="523973" y="107449"/>
                      <a:pt x="517336" y="111767"/>
                      <a:pt x="510146" y="113386"/>
                    </a:cubicBezTo>
                    <a:cubicBezTo>
                      <a:pt x="501296" y="115545"/>
                      <a:pt x="491340" y="111227"/>
                      <a:pt x="482491" y="111227"/>
                    </a:cubicBezTo>
                    <a:cubicBezTo>
                      <a:pt x="478619" y="111227"/>
                      <a:pt x="475301" y="113386"/>
                      <a:pt x="471429" y="113926"/>
                    </a:cubicBezTo>
                    <a:cubicBezTo>
                      <a:pt x="462580" y="113926"/>
                      <a:pt x="463686" y="109608"/>
                      <a:pt x="462027" y="108528"/>
                    </a:cubicBezTo>
                    <a:cubicBezTo>
                      <a:pt x="461473" y="107989"/>
                      <a:pt x="459261" y="107989"/>
                      <a:pt x="458708" y="107989"/>
                    </a:cubicBezTo>
                    <a:cubicBezTo>
                      <a:pt x="451518" y="110148"/>
                      <a:pt x="450412" y="117164"/>
                      <a:pt x="445987" y="121482"/>
                    </a:cubicBezTo>
                    <a:cubicBezTo>
                      <a:pt x="443775" y="123641"/>
                      <a:pt x="427735" y="135515"/>
                      <a:pt x="425522" y="135515"/>
                    </a:cubicBezTo>
                    <a:cubicBezTo>
                      <a:pt x="424416" y="136054"/>
                      <a:pt x="421098" y="134975"/>
                      <a:pt x="419992" y="134975"/>
                    </a:cubicBezTo>
                    <a:cubicBezTo>
                      <a:pt x="411695" y="132276"/>
                      <a:pt x="419992" y="124180"/>
                      <a:pt x="404505" y="127419"/>
                    </a:cubicBezTo>
                    <a:cubicBezTo>
                      <a:pt x="403399" y="127958"/>
                      <a:pt x="402293" y="128498"/>
                      <a:pt x="401740" y="129038"/>
                    </a:cubicBezTo>
                    <a:cubicBezTo>
                      <a:pt x="400080" y="130117"/>
                      <a:pt x="395102" y="133356"/>
                      <a:pt x="394549" y="134975"/>
                    </a:cubicBezTo>
                    <a:cubicBezTo>
                      <a:pt x="393443" y="137134"/>
                      <a:pt x="393996" y="142531"/>
                      <a:pt x="393443" y="145230"/>
                    </a:cubicBezTo>
                    <a:cubicBezTo>
                      <a:pt x="391784" y="150627"/>
                      <a:pt x="380722" y="160342"/>
                      <a:pt x="375191" y="161421"/>
                    </a:cubicBezTo>
                    <a:cubicBezTo>
                      <a:pt x="372426" y="162501"/>
                      <a:pt x="363576" y="160882"/>
                      <a:pt x="360811" y="160342"/>
                    </a:cubicBezTo>
                    <a:cubicBezTo>
                      <a:pt x="358045" y="159802"/>
                      <a:pt x="355280" y="159262"/>
                      <a:pt x="352514" y="159262"/>
                    </a:cubicBezTo>
                    <a:cubicBezTo>
                      <a:pt x="347536" y="158723"/>
                      <a:pt x="339240" y="164660"/>
                      <a:pt x="342006" y="170597"/>
                    </a:cubicBezTo>
                    <a:cubicBezTo>
                      <a:pt x="344218" y="176534"/>
                      <a:pt x="359705" y="177073"/>
                      <a:pt x="361364" y="184090"/>
                    </a:cubicBezTo>
                    <a:cubicBezTo>
                      <a:pt x="363023" y="188407"/>
                      <a:pt x="357492" y="190566"/>
                      <a:pt x="361917" y="195964"/>
                    </a:cubicBezTo>
                    <a:cubicBezTo>
                      <a:pt x="363023" y="197043"/>
                      <a:pt x="364129" y="199202"/>
                      <a:pt x="365789" y="200281"/>
                    </a:cubicBezTo>
                    <a:cubicBezTo>
                      <a:pt x="370766" y="204059"/>
                      <a:pt x="390678" y="194884"/>
                      <a:pt x="403952" y="207838"/>
                    </a:cubicBezTo>
                    <a:cubicBezTo>
                      <a:pt x="407824" y="211616"/>
                      <a:pt x="411695" y="216473"/>
                      <a:pt x="415014" y="220791"/>
                    </a:cubicBezTo>
                    <a:lnTo>
                      <a:pt x="415014" y="223489"/>
                    </a:lnTo>
                    <a:cubicBezTo>
                      <a:pt x="412801" y="225109"/>
                      <a:pt x="406717" y="224029"/>
                      <a:pt x="405058" y="222410"/>
                    </a:cubicBezTo>
                    <a:cubicBezTo>
                      <a:pt x="402846" y="220251"/>
                      <a:pt x="401186" y="214854"/>
                      <a:pt x="398974" y="213774"/>
                    </a:cubicBezTo>
                    <a:cubicBezTo>
                      <a:pt x="395102" y="211616"/>
                      <a:pt x="382381" y="208377"/>
                      <a:pt x="377403" y="207298"/>
                    </a:cubicBezTo>
                    <a:cubicBezTo>
                      <a:pt x="375191" y="206758"/>
                      <a:pt x="368554" y="205679"/>
                      <a:pt x="366895" y="205679"/>
                    </a:cubicBezTo>
                    <a:cubicBezTo>
                      <a:pt x="361364" y="206218"/>
                      <a:pt x="354174" y="211616"/>
                      <a:pt x="353067" y="216473"/>
                    </a:cubicBezTo>
                    <a:cubicBezTo>
                      <a:pt x="351961" y="219172"/>
                      <a:pt x="353067" y="220251"/>
                      <a:pt x="354727" y="221870"/>
                    </a:cubicBezTo>
                    <a:cubicBezTo>
                      <a:pt x="367448" y="234284"/>
                      <a:pt x="380722" y="225648"/>
                      <a:pt x="384594" y="244539"/>
                    </a:cubicBezTo>
                    <a:cubicBezTo>
                      <a:pt x="385147" y="247237"/>
                      <a:pt x="385700" y="249936"/>
                      <a:pt x="384594" y="253174"/>
                    </a:cubicBezTo>
                    <a:cubicBezTo>
                      <a:pt x="377403" y="255333"/>
                      <a:pt x="368001" y="244539"/>
                      <a:pt x="363576" y="239141"/>
                    </a:cubicBezTo>
                    <a:cubicBezTo>
                      <a:pt x="361917" y="236983"/>
                      <a:pt x="358598" y="229966"/>
                      <a:pt x="356386" y="228887"/>
                    </a:cubicBezTo>
                    <a:cubicBezTo>
                      <a:pt x="354727" y="227807"/>
                      <a:pt x="352514" y="226728"/>
                      <a:pt x="350855" y="226188"/>
                    </a:cubicBezTo>
                    <a:cubicBezTo>
                      <a:pt x="346430" y="225109"/>
                      <a:pt x="340899" y="224029"/>
                      <a:pt x="336475" y="224029"/>
                    </a:cubicBezTo>
                    <a:cubicBezTo>
                      <a:pt x="321541" y="224029"/>
                      <a:pt x="319329" y="237522"/>
                      <a:pt x="329838" y="246158"/>
                    </a:cubicBezTo>
                    <a:cubicBezTo>
                      <a:pt x="332050" y="248317"/>
                      <a:pt x="335922" y="250476"/>
                      <a:pt x="339240" y="252095"/>
                    </a:cubicBezTo>
                    <a:cubicBezTo>
                      <a:pt x="343665" y="253714"/>
                      <a:pt x="364129" y="258032"/>
                      <a:pt x="364682" y="262350"/>
                    </a:cubicBezTo>
                    <a:cubicBezTo>
                      <a:pt x="364682" y="266128"/>
                      <a:pt x="355280" y="261270"/>
                      <a:pt x="354174" y="261270"/>
                    </a:cubicBezTo>
                    <a:cubicBezTo>
                      <a:pt x="349196" y="260730"/>
                      <a:pt x="343112" y="260730"/>
                      <a:pt x="338134" y="261270"/>
                    </a:cubicBezTo>
                    <a:cubicBezTo>
                      <a:pt x="336475" y="261810"/>
                      <a:pt x="334815" y="262889"/>
                      <a:pt x="333156" y="262350"/>
                    </a:cubicBezTo>
                    <a:cubicBezTo>
                      <a:pt x="327625" y="262350"/>
                      <a:pt x="322647" y="248856"/>
                      <a:pt x="320988" y="243999"/>
                    </a:cubicBezTo>
                    <a:cubicBezTo>
                      <a:pt x="320988" y="242920"/>
                      <a:pt x="320988" y="241300"/>
                      <a:pt x="320435" y="240221"/>
                    </a:cubicBezTo>
                    <a:lnTo>
                      <a:pt x="315457" y="233744"/>
                    </a:lnTo>
                    <a:cubicBezTo>
                      <a:pt x="312692" y="231046"/>
                      <a:pt x="308267" y="233744"/>
                      <a:pt x="304948" y="233205"/>
                    </a:cubicBezTo>
                    <a:cubicBezTo>
                      <a:pt x="296652" y="232665"/>
                      <a:pt x="296652" y="229426"/>
                      <a:pt x="291674" y="227268"/>
                    </a:cubicBezTo>
                    <a:cubicBezTo>
                      <a:pt x="287803" y="225648"/>
                      <a:pt x="282825" y="225648"/>
                      <a:pt x="278953" y="223489"/>
                    </a:cubicBezTo>
                    <a:cubicBezTo>
                      <a:pt x="277294" y="222950"/>
                      <a:pt x="273975" y="218632"/>
                      <a:pt x="273422" y="217013"/>
                    </a:cubicBezTo>
                    <a:cubicBezTo>
                      <a:pt x="270657" y="206758"/>
                      <a:pt x="289462" y="211616"/>
                      <a:pt x="278953" y="195424"/>
                    </a:cubicBezTo>
                    <a:cubicBezTo>
                      <a:pt x="277847" y="193265"/>
                      <a:pt x="277294" y="192725"/>
                      <a:pt x="274528" y="192725"/>
                    </a:cubicBezTo>
                    <a:cubicBezTo>
                      <a:pt x="267891" y="191646"/>
                      <a:pt x="267338" y="200281"/>
                      <a:pt x="264573" y="204059"/>
                    </a:cubicBezTo>
                    <a:cubicBezTo>
                      <a:pt x="264020" y="205139"/>
                      <a:pt x="255170" y="211616"/>
                      <a:pt x="254617" y="212155"/>
                    </a:cubicBezTo>
                    <a:cubicBezTo>
                      <a:pt x="253511" y="213235"/>
                      <a:pt x="251852" y="214314"/>
                      <a:pt x="251298" y="215933"/>
                    </a:cubicBezTo>
                    <a:cubicBezTo>
                      <a:pt x="249639" y="221331"/>
                      <a:pt x="252958" y="221870"/>
                      <a:pt x="252958" y="225109"/>
                    </a:cubicBezTo>
                    <a:cubicBezTo>
                      <a:pt x="254064" y="235363"/>
                      <a:pt x="252405" y="246158"/>
                      <a:pt x="252958" y="256413"/>
                    </a:cubicBezTo>
                    <a:cubicBezTo>
                      <a:pt x="254064" y="270985"/>
                      <a:pt x="264573" y="276382"/>
                      <a:pt x="275635" y="282859"/>
                    </a:cubicBezTo>
                    <a:cubicBezTo>
                      <a:pt x="280612" y="290955"/>
                      <a:pt x="285590" y="300130"/>
                      <a:pt x="291121" y="307686"/>
                    </a:cubicBezTo>
                    <a:cubicBezTo>
                      <a:pt x="301630" y="321719"/>
                      <a:pt x="317116" y="320640"/>
                      <a:pt x="327625" y="331434"/>
                    </a:cubicBezTo>
                    <a:cubicBezTo>
                      <a:pt x="333156" y="336831"/>
                      <a:pt x="334815" y="343848"/>
                      <a:pt x="338687" y="349785"/>
                    </a:cubicBezTo>
                    <a:cubicBezTo>
                      <a:pt x="339793" y="350864"/>
                      <a:pt x="340899" y="351404"/>
                      <a:pt x="341452" y="352483"/>
                    </a:cubicBezTo>
                    <a:cubicBezTo>
                      <a:pt x="342006" y="353563"/>
                      <a:pt x="343112" y="357881"/>
                      <a:pt x="342559" y="358960"/>
                    </a:cubicBezTo>
                    <a:cubicBezTo>
                      <a:pt x="341452" y="361119"/>
                      <a:pt x="328178" y="370834"/>
                      <a:pt x="326519" y="371374"/>
                    </a:cubicBezTo>
                    <a:cubicBezTo>
                      <a:pt x="325413" y="371913"/>
                      <a:pt x="322094" y="370834"/>
                      <a:pt x="321541" y="370294"/>
                    </a:cubicBezTo>
                    <a:cubicBezTo>
                      <a:pt x="319882" y="367596"/>
                      <a:pt x="329838" y="361119"/>
                      <a:pt x="330944" y="357341"/>
                    </a:cubicBezTo>
                    <a:cubicBezTo>
                      <a:pt x="331497" y="356261"/>
                      <a:pt x="331497" y="353563"/>
                      <a:pt x="330944" y="353023"/>
                    </a:cubicBezTo>
                    <a:cubicBezTo>
                      <a:pt x="329284" y="350864"/>
                      <a:pt x="318223" y="343308"/>
                      <a:pt x="316010" y="342768"/>
                    </a:cubicBezTo>
                    <a:cubicBezTo>
                      <a:pt x="312692" y="341689"/>
                      <a:pt x="308820" y="341689"/>
                      <a:pt x="306055" y="341689"/>
                    </a:cubicBezTo>
                    <a:lnTo>
                      <a:pt x="304395" y="342229"/>
                    </a:lnTo>
                    <a:cubicBezTo>
                      <a:pt x="303842" y="344388"/>
                      <a:pt x="304395" y="348166"/>
                      <a:pt x="303842" y="349785"/>
                    </a:cubicBezTo>
                    <a:cubicBezTo>
                      <a:pt x="303289" y="350864"/>
                      <a:pt x="299417" y="351944"/>
                      <a:pt x="298311" y="353563"/>
                    </a:cubicBezTo>
                    <a:cubicBezTo>
                      <a:pt x="297758" y="355182"/>
                      <a:pt x="297758" y="361119"/>
                      <a:pt x="298864" y="362738"/>
                    </a:cubicBezTo>
                    <a:cubicBezTo>
                      <a:pt x="300524" y="365976"/>
                      <a:pt x="308820" y="370294"/>
                      <a:pt x="311032" y="372993"/>
                    </a:cubicBezTo>
                    <a:cubicBezTo>
                      <a:pt x="312692" y="374612"/>
                      <a:pt x="313798" y="378930"/>
                      <a:pt x="314904" y="380009"/>
                    </a:cubicBezTo>
                    <a:cubicBezTo>
                      <a:pt x="316010" y="381089"/>
                      <a:pt x="319329" y="381089"/>
                      <a:pt x="320435" y="382168"/>
                    </a:cubicBezTo>
                    <a:cubicBezTo>
                      <a:pt x="319882" y="385406"/>
                      <a:pt x="316563" y="388105"/>
                      <a:pt x="314351" y="390264"/>
                    </a:cubicBezTo>
                    <a:cubicBezTo>
                      <a:pt x="311586" y="393502"/>
                      <a:pt x="297205" y="401058"/>
                      <a:pt x="293887" y="401598"/>
                    </a:cubicBezTo>
                    <a:lnTo>
                      <a:pt x="290568" y="401598"/>
                    </a:lnTo>
                    <a:cubicBezTo>
                      <a:pt x="289462" y="402138"/>
                      <a:pt x="282825" y="403757"/>
                      <a:pt x="282272" y="404837"/>
                    </a:cubicBezTo>
                    <a:cubicBezTo>
                      <a:pt x="282272" y="404837"/>
                      <a:pt x="280612" y="408615"/>
                      <a:pt x="281719" y="409154"/>
                    </a:cubicBezTo>
                    <a:cubicBezTo>
                      <a:pt x="283378" y="409694"/>
                      <a:pt x="291674" y="409154"/>
                      <a:pt x="296099" y="410234"/>
                    </a:cubicBezTo>
                    <a:cubicBezTo>
                      <a:pt x="299417" y="410773"/>
                      <a:pt x="304948" y="415091"/>
                      <a:pt x="308267" y="415091"/>
                    </a:cubicBezTo>
                    <a:cubicBezTo>
                      <a:pt x="314351" y="415631"/>
                      <a:pt x="319329" y="409154"/>
                      <a:pt x="325413" y="412393"/>
                    </a:cubicBezTo>
                    <a:cubicBezTo>
                      <a:pt x="329284" y="414552"/>
                      <a:pt x="329838" y="422647"/>
                      <a:pt x="332050" y="424267"/>
                    </a:cubicBezTo>
                    <a:cubicBezTo>
                      <a:pt x="332603" y="424806"/>
                      <a:pt x="335922" y="424806"/>
                      <a:pt x="337028" y="424267"/>
                    </a:cubicBezTo>
                    <a:cubicBezTo>
                      <a:pt x="339793" y="423727"/>
                      <a:pt x="342006" y="419409"/>
                      <a:pt x="344771" y="418330"/>
                    </a:cubicBezTo>
                    <a:cubicBezTo>
                      <a:pt x="345877" y="417790"/>
                      <a:pt x="352514" y="418869"/>
                      <a:pt x="353621" y="419409"/>
                    </a:cubicBezTo>
                    <a:cubicBezTo>
                      <a:pt x="356386" y="421028"/>
                      <a:pt x="352514" y="426965"/>
                      <a:pt x="353621" y="429124"/>
                    </a:cubicBezTo>
                    <a:cubicBezTo>
                      <a:pt x="354727" y="430743"/>
                      <a:pt x="360258" y="434521"/>
                      <a:pt x="361917" y="435601"/>
                    </a:cubicBezTo>
                    <a:cubicBezTo>
                      <a:pt x="369107" y="439379"/>
                      <a:pt x="374638" y="432902"/>
                      <a:pt x="380169" y="436140"/>
                    </a:cubicBezTo>
                    <a:cubicBezTo>
                      <a:pt x="381828" y="436680"/>
                      <a:pt x="383487" y="440998"/>
                      <a:pt x="385147" y="442617"/>
                    </a:cubicBezTo>
                    <a:cubicBezTo>
                      <a:pt x="387912" y="444776"/>
                      <a:pt x="391231" y="446395"/>
                      <a:pt x="393996" y="448014"/>
                    </a:cubicBezTo>
                    <a:cubicBezTo>
                      <a:pt x="403952" y="449634"/>
                      <a:pt x="417226" y="451253"/>
                      <a:pt x="426629" y="454491"/>
                    </a:cubicBezTo>
                    <a:cubicBezTo>
                      <a:pt x="429394" y="455571"/>
                      <a:pt x="431606" y="458809"/>
                      <a:pt x="432713" y="460968"/>
                    </a:cubicBezTo>
                    <a:cubicBezTo>
                      <a:pt x="431606" y="464206"/>
                      <a:pt x="427182" y="471222"/>
                      <a:pt x="427735" y="474461"/>
                    </a:cubicBezTo>
                    <a:cubicBezTo>
                      <a:pt x="428288" y="477699"/>
                      <a:pt x="434925" y="485795"/>
                      <a:pt x="436584" y="489573"/>
                    </a:cubicBezTo>
                    <a:cubicBezTo>
                      <a:pt x="438797" y="494431"/>
                      <a:pt x="446540" y="518178"/>
                      <a:pt x="438797" y="520337"/>
                    </a:cubicBezTo>
                    <a:cubicBezTo>
                      <a:pt x="438244" y="520877"/>
                      <a:pt x="435478" y="519798"/>
                      <a:pt x="434925" y="519258"/>
                    </a:cubicBezTo>
                    <a:cubicBezTo>
                      <a:pt x="433819" y="518718"/>
                      <a:pt x="433819" y="517099"/>
                      <a:pt x="433266" y="516020"/>
                    </a:cubicBezTo>
                    <a:cubicBezTo>
                      <a:pt x="432160" y="514400"/>
                      <a:pt x="426629" y="509543"/>
                      <a:pt x="424969" y="509003"/>
                    </a:cubicBezTo>
                    <a:cubicBezTo>
                      <a:pt x="421651" y="507384"/>
                      <a:pt x="413354" y="508463"/>
                      <a:pt x="410589" y="506844"/>
                    </a:cubicBezTo>
                    <a:cubicBezTo>
                      <a:pt x="407824" y="505225"/>
                      <a:pt x="405611" y="498209"/>
                      <a:pt x="402846" y="496050"/>
                    </a:cubicBezTo>
                    <a:cubicBezTo>
                      <a:pt x="401186" y="494431"/>
                      <a:pt x="395102" y="493351"/>
                      <a:pt x="393996" y="492272"/>
                    </a:cubicBezTo>
                    <a:cubicBezTo>
                      <a:pt x="392890" y="491192"/>
                      <a:pt x="392890" y="487414"/>
                      <a:pt x="391784" y="486874"/>
                    </a:cubicBezTo>
                    <a:cubicBezTo>
                      <a:pt x="386806" y="482557"/>
                      <a:pt x="359151" y="499828"/>
                      <a:pt x="353621" y="502526"/>
                    </a:cubicBezTo>
                    <a:cubicBezTo>
                      <a:pt x="351408" y="503606"/>
                      <a:pt x="348643" y="505225"/>
                      <a:pt x="347536" y="507384"/>
                    </a:cubicBezTo>
                    <a:cubicBezTo>
                      <a:pt x="346430" y="509003"/>
                      <a:pt x="343665" y="515480"/>
                      <a:pt x="344771" y="517099"/>
                    </a:cubicBezTo>
                    <a:cubicBezTo>
                      <a:pt x="345877" y="519258"/>
                      <a:pt x="354727" y="518718"/>
                      <a:pt x="356386" y="521417"/>
                    </a:cubicBezTo>
                    <a:cubicBezTo>
                      <a:pt x="357492" y="523036"/>
                      <a:pt x="358045" y="527354"/>
                      <a:pt x="359151" y="529513"/>
                    </a:cubicBezTo>
                    <a:cubicBezTo>
                      <a:pt x="360811" y="533291"/>
                      <a:pt x="368001" y="545165"/>
                      <a:pt x="370213" y="547323"/>
                    </a:cubicBezTo>
                    <a:cubicBezTo>
                      <a:pt x="371319" y="548403"/>
                      <a:pt x="376850" y="551102"/>
                      <a:pt x="377957" y="550562"/>
                    </a:cubicBezTo>
                    <a:cubicBezTo>
                      <a:pt x="378510" y="550562"/>
                      <a:pt x="381275" y="546244"/>
                      <a:pt x="380722" y="545704"/>
                    </a:cubicBezTo>
                    <a:cubicBezTo>
                      <a:pt x="380722" y="545165"/>
                      <a:pt x="376297" y="542466"/>
                      <a:pt x="377403" y="540307"/>
                    </a:cubicBezTo>
                    <a:cubicBezTo>
                      <a:pt x="377957" y="539228"/>
                      <a:pt x="381275" y="538148"/>
                      <a:pt x="382381" y="538148"/>
                    </a:cubicBezTo>
                    <a:cubicBezTo>
                      <a:pt x="387359" y="538688"/>
                      <a:pt x="385700" y="545165"/>
                      <a:pt x="387359" y="547863"/>
                    </a:cubicBezTo>
                    <a:cubicBezTo>
                      <a:pt x="388465" y="550022"/>
                      <a:pt x="397315" y="554880"/>
                      <a:pt x="397868" y="558118"/>
                    </a:cubicBezTo>
                    <a:cubicBezTo>
                      <a:pt x="397868" y="558658"/>
                      <a:pt x="396762" y="560817"/>
                      <a:pt x="395656" y="560817"/>
                    </a:cubicBezTo>
                    <a:cubicBezTo>
                      <a:pt x="395102" y="560817"/>
                      <a:pt x="393996" y="560277"/>
                      <a:pt x="393443" y="560277"/>
                    </a:cubicBezTo>
                    <a:cubicBezTo>
                      <a:pt x="389571" y="559737"/>
                      <a:pt x="379616" y="563515"/>
                      <a:pt x="376297" y="566214"/>
                    </a:cubicBezTo>
                    <a:cubicBezTo>
                      <a:pt x="372979" y="568373"/>
                      <a:pt x="375191" y="570532"/>
                      <a:pt x="374085" y="573770"/>
                    </a:cubicBezTo>
                    <a:cubicBezTo>
                      <a:pt x="373532" y="574310"/>
                      <a:pt x="370213" y="578627"/>
                      <a:pt x="369660" y="578627"/>
                    </a:cubicBezTo>
                    <a:cubicBezTo>
                      <a:pt x="366342" y="579707"/>
                      <a:pt x="361917" y="574310"/>
                      <a:pt x="361917" y="571611"/>
                    </a:cubicBezTo>
                    <a:cubicBezTo>
                      <a:pt x="361917" y="569992"/>
                      <a:pt x="364682" y="566214"/>
                      <a:pt x="363023" y="564595"/>
                    </a:cubicBezTo>
                    <a:cubicBezTo>
                      <a:pt x="361917" y="563515"/>
                      <a:pt x="333709" y="556499"/>
                      <a:pt x="330944" y="556499"/>
                    </a:cubicBezTo>
                    <a:cubicBezTo>
                      <a:pt x="329838" y="556499"/>
                      <a:pt x="325966" y="558118"/>
                      <a:pt x="325413" y="559197"/>
                    </a:cubicBezTo>
                    <a:cubicBezTo>
                      <a:pt x="324860" y="560277"/>
                      <a:pt x="324860" y="562975"/>
                      <a:pt x="324860" y="564055"/>
                    </a:cubicBezTo>
                    <a:cubicBezTo>
                      <a:pt x="326519" y="569452"/>
                      <a:pt x="333709" y="583485"/>
                      <a:pt x="336475" y="588882"/>
                    </a:cubicBezTo>
                    <a:cubicBezTo>
                      <a:pt x="339793" y="593740"/>
                      <a:pt x="344218" y="596978"/>
                      <a:pt x="347536" y="601296"/>
                    </a:cubicBezTo>
                    <a:cubicBezTo>
                      <a:pt x="348643" y="603455"/>
                      <a:pt x="349749" y="605614"/>
                      <a:pt x="351408" y="607773"/>
                    </a:cubicBezTo>
                    <a:cubicBezTo>
                      <a:pt x="351961" y="608852"/>
                      <a:pt x="353621" y="609931"/>
                      <a:pt x="354727" y="611011"/>
                    </a:cubicBezTo>
                    <a:cubicBezTo>
                      <a:pt x="358598" y="615329"/>
                      <a:pt x="363023" y="620186"/>
                      <a:pt x="365789" y="625583"/>
                    </a:cubicBezTo>
                    <a:cubicBezTo>
                      <a:pt x="367448" y="628822"/>
                      <a:pt x="366895" y="632600"/>
                      <a:pt x="368554" y="635838"/>
                    </a:cubicBezTo>
                    <a:cubicBezTo>
                      <a:pt x="369660" y="639076"/>
                      <a:pt x="372979" y="641775"/>
                      <a:pt x="374085" y="645013"/>
                    </a:cubicBezTo>
                    <a:cubicBezTo>
                      <a:pt x="375744" y="650950"/>
                      <a:pt x="374085" y="656887"/>
                      <a:pt x="375744" y="662824"/>
                    </a:cubicBezTo>
                    <a:cubicBezTo>
                      <a:pt x="377957" y="670920"/>
                      <a:pt x="389571" y="676857"/>
                      <a:pt x="389571" y="679016"/>
                    </a:cubicBezTo>
                    <a:cubicBezTo>
                      <a:pt x="390125" y="682254"/>
                      <a:pt x="379616" y="682794"/>
                      <a:pt x="377403" y="678476"/>
                    </a:cubicBezTo>
                    <a:cubicBezTo>
                      <a:pt x="376297" y="677397"/>
                      <a:pt x="376850" y="675238"/>
                      <a:pt x="376297" y="674698"/>
                    </a:cubicBezTo>
                    <a:cubicBezTo>
                      <a:pt x="375191" y="673619"/>
                      <a:pt x="369660" y="674158"/>
                      <a:pt x="367448" y="673079"/>
                    </a:cubicBezTo>
                    <a:cubicBezTo>
                      <a:pt x="364129" y="670380"/>
                      <a:pt x="361917" y="663364"/>
                      <a:pt x="358598" y="660665"/>
                    </a:cubicBezTo>
                    <a:cubicBezTo>
                      <a:pt x="356939" y="659586"/>
                      <a:pt x="355280" y="660126"/>
                      <a:pt x="354174" y="659046"/>
                    </a:cubicBezTo>
                    <a:cubicBezTo>
                      <a:pt x="350855" y="656887"/>
                      <a:pt x="350302" y="652570"/>
                      <a:pt x="346983" y="650411"/>
                    </a:cubicBezTo>
                    <a:cubicBezTo>
                      <a:pt x="345324" y="648791"/>
                      <a:pt x="338687" y="646093"/>
                      <a:pt x="336475" y="646093"/>
                    </a:cubicBezTo>
                    <a:cubicBezTo>
                      <a:pt x="334815" y="646093"/>
                      <a:pt x="330944" y="648791"/>
                      <a:pt x="329838" y="649871"/>
                    </a:cubicBezTo>
                    <a:cubicBezTo>
                      <a:pt x="325966" y="653649"/>
                      <a:pt x="323200" y="668761"/>
                      <a:pt x="322094" y="674698"/>
                    </a:cubicBezTo>
                    <a:cubicBezTo>
                      <a:pt x="320988" y="681175"/>
                      <a:pt x="321541" y="687652"/>
                      <a:pt x="320435" y="694128"/>
                    </a:cubicBezTo>
                    <a:lnTo>
                      <a:pt x="318776" y="694128"/>
                    </a:lnTo>
                    <a:cubicBezTo>
                      <a:pt x="318223" y="694128"/>
                      <a:pt x="317116" y="692509"/>
                      <a:pt x="316563" y="691969"/>
                    </a:cubicBezTo>
                    <a:cubicBezTo>
                      <a:pt x="314904" y="690350"/>
                      <a:pt x="309373" y="690350"/>
                      <a:pt x="309373" y="687652"/>
                    </a:cubicBezTo>
                    <a:cubicBezTo>
                      <a:pt x="308820" y="685493"/>
                      <a:pt x="312139" y="679016"/>
                      <a:pt x="311586" y="675778"/>
                    </a:cubicBezTo>
                    <a:cubicBezTo>
                      <a:pt x="311032" y="672539"/>
                      <a:pt x="306608" y="659586"/>
                      <a:pt x="304395" y="656348"/>
                    </a:cubicBezTo>
                    <a:cubicBezTo>
                      <a:pt x="298864" y="646633"/>
                      <a:pt x="283931" y="649331"/>
                      <a:pt x="281719" y="643394"/>
                    </a:cubicBezTo>
                    <a:cubicBezTo>
                      <a:pt x="280612" y="641235"/>
                      <a:pt x="281719" y="635838"/>
                      <a:pt x="280059" y="634219"/>
                    </a:cubicBezTo>
                    <a:cubicBezTo>
                      <a:pt x="276188" y="630441"/>
                      <a:pt x="263467" y="635298"/>
                      <a:pt x="261807" y="639616"/>
                    </a:cubicBezTo>
                    <a:cubicBezTo>
                      <a:pt x="261807" y="640696"/>
                      <a:pt x="261254" y="653109"/>
                      <a:pt x="261807" y="654728"/>
                    </a:cubicBezTo>
                    <a:cubicBezTo>
                      <a:pt x="261807" y="656887"/>
                      <a:pt x="263467" y="659586"/>
                      <a:pt x="263467" y="661745"/>
                    </a:cubicBezTo>
                    <a:cubicBezTo>
                      <a:pt x="263467" y="662824"/>
                      <a:pt x="262360" y="664983"/>
                      <a:pt x="261254" y="664983"/>
                    </a:cubicBezTo>
                    <a:cubicBezTo>
                      <a:pt x="257936" y="665523"/>
                      <a:pt x="256276" y="662285"/>
                      <a:pt x="254064" y="661745"/>
                    </a:cubicBezTo>
                    <a:cubicBezTo>
                      <a:pt x="251298" y="660126"/>
                      <a:pt x="244661" y="660665"/>
                      <a:pt x="243002" y="658506"/>
                    </a:cubicBezTo>
                    <a:cubicBezTo>
                      <a:pt x="240790" y="655808"/>
                      <a:pt x="244108" y="647712"/>
                      <a:pt x="240237" y="643934"/>
                    </a:cubicBezTo>
                    <a:cubicBezTo>
                      <a:pt x="236918" y="640696"/>
                      <a:pt x="231940" y="639616"/>
                      <a:pt x="229175" y="635838"/>
                    </a:cubicBezTo>
                    <a:cubicBezTo>
                      <a:pt x="227516" y="634219"/>
                      <a:pt x="224197" y="627203"/>
                      <a:pt x="224197" y="625583"/>
                    </a:cubicBezTo>
                    <a:cubicBezTo>
                      <a:pt x="223091" y="620186"/>
                      <a:pt x="226962" y="616948"/>
                      <a:pt x="228622" y="612090"/>
                    </a:cubicBezTo>
                    <a:cubicBezTo>
                      <a:pt x="230281" y="607773"/>
                      <a:pt x="231387" y="601836"/>
                      <a:pt x="228069" y="598057"/>
                    </a:cubicBezTo>
                    <a:cubicBezTo>
                      <a:pt x="224197" y="589962"/>
                      <a:pt x="215901" y="576469"/>
                      <a:pt x="208157" y="572151"/>
                    </a:cubicBezTo>
                    <a:cubicBezTo>
                      <a:pt x="203179" y="569452"/>
                      <a:pt x="197095" y="569452"/>
                      <a:pt x="192118" y="566754"/>
                    </a:cubicBezTo>
                    <a:cubicBezTo>
                      <a:pt x="189352" y="565134"/>
                      <a:pt x="187693" y="560817"/>
                      <a:pt x="184374" y="559197"/>
                    </a:cubicBezTo>
                    <a:cubicBezTo>
                      <a:pt x="181609" y="557039"/>
                      <a:pt x="173866" y="556499"/>
                      <a:pt x="170547" y="552721"/>
                    </a:cubicBezTo>
                    <a:cubicBezTo>
                      <a:pt x="169441" y="551641"/>
                      <a:pt x="168888" y="548403"/>
                      <a:pt x="168888" y="546784"/>
                    </a:cubicBezTo>
                    <a:cubicBezTo>
                      <a:pt x="168888" y="539228"/>
                      <a:pt x="177737" y="538148"/>
                      <a:pt x="181609" y="532751"/>
                    </a:cubicBezTo>
                    <a:cubicBezTo>
                      <a:pt x="184927" y="527354"/>
                      <a:pt x="183268" y="513321"/>
                      <a:pt x="185481" y="510622"/>
                    </a:cubicBezTo>
                    <a:cubicBezTo>
                      <a:pt x="190458" y="504685"/>
                      <a:pt x="196542" y="512241"/>
                      <a:pt x="206498" y="506305"/>
                    </a:cubicBezTo>
                    <a:cubicBezTo>
                      <a:pt x="218666" y="499828"/>
                      <a:pt x="214241" y="494970"/>
                      <a:pt x="220325" y="489033"/>
                    </a:cubicBezTo>
                    <a:cubicBezTo>
                      <a:pt x="224750" y="485255"/>
                      <a:pt x="236365" y="480398"/>
                      <a:pt x="242449" y="482557"/>
                    </a:cubicBezTo>
                    <a:cubicBezTo>
                      <a:pt x="244661" y="483636"/>
                      <a:pt x="246874" y="487414"/>
                      <a:pt x="249086" y="488494"/>
                    </a:cubicBezTo>
                    <a:cubicBezTo>
                      <a:pt x="251298" y="490113"/>
                      <a:pt x="257382" y="492272"/>
                      <a:pt x="259595" y="492811"/>
                    </a:cubicBezTo>
                    <a:cubicBezTo>
                      <a:pt x="266785" y="494431"/>
                      <a:pt x="274528" y="494970"/>
                      <a:pt x="281719" y="496050"/>
                    </a:cubicBezTo>
                    <a:cubicBezTo>
                      <a:pt x="291674" y="496589"/>
                      <a:pt x="302183" y="499828"/>
                      <a:pt x="311032" y="504146"/>
                    </a:cubicBezTo>
                    <a:cubicBezTo>
                      <a:pt x="313798" y="505765"/>
                      <a:pt x="316010" y="508463"/>
                      <a:pt x="318776" y="510083"/>
                    </a:cubicBezTo>
                    <a:cubicBezTo>
                      <a:pt x="322647" y="511702"/>
                      <a:pt x="329284" y="512781"/>
                      <a:pt x="332603" y="510083"/>
                    </a:cubicBezTo>
                    <a:cubicBezTo>
                      <a:pt x="334262" y="509003"/>
                      <a:pt x="337028" y="505765"/>
                      <a:pt x="337028" y="503606"/>
                    </a:cubicBezTo>
                    <a:cubicBezTo>
                      <a:pt x="335368" y="502526"/>
                      <a:pt x="328178" y="500907"/>
                      <a:pt x="327625" y="499828"/>
                    </a:cubicBezTo>
                    <a:cubicBezTo>
                      <a:pt x="325966" y="497669"/>
                      <a:pt x="334815" y="492811"/>
                      <a:pt x="336475" y="492272"/>
                    </a:cubicBezTo>
                    <a:cubicBezTo>
                      <a:pt x="339793" y="491192"/>
                      <a:pt x="349196" y="490653"/>
                      <a:pt x="349196" y="490653"/>
                    </a:cubicBezTo>
                    <a:cubicBezTo>
                      <a:pt x="352514" y="490113"/>
                      <a:pt x="353067" y="484716"/>
                      <a:pt x="353621" y="482017"/>
                    </a:cubicBezTo>
                    <a:lnTo>
                      <a:pt x="353067" y="480398"/>
                    </a:lnTo>
                    <a:cubicBezTo>
                      <a:pt x="349196" y="478779"/>
                      <a:pt x="340346" y="475540"/>
                      <a:pt x="336475" y="475001"/>
                    </a:cubicBezTo>
                    <a:cubicBezTo>
                      <a:pt x="332050" y="474461"/>
                      <a:pt x="319329" y="477159"/>
                      <a:pt x="316563" y="476080"/>
                    </a:cubicBezTo>
                    <a:cubicBezTo>
                      <a:pt x="315457" y="476080"/>
                      <a:pt x="314904" y="472842"/>
                      <a:pt x="313798" y="472302"/>
                    </a:cubicBezTo>
                    <a:cubicBezTo>
                      <a:pt x="312692" y="471222"/>
                      <a:pt x="308820" y="471222"/>
                      <a:pt x="307714" y="470143"/>
                    </a:cubicBezTo>
                    <a:cubicBezTo>
                      <a:pt x="306055" y="469064"/>
                      <a:pt x="305502" y="464206"/>
                      <a:pt x="304395" y="462587"/>
                    </a:cubicBezTo>
                    <a:lnTo>
                      <a:pt x="302736" y="462047"/>
                    </a:lnTo>
                    <a:cubicBezTo>
                      <a:pt x="299417" y="464746"/>
                      <a:pt x="293333" y="473381"/>
                      <a:pt x="288909" y="470683"/>
                    </a:cubicBezTo>
                    <a:cubicBezTo>
                      <a:pt x="285590" y="468524"/>
                      <a:pt x="286696" y="466365"/>
                      <a:pt x="282272" y="464746"/>
                    </a:cubicBezTo>
                    <a:cubicBezTo>
                      <a:pt x="281165" y="464206"/>
                      <a:pt x="278400" y="458809"/>
                      <a:pt x="276188" y="462047"/>
                    </a:cubicBezTo>
                    <a:cubicBezTo>
                      <a:pt x="275081" y="463127"/>
                      <a:pt x="275635" y="470683"/>
                      <a:pt x="273975" y="471762"/>
                    </a:cubicBezTo>
                    <a:cubicBezTo>
                      <a:pt x="272316" y="473381"/>
                      <a:pt x="266232" y="471762"/>
                      <a:pt x="264020" y="472302"/>
                    </a:cubicBezTo>
                    <a:cubicBezTo>
                      <a:pt x="262360" y="472302"/>
                      <a:pt x="258489" y="476080"/>
                      <a:pt x="256829" y="476080"/>
                    </a:cubicBezTo>
                    <a:cubicBezTo>
                      <a:pt x="255723" y="476080"/>
                      <a:pt x="244108" y="467444"/>
                      <a:pt x="233046" y="471762"/>
                    </a:cubicBezTo>
                    <a:cubicBezTo>
                      <a:pt x="229728" y="473381"/>
                      <a:pt x="226409" y="474461"/>
                      <a:pt x="223091" y="476080"/>
                    </a:cubicBezTo>
                    <a:cubicBezTo>
                      <a:pt x="220878" y="477699"/>
                      <a:pt x="218666" y="480398"/>
                      <a:pt x="215901" y="481477"/>
                    </a:cubicBezTo>
                    <a:cubicBezTo>
                      <a:pt x="210923" y="483096"/>
                      <a:pt x="205392" y="482557"/>
                      <a:pt x="200967" y="484176"/>
                    </a:cubicBezTo>
                    <a:cubicBezTo>
                      <a:pt x="199308" y="484716"/>
                      <a:pt x="198202" y="487414"/>
                      <a:pt x="197095" y="487954"/>
                    </a:cubicBezTo>
                    <a:cubicBezTo>
                      <a:pt x="193777" y="489033"/>
                      <a:pt x="189905" y="483636"/>
                      <a:pt x="187140" y="483096"/>
                    </a:cubicBezTo>
                    <a:cubicBezTo>
                      <a:pt x="184927" y="482017"/>
                      <a:pt x="176078" y="481477"/>
                      <a:pt x="173866" y="482017"/>
                    </a:cubicBezTo>
                    <a:cubicBezTo>
                      <a:pt x="166122" y="484176"/>
                      <a:pt x="166675" y="498209"/>
                      <a:pt x="160591" y="494970"/>
                    </a:cubicBezTo>
                    <a:cubicBezTo>
                      <a:pt x="156720" y="492811"/>
                      <a:pt x="156167" y="485255"/>
                      <a:pt x="155060" y="482017"/>
                    </a:cubicBezTo>
                    <a:cubicBezTo>
                      <a:pt x="151742" y="470143"/>
                      <a:pt x="148423" y="473381"/>
                      <a:pt x="142892" y="465286"/>
                    </a:cubicBezTo>
                    <a:cubicBezTo>
                      <a:pt x="137362" y="457729"/>
                      <a:pt x="139021" y="451253"/>
                      <a:pt x="128512" y="445316"/>
                    </a:cubicBezTo>
                    <a:cubicBezTo>
                      <a:pt x="125747" y="444236"/>
                      <a:pt x="121322" y="444236"/>
                      <a:pt x="118556" y="443157"/>
                    </a:cubicBezTo>
                    <a:cubicBezTo>
                      <a:pt x="116897" y="441538"/>
                      <a:pt x="116897" y="436680"/>
                      <a:pt x="118003" y="434521"/>
                    </a:cubicBezTo>
                    <a:cubicBezTo>
                      <a:pt x="121875" y="425346"/>
                      <a:pt x="142892" y="430743"/>
                      <a:pt x="150083" y="430743"/>
                    </a:cubicBezTo>
                    <a:cubicBezTo>
                      <a:pt x="150636" y="430743"/>
                      <a:pt x="152848" y="430743"/>
                      <a:pt x="152848" y="430204"/>
                    </a:cubicBezTo>
                    <a:cubicBezTo>
                      <a:pt x="153401" y="429664"/>
                      <a:pt x="153954" y="426965"/>
                      <a:pt x="153401" y="426425"/>
                    </a:cubicBezTo>
                    <a:cubicBezTo>
                      <a:pt x="153401" y="425886"/>
                      <a:pt x="152848" y="425346"/>
                      <a:pt x="152295" y="424267"/>
                    </a:cubicBezTo>
                    <a:cubicBezTo>
                      <a:pt x="150636" y="421568"/>
                      <a:pt x="151742" y="412393"/>
                      <a:pt x="147870" y="410773"/>
                    </a:cubicBezTo>
                    <a:cubicBezTo>
                      <a:pt x="142339" y="407535"/>
                      <a:pt x="136808" y="412932"/>
                      <a:pt x="131278" y="410773"/>
                    </a:cubicBezTo>
                    <a:close/>
                    <a:moveTo>
                      <a:pt x="782820" y="717336"/>
                    </a:moveTo>
                    <a:cubicBezTo>
                      <a:pt x="783373" y="714098"/>
                      <a:pt x="782267" y="708161"/>
                      <a:pt x="781714" y="706542"/>
                    </a:cubicBezTo>
                    <a:cubicBezTo>
                      <a:pt x="780608" y="704383"/>
                      <a:pt x="777842" y="702764"/>
                      <a:pt x="776736" y="700605"/>
                    </a:cubicBezTo>
                    <a:cubicBezTo>
                      <a:pt x="775077" y="697367"/>
                      <a:pt x="778395" y="694128"/>
                      <a:pt x="778948" y="691430"/>
                    </a:cubicBezTo>
                    <a:cubicBezTo>
                      <a:pt x="780054" y="687112"/>
                      <a:pt x="777842" y="674698"/>
                      <a:pt x="781161" y="672000"/>
                    </a:cubicBezTo>
                    <a:cubicBezTo>
                      <a:pt x="781714" y="671460"/>
                      <a:pt x="785032" y="669841"/>
                      <a:pt x="785585" y="670380"/>
                    </a:cubicBezTo>
                    <a:cubicBezTo>
                      <a:pt x="786138" y="670380"/>
                      <a:pt x="786692" y="673079"/>
                      <a:pt x="786692" y="673619"/>
                    </a:cubicBezTo>
                    <a:cubicBezTo>
                      <a:pt x="785585" y="677937"/>
                      <a:pt x="786692" y="681715"/>
                      <a:pt x="786138" y="685493"/>
                    </a:cubicBezTo>
                    <a:cubicBezTo>
                      <a:pt x="786138" y="688731"/>
                      <a:pt x="785032" y="691969"/>
                      <a:pt x="785032" y="695747"/>
                    </a:cubicBezTo>
                    <a:cubicBezTo>
                      <a:pt x="785585" y="702224"/>
                      <a:pt x="790563" y="702224"/>
                      <a:pt x="793329" y="707621"/>
                    </a:cubicBezTo>
                    <a:cubicBezTo>
                      <a:pt x="797200" y="715177"/>
                      <a:pt x="782820" y="722194"/>
                      <a:pt x="782820" y="717336"/>
                    </a:cubicBezTo>
                    <a:close/>
                    <a:moveTo>
                      <a:pt x="386806" y="435601"/>
                    </a:moveTo>
                    <a:cubicBezTo>
                      <a:pt x="386253" y="432362"/>
                      <a:pt x="388465" y="426965"/>
                      <a:pt x="385147" y="424806"/>
                    </a:cubicBezTo>
                    <a:cubicBezTo>
                      <a:pt x="380722" y="422108"/>
                      <a:pt x="373532" y="422647"/>
                      <a:pt x="369107" y="419949"/>
                    </a:cubicBezTo>
                    <a:cubicBezTo>
                      <a:pt x="366895" y="419409"/>
                      <a:pt x="365789" y="417250"/>
                      <a:pt x="364129" y="415631"/>
                    </a:cubicBezTo>
                    <a:cubicBezTo>
                      <a:pt x="361917" y="414552"/>
                      <a:pt x="359151" y="414012"/>
                      <a:pt x="356939" y="412393"/>
                    </a:cubicBezTo>
                    <a:cubicBezTo>
                      <a:pt x="347536" y="406995"/>
                      <a:pt x="349749" y="404297"/>
                      <a:pt x="337581" y="401058"/>
                    </a:cubicBezTo>
                    <a:cubicBezTo>
                      <a:pt x="335922" y="400519"/>
                      <a:pt x="333709" y="399979"/>
                      <a:pt x="332050" y="399979"/>
                    </a:cubicBezTo>
                    <a:cubicBezTo>
                      <a:pt x="324860" y="399979"/>
                      <a:pt x="317670" y="405376"/>
                      <a:pt x="313245" y="405916"/>
                    </a:cubicBezTo>
                    <a:cubicBezTo>
                      <a:pt x="312139" y="405916"/>
                      <a:pt x="309373" y="405376"/>
                      <a:pt x="308820" y="404297"/>
                    </a:cubicBezTo>
                    <a:cubicBezTo>
                      <a:pt x="308267" y="403217"/>
                      <a:pt x="310479" y="399439"/>
                      <a:pt x="311586" y="398360"/>
                    </a:cubicBezTo>
                    <a:cubicBezTo>
                      <a:pt x="313798" y="396201"/>
                      <a:pt x="318223" y="395661"/>
                      <a:pt x="320988" y="393502"/>
                    </a:cubicBezTo>
                    <a:cubicBezTo>
                      <a:pt x="326519" y="389185"/>
                      <a:pt x="332603" y="375691"/>
                      <a:pt x="340899" y="375152"/>
                    </a:cubicBezTo>
                    <a:cubicBezTo>
                      <a:pt x="343665" y="375152"/>
                      <a:pt x="353067" y="377850"/>
                      <a:pt x="355833" y="378930"/>
                    </a:cubicBezTo>
                    <a:cubicBezTo>
                      <a:pt x="363576" y="383248"/>
                      <a:pt x="365235" y="397280"/>
                      <a:pt x="373532" y="400519"/>
                    </a:cubicBezTo>
                    <a:cubicBezTo>
                      <a:pt x="378510" y="402678"/>
                      <a:pt x="385700" y="402138"/>
                      <a:pt x="391231" y="403217"/>
                    </a:cubicBezTo>
                    <a:cubicBezTo>
                      <a:pt x="397868" y="404297"/>
                      <a:pt x="404505" y="407535"/>
                      <a:pt x="411142" y="407535"/>
                    </a:cubicBezTo>
                    <a:cubicBezTo>
                      <a:pt x="413354" y="407535"/>
                      <a:pt x="417226" y="404297"/>
                      <a:pt x="419992" y="403757"/>
                    </a:cubicBezTo>
                    <a:cubicBezTo>
                      <a:pt x="421651" y="403217"/>
                      <a:pt x="428841" y="403757"/>
                      <a:pt x="429947" y="404837"/>
                    </a:cubicBezTo>
                    <a:cubicBezTo>
                      <a:pt x="431606" y="405916"/>
                      <a:pt x="431053" y="410773"/>
                      <a:pt x="432160" y="412393"/>
                    </a:cubicBezTo>
                    <a:cubicBezTo>
                      <a:pt x="434372" y="415091"/>
                      <a:pt x="437690" y="416710"/>
                      <a:pt x="439903" y="419409"/>
                    </a:cubicBezTo>
                    <a:cubicBezTo>
                      <a:pt x="442668" y="422647"/>
                      <a:pt x="442115" y="435061"/>
                      <a:pt x="443221" y="439919"/>
                    </a:cubicBezTo>
                    <a:cubicBezTo>
                      <a:pt x="443775" y="441538"/>
                      <a:pt x="446540" y="444236"/>
                      <a:pt x="447646" y="445855"/>
                    </a:cubicBezTo>
                    <a:cubicBezTo>
                      <a:pt x="448752" y="448014"/>
                      <a:pt x="451518" y="453951"/>
                      <a:pt x="453177" y="455031"/>
                    </a:cubicBezTo>
                    <a:cubicBezTo>
                      <a:pt x="454836" y="456110"/>
                      <a:pt x="461473" y="457729"/>
                      <a:pt x="463686" y="457729"/>
                    </a:cubicBezTo>
                    <a:cubicBezTo>
                      <a:pt x="467557" y="457190"/>
                      <a:pt x="475854" y="449094"/>
                      <a:pt x="478619" y="455571"/>
                    </a:cubicBezTo>
                    <a:cubicBezTo>
                      <a:pt x="480279" y="458809"/>
                      <a:pt x="484703" y="470143"/>
                      <a:pt x="484150" y="473381"/>
                    </a:cubicBezTo>
                    <a:cubicBezTo>
                      <a:pt x="480832" y="473921"/>
                      <a:pt x="474195" y="472302"/>
                      <a:pt x="472535" y="472302"/>
                    </a:cubicBezTo>
                    <a:cubicBezTo>
                      <a:pt x="470876" y="472842"/>
                      <a:pt x="469217" y="474461"/>
                      <a:pt x="468111" y="474461"/>
                    </a:cubicBezTo>
                    <a:cubicBezTo>
                      <a:pt x="466451" y="475001"/>
                      <a:pt x="460920" y="472302"/>
                      <a:pt x="459814" y="471762"/>
                    </a:cubicBezTo>
                    <a:cubicBezTo>
                      <a:pt x="457602" y="470143"/>
                      <a:pt x="456496" y="467444"/>
                      <a:pt x="454283" y="465825"/>
                    </a:cubicBezTo>
                    <a:cubicBezTo>
                      <a:pt x="448752" y="460968"/>
                      <a:pt x="442115" y="457190"/>
                      <a:pt x="436584" y="452332"/>
                    </a:cubicBezTo>
                    <a:cubicBezTo>
                      <a:pt x="432713" y="449094"/>
                      <a:pt x="428288" y="439379"/>
                      <a:pt x="426076" y="437760"/>
                    </a:cubicBezTo>
                    <a:cubicBezTo>
                      <a:pt x="423863" y="436680"/>
                      <a:pt x="416120" y="436140"/>
                      <a:pt x="413354" y="436140"/>
                    </a:cubicBezTo>
                    <a:cubicBezTo>
                      <a:pt x="408377" y="436680"/>
                      <a:pt x="403399" y="438839"/>
                      <a:pt x="398421" y="438299"/>
                    </a:cubicBezTo>
                    <a:cubicBezTo>
                      <a:pt x="394549" y="438299"/>
                      <a:pt x="390678" y="435601"/>
                      <a:pt x="386806" y="435601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0" name="Freeform 1082">
                <a:extLst>
                  <a:ext uri="{FF2B5EF4-FFF2-40B4-BE49-F238E27FC236}">
                    <a16:creationId xmlns:a16="http://schemas.microsoft.com/office/drawing/2014/main" id="{3E92D56B-BAB5-481C-B5C0-C154DBB6ECDB}"/>
                  </a:ext>
                </a:extLst>
              </p:cNvPr>
              <p:cNvSpPr/>
              <p:nvPr/>
            </p:nvSpPr>
            <p:spPr>
              <a:xfrm>
                <a:off x="8909032" y="3969728"/>
                <a:ext cx="624993" cy="289831"/>
              </a:xfrm>
              <a:custGeom>
                <a:avLst/>
                <a:gdLst>
                  <a:gd name="connsiteX0" fmla="*/ 205268 w 624993"/>
                  <a:gd name="connsiteY0" fmla="*/ 289464 h 289831"/>
                  <a:gd name="connsiteX1" fmla="*/ 234028 w 624993"/>
                  <a:gd name="connsiteY1" fmla="*/ 285146 h 289831"/>
                  <a:gd name="connsiteX2" fmla="*/ 241772 w 624993"/>
                  <a:gd name="connsiteY2" fmla="*/ 268415 h 289831"/>
                  <a:gd name="connsiteX3" fmla="*/ 282147 w 624993"/>
                  <a:gd name="connsiteY3" fmla="*/ 255462 h 289831"/>
                  <a:gd name="connsiteX4" fmla="*/ 292103 w 624993"/>
                  <a:gd name="connsiteY4" fmla="*/ 232253 h 289831"/>
                  <a:gd name="connsiteX5" fmla="*/ 303165 w 624993"/>
                  <a:gd name="connsiteY5" fmla="*/ 228475 h 289831"/>
                  <a:gd name="connsiteX6" fmla="*/ 345200 w 624993"/>
                  <a:gd name="connsiteY6" fmla="*/ 242508 h 289831"/>
                  <a:gd name="connsiteX7" fmla="*/ 345753 w 624993"/>
                  <a:gd name="connsiteY7" fmla="*/ 247366 h 289831"/>
                  <a:gd name="connsiteX8" fmla="*/ 359580 w 624993"/>
                  <a:gd name="connsiteY8" fmla="*/ 251144 h 289831"/>
                  <a:gd name="connsiteX9" fmla="*/ 366217 w 624993"/>
                  <a:gd name="connsiteY9" fmla="*/ 245207 h 289831"/>
                  <a:gd name="connsiteX10" fmla="*/ 374514 w 624993"/>
                  <a:gd name="connsiteY10" fmla="*/ 246286 h 289831"/>
                  <a:gd name="connsiteX11" fmla="*/ 378385 w 624993"/>
                  <a:gd name="connsiteY11" fmla="*/ 240889 h 289831"/>
                  <a:gd name="connsiteX12" fmla="*/ 437013 w 624993"/>
                  <a:gd name="connsiteY12" fmla="*/ 207966 h 289831"/>
                  <a:gd name="connsiteX13" fmla="*/ 451947 w 624993"/>
                  <a:gd name="connsiteY13" fmla="*/ 187456 h 289831"/>
                  <a:gd name="connsiteX14" fmla="*/ 475176 w 624993"/>
                  <a:gd name="connsiteY14" fmla="*/ 175043 h 289831"/>
                  <a:gd name="connsiteX15" fmla="*/ 482920 w 624993"/>
                  <a:gd name="connsiteY15" fmla="*/ 161550 h 289831"/>
                  <a:gd name="connsiteX16" fmla="*/ 499513 w 624993"/>
                  <a:gd name="connsiteY16" fmla="*/ 131325 h 289831"/>
                  <a:gd name="connsiteX17" fmla="*/ 505597 w 624993"/>
                  <a:gd name="connsiteY17" fmla="*/ 127007 h 289831"/>
                  <a:gd name="connsiteX18" fmla="*/ 523849 w 624993"/>
                  <a:gd name="connsiteY18" fmla="*/ 123229 h 289831"/>
                  <a:gd name="connsiteX19" fmla="*/ 573627 w 624993"/>
                  <a:gd name="connsiteY19" fmla="*/ 122690 h 289831"/>
                  <a:gd name="connsiteX20" fmla="*/ 616215 w 624993"/>
                  <a:gd name="connsiteY20" fmla="*/ 95164 h 289831"/>
                  <a:gd name="connsiteX21" fmla="*/ 623958 w 624993"/>
                  <a:gd name="connsiteY21" fmla="*/ 85988 h 289831"/>
                  <a:gd name="connsiteX22" fmla="*/ 580817 w 624993"/>
                  <a:gd name="connsiteY22" fmla="*/ 72495 h 289831"/>
                  <a:gd name="connsiteX23" fmla="*/ 545972 w 624993"/>
                  <a:gd name="connsiteY23" fmla="*/ 67098 h 289831"/>
                  <a:gd name="connsiteX24" fmla="*/ 550950 w 624993"/>
                  <a:gd name="connsiteY24" fmla="*/ 41731 h 289831"/>
                  <a:gd name="connsiteX25" fmla="*/ 476283 w 624993"/>
                  <a:gd name="connsiteY25" fmla="*/ 19602 h 289831"/>
                  <a:gd name="connsiteX26" fmla="*/ 481260 w 624993"/>
                  <a:gd name="connsiteY26" fmla="*/ 12586 h 289831"/>
                  <a:gd name="connsiteX27" fmla="*/ 474623 w 624993"/>
                  <a:gd name="connsiteY27" fmla="*/ 5570 h 289831"/>
                  <a:gd name="connsiteX28" fmla="*/ 461349 w 624993"/>
                  <a:gd name="connsiteY28" fmla="*/ -367 h 289831"/>
                  <a:gd name="connsiteX29" fmla="*/ 453053 w 624993"/>
                  <a:gd name="connsiteY29" fmla="*/ 13126 h 289831"/>
                  <a:gd name="connsiteX30" fmla="*/ 434248 w 624993"/>
                  <a:gd name="connsiteY30" fmla="*/ 15824 h 289831"/>
                  <a:gd name="connsiteX31" fmla="*/ 428164 w 624993"/>
                  <a:gd name="connsiteY31" fmla="*/ 7729 h 289831"/>
                  <a:gd name="connsiteX32" fmla="*/ 420420 w 624993"/>
                  <a:gd name="connsiteY32" fmla="*/ 5570 h 289831"/>
                  <a:gd name="connsiteX33" fmla="*/ 404934 w 624993"/>
                  <a:gd name="connsiteY33" fmla="*/ 18523 h 289831"/>
                  <a:gd name="connsiteX34" fmla="*/ 385022 w 624993"/>
                  <a:gd name="connsiteY34" fmla="*/ 22301 h 289831"/>
                  <a:gd name="connsiteX35" fmla="*/ 365664 w 624993"/>
                  <a:gd name="connsiteY35" fmla="*/ 37413 h 289831"/>
                  <a:gd name="connsiteX36" fmla="*/ 351284 w 624993"/>
                  <a:gd name="connsiteY36" fmla="*/ 62780 h 289831"/>
                  <a:gd name="connsiteX37" fmla="*/ 320311 w 624993"/>
                  <a:gd name="connsiteY37" fmla="*/ 70336 h 289831"/>
                  <a:gd name="connsiteX38" fmla="*/ 315333 w 624993"/>
                  <a:gd name="connsiteY38" fmla="*/ 53065 h 289831"/>
                  <a:gd name="connsiteX39" fmla="*/ 250068 w 624993"/>
                  <a:gd name="connsiteY39" fmla="*/ 54684 h 289831"/>
                  <a:gd name="connsiteX40" fmla="*/ 245643 w 624993"/>
                  <a:gd name="connsiteY40" fmla="*/ 49287 h 289831"/>
                  <a:gd name="connsiteX41" fmla="*/ 224073 w 624993"/>
                  <a:gd name="connsiteY41" fmla="*/ 49827 h 289831"/>
                  <a:gd name="connsiteX42" fmla="*/ 206374 w 624993"/>
                  <a:gd name="connsiteY42" fmla="*/ 59002 h 289831"/>
                  <a:gd name="connsiteX43" fmla="*/ 71419 w 624993"/>
                  <a:gd name="connsiteY43" fmla="*/ 94624 h 289831"/>
                  <a:gd name="connsiteX44" fmla="*/ 11132 w 624993"/>
                  <a:gd name="connsiteY44" fmla="*/ 104339 h 289831"/>
                  <a:gd name="connsiteX45" fmla="*/ -1036 w 624993"/>
                  <a:gd name="connsiteY45" fmla="*/ 118372 h 289831"/>
                  <a:gd name="connsiteX46" fmla="*/ 7814 w 624993"/>
                  <a:gd name="connsiteY46" fmla="*/ 136183 h 289831"/>
                  <a:gd name="connsiteX47" fmla="*/ 23853 w 624993"/>
                  <a:gd name="connsiteY47" fmla="*/ 140500 h 289831"/>
                  <a:gd name="connsiteX48" fmla="*/ 37128 w 624993"/>
                  <a:gd name="connsiteY48" fmla="*/ 150215 h 289831"/>
                  <a:gd name="connsiteX49" fmla="*/ 45977 w 624993"/>
                  <a:gd name="connsiteY49" fmla="*/ 145358 h 289831"/>
                  <a:gd name="connsiteX50" fmla="*/ 60911 w 624993"/>
                  <a:gd name="connsiteY50" fmla="*/ 144818 h 289831"/>
                  <a:gd name="connsiteX51" fmla="*/ 85800 w 624993"/>
                  <a:gd name="connsiteY51" fmla="*/ 141580 h 289831"/>
                  <a:gd name="connsiteX52" fmla="*/ 89118 w 624993"/>
                  <a:gd name="connsiteY52" fmla="*/ 144279 h 289831"/>
                  <a:gd name="connsiteX53" fmla="*/ 100733 w 624993"/>
                  <a:gd name="connsiteY53" fmla="*/ 145358 h 289831"/>
                  <a:gd name="connsiteX54" fmla="*/ 118432 w 624993"/>
                  <a:gd name="connsiteY54" fmla="*/ 157772 h 289831"/>
                  <a:gd name="connsiteX55" fmla="*/ 143874 w 624993"/>
                  <a:gd name="connsiteY55" fmla="*/ 152914 h 289831"/>
                  <a:gd name="connsiteX56" fmla="*/ 148852 w 624993"/>
                  <a:gd name="connsiteY56" fmla="*/ 157232 h 289831"/>
                  <a:gd name="connsiteX57" fmla="*/ 160467 w 624993"/>
                  <a:gd name="connsiteY57" fmla="*/ 173424 h 289831"/>
                  <a:gd name="connsiteX58" fmla="*/ 169317 w 624993"/>
                  <a:gd name="connsiteY58" fmla="*/ 185297 h 289831"/>
                  <a:gd name="connsiteX59" fmla="*/ 182038 w 624993"/>
                  <a:gd name="connsiteY59" fmla="*/ 209045 h 289831"/>
                  <a:gd name="connsiteX60" fmla="*/ 190887 w 624993"/>
                  <a:gd name="connsiteY60" fmla="*/ 219300 h 289831"/>
                  <a:gd name="connsiteX61" fmla="*/ 195312 w 624993"/>
                  <a:gd name="connsiteY61" fmla="*/ 222538 h 289831"/>
                  <a:gd name="connsiteX62" fmla="*/ 207480 w 624993"/>
                  <a:gd name="connsiteY62" fmla="*/ 239270 h 289831"/>
                  <a:gd name="connsiteX63" fmla="*/ 213011 w 624993"/>
                  <a:gd name="connsiteY63" fmla="*/ 257620 h 289831"/>
                  <a:gd name="connsiteX64" fmla="*/ 205268 w 624993"/>
                  <a:gd name="connsiteY64" fmla="*/ 289464 h 289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624993" h="289831">
                    <a:moveTo>
                      <a:pt x="205268" y="289464"/>
                    </a:moveTo>
                    <a:lnTo>
                      <a:pt x="234028" y="285146"/>
                    </a:lnTo>
                    <a:lnTo>
                      <a:pt x="241772" y="268415"/>
                    </a:lnTo>
                    <a:lnTo>
                      <a:pt x="282147" y="255462"/>
                    </a:lnTo>
                    <a:lnTo>
                      <a:pt x="292103" y="232253"/>
                    </a:lnTo>
                    <a:lnTo>
                      <a:pt x="303165" y="228475"/>
                    </a:lnTo>
                    <a:lnTo>
                      <a:pt x="345200" y="242508"/>
                    </a:lnTo>
                    <a:lnTo>
                      <a:pt x="345753" y="247366"/>
                    </a:lnTo>
                    <a:lnTo>
                      <a:pt x="359580" y="251144"/>
                    </a:lnTo>
                    <a:lnTo>
                      <a:pt x="366217" y="245207"/>
                    </a:lnTo>
                    <a:lnTo>
                      <a:pt x="374514" y="246286"/>
                    </a:lnTo>
                    <a:lnTo>
                      <a:pt x="378385" y="240889"/>
                    </a:lnTo>
                    <a:lnTo>
                      <a:pt x="437013" y="207966"/>
                    </a:lnTo>
                    <a:lnTo>
                      <a:pt x="451947" y="187456"/>
                    </a:lnTo>
                    <a:lnTo>
                      <a:pt x="475176" y="175043"/>
                    </a:lnTo>
                    <a:lnTo>
                      <a:pt x="482920" y="161550"/>
                    </a:lnTo>
                    <a:lnTo>
                      <a:pt x="499513" y="131325"/>
                    </a:lnTo>
                    <a:lnTo>
                      <a:pt x="505597" y="127007"/>
                    </a:lnTo>
                    <a:lnTo>
                      <a:pt x="523849" y="123229"/>
                    </a:lnTo>
                    <a:lnTo>
                      <a:pt x="573627" y="122690"/>
                    </a:lnTo>
                    <a:lnTo>
                      <a:pt x="616215" y="95164"/>
                    </a:lnTo>
                    <a:lnTo>
                      <a:pt x="623958" y="85988"/>
                    </a:lnTo>
                    <a:lnTo>
                      <a:pt x="580817" y="72495"/>
                    </a:lnTo>
                    <a:lnTo>
                      <a:pt x="545972" y="67098"/>
                    </a:lnTo>
                    <a:lnTo>
                      <a:pt x="550950" y="41731"/>
                    </a:lnTo>
                    <a:lnTo>
                      <a:pt x="476283" y="19602"/>
                    </a:lnTo>
                    <a:lnTo>
                      <a:pt x="481260" y="12586"/>
                    </a:lnTo>
                    <a:lnTo>
                      <a:pt x="474623" y="5570"/>
                    </a:lnTo>
                    <a:lnTo>
                      <a:pt x="461349" y="-367"/>
                    </a:lnTo>
                    <a:lnTo>
                      <a:pt x="453053" y="13126"/>
                    </a:lnTo>
                    <a:lnTo>
                      <a:pt x="434248" y="15824"/>
                    </a:lnTo>
                    <a:lnTo>
                      <a:pt x="428164" y="7729"/>
                    </a:lnTo>
                    <a:lnTo>
                      <a:pt x="420420" y="5570"/>
                    </a:lnTo>
                    <a:lnTo>
                      <a:pt x="404934" y="18523"/>
                    </a:lnTo>
                    <a:lnTo>
                      <a:pt x="385022" y="22301"/>
                    </a:lnTo>
                    <a:lnTo>
                      <a:pt x="365664" y="37413"/>
                    </a:lnTo>
                    <a:lnTo>
                      <a:pt x="351284" y="62780"/>
                    </a:lnTo>
                    <a:lnTo>
                      <a:pt x="320311" y="70336"/>
                    </a:lnTo>
                    <a:lnTo>
                      <a:pt x="315333" y="53065"/>
                    </a:lnTo>
                    <a:lnTo>
                      <a:pt x="250068" y="54684"/>
                    </a:lnTo>
                    <a:lnTo>
                      <a:pt x="245643" y="49287"/>
                    </a:lnTo>
                    <a:lnTo>
                      <a:pt x="224073" y="49827"/>
                    </a:lnTo>
                    <a:lnTo>
                      <a:pt x="206374" y="59002"/>
                    </a:lnTo>
                    <a:lnTo>
                      <a:pt x="71419" y="94624"/>
                    </a:lnTo>
                    <a:lnTo>
                      <a:pt x="11132" y="104339"/>
                    </a:lnTo>
                    <a:lnTo>
                      <a:pt x="-1036" y="118372"/>
                    </a:lnTo>
                    <a:lnTo>
                      <a:pt x="7814" y="136183"/>
                    </a:lnTo>
                    <a:cubicBezTo>
                      <a:pt x="12792" y="136722"/>
                      <a:pt x="19982" y="137802"/>
                      <a:pt x="23853" y="140500"/>
                    </a:cubicBezTo>
                    <a:cubicBezTo>
                      <a:pt x="27725" y="142659"/>
                      <a:pt x="32703" y="151295"/>
                      <a:pt x="37128" y="150215"/>
                    </a:cubicBezTo>
                    <a:cubicBezTo>
                      <a:pt x="38787" y="149676"/>
                      <a:pt x="43212" y="145898"/>
                      <a:pt x="45977" y="145358"/>
                    </a:cubicBezTo>
                    <a:cubicBezTo>
                      <a:pt x="50402" y="144279"/>
                      <a:pt x="55933" y="145358"/>
                      <a:pt x="60911" y="144818"/>
                    </a:cubicBezTo>
                    <a:cubicBezTo>
                      <a:pt x="68101" y="143739"/>
                      <a:pt x="79163" y="138881"/>
                      <a:pt x="85800" y="141580"/>
                    </a:cubicBezTo>
                    <a:cubicBezTo>
                      <a:pt x="86906" y="142120"/>
                      <a:pt x="88012" y="143739"/>
                      <a:pt x="89118" y="144279"/>
                    </a:cubicBezTo>
                    <a:cubicBezTo>
                      <a:pt x="92437" y="145358"/>
                      <a:pt x="97415" y="143739"/>
                      <a:pt x="100733" y="145358"/>
                    </a:cubicBezTo>
                    <a:cubicBezTo>
                      <a:pt x="105711" y="148057"/>
                      <a:pt x="110136" y="157772"/>
                      <a:pt x="118432" y="157772"/>
                    </a:cubicBezTo>
                    <a:cubicBezTo>
                      <a:pt x="125622" y="158311"/>
                      <a:pt x="136131" y="149676"/>
                      <a:pt x="143874" y="152914"/>
                    </a:cubicBezTo>
                    <a:cubicBezTo>
                      <a:pt x="144981" y="153454"/>
                      <a:pt x="148299" y="156152"/>
                      <a:pt x="148852" y="157232"/>
                    </a:cubicBezTo>
                    <a:cubicBezTo>
                      <a:pt x="153277" y="162629"/>
                      <a:pt x="156595" y="168566"/>
                      <a:pt x="160467" y="173424"/>
                    </a:cubicBezTo>
                    <a:cubicBezTo>
                      <a:pt x="163233" y="177741"/>
                      <a:pt x="166551" y="180980"/>
                      <a:pt x="169317" y="185297"/>
                    </a:cubicBezTo>
                    <a:cubicBezTo>
                      <a:pt x="173741" y="192854"/>
                      <a:pt x="177060" y="201489"/>
                      <a:pt x="182038" y="209045"/>
                    </a:cubicBezTo>
                    <a:cubicBezTo>
                      <a:pt x="184250" y="212284"/>
                      <a:pt x="187569" y="216601"/>
                      <a:pt x="190887" y="219300"/>
                    </a:cubicBezTo>
                    <a:cubicBezTo>
                      <a:pt x="192546" y="220379"/>
                      <a:pt x="194206" y="220919"/>
                      <a:pt x="195312" y="222538"/>
                    </a:cubicBezTo>
                    <a:cubicBezTo>
                      <a:pt x="199737" y="226856"/>
                      <a:pt x="204161" y="233873"/>
                      <a:pt x="207480" y="239270"/>
                    </a:cubicBezTo>
                    <a:cubicBezTo>
                      <a:pt x="209692" y="242508"/>
                      <a:pt x="213011" y="253842"/>
                      <a:pt x="213011" y="257620"/>
                    </a:cubicBezTo>
                    <a:cubicBezTo>
                      <a:pt x="213011" y="266796"/>
                      <a:pt x="208033" y="280829"/>
                      <a:pt x="205268" y="289464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1" name="Freeform 1083">
                <a:extLst>
                  <a:ext uri="{FF2B5EF4-FFF2-40B4-BE49-F238E27FC236}">
                    <a16:creationId xmlns:a16="http://schemas.microsoft.com/office/drawing/2014/main" id="{0E09B727-EA4C-479F-A71A-24FB52667DE8}"/>
                  </a:ext>
                </a:extLst>
              </p:cNvPr>
              <p:cNvSpPr/>
              <p:nvPr/>
            </p:nvSpPr>
            <p:spPr>
              <a:xfrm>
                <a:off x="6754738" y="1449220"/>
                <a:ext cx="722891" cy="1218264"/>
              </a:xfrm>
              <a:custGeom>
                <a:avLst/>
                <a:gdLst>
                  <a:gd name="connsiteX0" fmla="*/ 172345 w 722891"/>
                  <a:gd name="connsiteY0" fmla="*/ 1192684 h 1218264"/>
                  <a:gd name="connsiteX1" fmla="*/ 171792 w 722891"/>
                  <a:gd name="connsiteY1" fmla="*/ 1212114 h 1218264"/>
                  <a:gd name="connsiteX2" fmla="*/ 165708 w 722891"/>
                  <a:gd name="connsiteY2" fmla="*/ 1216432 h 1218264"/>
                  <a:gd name="connsiteX3" fmla="*/ 159624 w 722891"/>
                  <a:gd name="connsiteY3" fmla="*/ 1218051 h 1218264"/>
                  <a:gd name="connsiteX4" fmla="*/ 156858 w 722891"/>
                  <a:gd name="connsiteY4" fmla="*/ 1209416 h 1218264"/>
                  <a:gd name="connsiteX5" fmla="*/ 151328 w 722891"/>
                  <a:gd name="connsiteY5" fmla="*/ 1199701 h 1218264"/>
                  <a:gd name="connsiteX6" fmla="*/ 151328 w 722891"/>
                  <a:gd name="connsiteY6" fmla="*/ 1197002 h 1218264"/>
                  <a:gd name="connsiteX7" fmla="*/ 159624 w 722891"/>
                  <a:gd name="connsiteY7" fmla="*/ 1196462 h 1218264"/>
                  <a:gd name="connsiteX8" fmla="*/ 166261 w 722891"/>
                  <a:gd name="connsiteY8" fmla="*/ 1188367 h 1218264"/>
                  <a:gd name="connsiteX9" fmla="*/ 165708 w 722891"/>
                  <a:gd name="connsiteY9" fmla="*/ 1185668 h 1218264"/>
                  <a:gd name="connsiteX10" fmla="*/ 155752 w 722891"/>
                  <a:gd name="connsiteY10" fmla="*/ 1182430 h 1218264"/>
                  <a:gd name="connsiteX11" fmla="*/ 160177 w 722891"/>
                  <a:gd name="connsiteY11" fmla="*/ 1177032 h 1218264"/>
                  <a:gd name="connsiteX12" fmla="*/ 180088 w 722891"/>
                  <a:gd name="connsiteY12" fmla="*/ 1202399 h 1218264"/>
                  <a:gd name="connsiteX13" fmla="*/ 172345 w 722891"/>
                  <a:gd name="connsiteY13" fmla="*/ 1192684 h 1218264"/>
                  <a:gd name="connsiteX14" fmla="*/ 167920 w 722891"/>
                  <a:gd name="connsiteY14" fmla="*/ 367447 h 1218264"/>
                  <a:gd name="connsiteX15" fmla="*/ 171239 w 722891"/>
                  <a:gd name="connsiteY15" fmla="*/ 345319 h 1218264"/>
                  <a:gd name="connsiteX16" fmla="*/ 155752 w 722891"/>
                  <a:gd name="connsiteY16" fmla="*/ 330746 h 1218264"/>
                  <a:gd name="connsiteX17" fmla="*/ 155752 w 722891"/>
                  <a:gd name="connsiteY17" fmla="*/ 312935 h 1218264"/>
                  <a:gd name="connsiteX18" fmla="*/ 143031 w 722891"/>
                  <a:gd name="connsiteY18" fmla="*/ 293505 h 1218264"/>
                  <a:gd name="connsiteX19" fmla="*/ 144137 w 722891"/>
                  <a:gd name="connsiteY19" fmla="*/ 274075 h 1218264"/>
                  <a:gd name="connsiteX20" fmla="*/ 127545 w 722891"/>
                  <a:gd name="connsiteY20" fmla="*/ 264360 h 1218264"/>
                  <a:gd name="connsiteX21" fmla="*/ 108186 w 722891"/>
                  <a:gd name="connsiteY21" fmla="*/ 243851 h 1218264"/>
                  <a:gd name="connsiteX22" fmla="*/ 99337 w 722891"/>
                  <a:gd name="connsiteY22" fmla="*/ 237914 h 1218264"/>
                  <a:gd name="connsiteX23" fmla="*/ 92147 w 722891"/>
                  <a:gd name="connsiteY23" fmla="*/ 234136 h 1218264"/>
                  <a:gd name="connsiteX24" fmla="*/ 52324 w 722891"/>
                  <a:gd name="connsiteY24" fmla="*/ 226040 h 1218264"/>
                  <a:gd name="connsiteX25" fmla="*/ 1440 w 722891"/>
                  <a:gd name="connsiteY25" fmla="*/ 183402 h 1218264"/>
                  <a:gd name="connsiteX26" fmla="*/ 4205 w 722891"/>
                  <a:gd name="connsiteY26" fmla="*/ 179624 h 1218264"/>
                  <a:gd name="connsiteX27" fmla="*/ -773 w 722891"/>
                  <a:gd name="connsiteY27" fmla="*/ 162353 h 1218264"/>
                  <a:gd name="connsiteX28" fmla="*/ 9183 w 722891"/>
                  <a:gd name="connsiteY28" fmla="*/ 147240 h 1218264"/>
                  <a:gd name="connsiteX29" fmla="*/ 34072 w 722891"/>
                  <a:gd name="connsiteY29" fmla="*/ 149939 h 1218264"/>
                  <a:gd name="connsiteX30" fmla="*/ 63939 w 722891"/>
                  <a:gd name="connsiteY30" fmla="*/ 190958 h 1218264"/>
                  <a:gd name="connsiteX31" fmla="*/ 68364 w 722891"/>
                  <a:gd name="connsiteY31" fmla="*/ 203911 h 1218264"/>
                  <a:gd name="connsiteX32" fmla="*/ 100443 w 722891"/>
                  <a:gd name="connsiteY32" fmla="*/ 203372 h 1218264"/>
                  <a:gd name="connsiteX33" fmla="*/ 111505 w 722891"/>
                  <a:gd name="connsiteY33" fmla="*/ 206610 h 1218264"/>
                  <a:gd name="connsiteX34" fmla="*/ 128098 w 722891"/>
                  <a:gd name="connsiteY34" fmla="*/ 192577 h 1218264"/>
                  <a:gd name="connsiteX35" fmla="*/ 129204 w 722891"/>
                  <a:gd name="connsiteY35" fmla="*/ 181783 h 1218264"/>
                  <a:gd name="connsiteX36" fmla="*/ 135288 w 722891"/>
                  <a:gd name="connsiteY36" fmla="*/ 175846 h 1218264"/>
                  <a:gd name="connsiteX37" fmla="*/ 149115 w 722891"/>
                  <a:gd name="connsiteY37" fmla="*/ 186640 h 1218264"/>
                  <a:gd name="connsiteX38" fmla="*/ 173451 w 722891"/>
                  <a:gd name="connsiteY38" fmla="*/ 192037 h 1218264"/>
                  <a:gd name="connsiteX39" fmla="*/ 178982 w 722891"/>
                  <a:gd name="connsiteY39" fmla="*/ 196355 h 1218264"/>
                  <a:gd name="connsiteX40" fmla="*/ 196681 w 722891"/>
                  <a:gd name="connsiteY40" fmla="*/ 200133 h 1218264"/>
                  <a:gd name="connsiteX41" fmla="*/ 200553 w 722891"/>
                  <a:gd name="connsiteY41" fmla="*/ 167210 h 1218264"/>
                  <a:gd name="connsiteX42" fmla="*/ 203871 w 722891"/>
                  <a:gd name="connsiteY42" fmla="*/ 154257 h 1218264"/>
                  <a:gd name="connsiteX43" fmla="*/ 209402 w 722891"/>
                  <a:gd name="connsiteY43" fmla="*/ 144542 h 1218264"/>
                  <a:gd name="connsiteX44" fmla="*/ 213274 w 722891"/>
                  <a:gd name="connsiteY44" fmla="*/ 124032 h 1218264"/>
                  <a:gd name="connsiteX45" fmla="*/ 205531 w 722891"/>
                  <a:gd name="connsiteY45" fmla="*/ 114857 h 1218264"/>
                  <a:gd name="connsiteX46" fmla="*/ 202765 w 722891"/>
                  <a:gd name="connsiteY46" fmla="*/ 82474 h 1218264"/>
                  <a:gd name="connsiteX47" fmla="*/ 203871 w 722891"/>
                  <a:gd name="connsiteY47" fmla="*/ 70060 h 1218264"/>
                  <a:gd name="connsiteX48" fmla="*/ 207190 w 722891"/>
                  <a:gd name="connsiteY48" fmla="*/ 61424 h 1218264"/>
                  <a:gd name="connsiteX49" fmla="*/ 219358 w 722891"/>
                  <a:gd name="connsiteY49" fmla="*/ 37137 h 1218264"/>
                  <a:gd name="connsiteX50" fmla="*/ 245353 w 722891"/>
                  <a:gd name="connsiteY50" fmla="*/ 20945 h 1218264"/>
                  <a:gd name="connsiteX51" fmla="*/ 259180 w 722891"/>
                  <a:gd name="connsiteY51" fmla="*/ -104 h 1218264"/>
                  <a:gd name="connsiteX52" fmla="*/ 277433 w 722891"/>
                  <a:gd name="connsiteY52" fmla="*/ 13929 h 1218264"/>
                  <a:gd name="connsiteX53" fmla="*/ 316149 w 722891"/>
                  <a:gd name="connsiteY53" fmla="*/ 24183 h 1218264"/>
                  <a:gd name="connsiteX54" fmla="*/ 321127 w 722891"/>
                  <a:gd name="connsiteY54" fmla="*/ 28501 h 1218264"/>
                  <a:gd name="connsiteX55" fmla="*/ 331636 w 722891"/>
                  <a:gd name="connsiteY55" fmla="*/ 44153 h 1218264"/>
                  <a:gd name="connsiteX56" fmla="*/ 324445 w 722891"/>
                  <a:gd name="connsiteY56" fmla="*/ 73298 h 1218264"/>
                  <a:gd name="connsiteX57" fmla="*/ 339932 w 722891"/>
                  <a:gd name="connsiteY57" fmla="*/ 101364 h 1218264"/>
                  <a:gd name="connsiteX58" fmla="*/ 323339 w 722891"/>
                  <a:gd name="connsiteY58" fmla="*/ 115936 h 1218264"/>
                  <a:gd name="connsiteX59" fmla="*/ 335507 w 722891"/>
                  <a:gd name="connsiteY59" fmla="*/ 114857 h 1218264"/>
                  <a:gd name="connsiteX60" fmla="*/ 337166 w 722891"/>
                  <a:gd name="connsiteY60" fmla="*/ 152638 h 1218264"/>
                  <a:gd name="connsiteX61" fmla="*/ 358184 w 722891"/>
                  <a:gd name="connsiteY61" fmla="*/ 188259 h 1218264"/>
                  <a:gd name="connsiteX62" fmla="*/ 392476 w 722891"/>
                  <a:gd name="connsiteY62" fmla="*/ 194736 h 1218264"/>
                  <a:gd name="connsiteX63" fmla="*/ 409068 w 722891"/>
                  <a:gd name="connsiteY63" fmla="*/ 211467 h 1218264"/>
                  <a:gd name="connsiteX64" fmla="*/ 438935 w 722891"/>
                  <a:gd name="connsiteY64" fmla="*/ 225500 h 1218264"/>
                  <a:gd name="connsiteX65" fmla="*/ 442254 w 722891"/>
                  <a:gd name="connsiteY65" fmla="*/ 236295 h 1218264"/>
                  <a:gd name="connsiteX66" fmla="*/ 440595 w 722891"/>
                  <a:gd name="connsiteY66" fmla="*/ 268138 h 1218264"/>
                  <a:gd name="connsiteX67" fmla="*/ 428427 w 722891"/>
                  <a:gd name="connsiteY67" fmla="*/ 323730 h 1218264"/>
                  <a:gd name="connsiteX68" fmla="*/ 437276 w 722891"/>
                  <a:gd name="connsiteY68" fmla="*/ 338842 h 1218264"/>
                  <a:gd name="connsiteX69" fmla="*/ 471568 w 722891"/>
                  <a:gd name="connsiteY69" fmla="*/ 375543 h 1218264"/>
                  <a:gd name="connsiteX70" fmla="*/ 506413 w 722891"/>
                  <a:gd name="connsiteY70" fmla="*/ 404688 h 1218264"/>
                  <a:gd name="connsiteX71" fmla="*/ 530749 w 722891"/>
                  <a:gd name="connsiteY71" fmla="*/ 443548 h 1218264"/>
                  <a:gd name="connsiteX72" fmla="*/ 514709 w 722891"/>
                  <a:gd name="connsiteY72" fmla="*/ 456502 h 1218264"/>
                  <a:gd name="connsiteX73" fmla="*/ 520793 w 722891"/>
                  <a:gd name="connsiteY73" fmla="*/ 468915 h 1218264"/>
                  <a:gd name="connsiteX74" fmla="*/ 524112 w 722891"/>
                  <a:gd name="connsiteY74" fmla="*/ 502378 h 1218264"/>
                  <a:gd name="connsiteX75" fmla="*/ 542364 w 722891"/>
                  <a:gd name="connsiteY75" fmla="*/ 505077 h 1218264"/>
                  <a:gd name="connsiteX76" fmla="*/ 536280 w 722891"/>
                  <a:gd name="connsiteY76" fmla="*/ 521269 h 1218264"/>
                  <a:gd name="connsiteX77" fmla="*/ 542364 w 722891"/>
                  <a:gd name="connsiteY77" fmla="*/ 539619 h 1218264"/>
                  <a:gd name="connsiteX78" fmla="*/ 551213 w 722891"/>
                  <a:gd name="connsiteY78" fmla="*/ 548795 h 1218264"/>
                  <a:gd name="connsiteX79" fmla="*/ 568359 w 722891"/>
                  <a:gd name="connsiteY79" fmla="*/ 548255 h 1218264"/>
                  <a:gd name="connsiteX80" fmla="*/ 574996 w 722891"/>
                  <a:gd name="connsiteY80" fmla="*/ 555811 h 1218264"/>
                  <a:gd name="connsiteX81" fmla="*/ 572231 w 722891"/>
                  <a:gd name="connsiteY81" fmla="*/ 566605 h 1218264"/>
                  <a:gd name="connsiteX82" fmla="*/ 580527 w 722891"/>
                  <a:gd name="connsiteY82" fmla="*/ 587115 h 1218264"/>
                  <a:gd name="connsiteX83" fmla="*/ 611500 w 722891"/>
                  <a:gd name="connsiteY83" fmla="*/ 601148 h 1218264"/>
                  <a:gd name="connsiteX84" fmla="*/ 615925 w 722891"/>
                  <a:gd name="connsiteY84" fmla="*/ 608164 h 1218264"/>
                  <a:gd name="connsiteX85" fmla="*/ 618690 w 722891"/>
                  <a:gd name="connsiteY85" fmla="*/ 618959 h 1218264"/>
                  <a:gd name="connsiteX86" fmla="*/ 613712 w 722891"/>
                  <a:gd name="connsiteY86" fmla="*/ 645945 h 1218264"/>
                  <a:gd name="connsiteX87" fmla="*/ 606522 w 722891"/>
                  <a:gd name="connsiteY87" fmla="*/ 656739 h 1218264"/>
                  <a:gd name="connsiteX88" fmla="*/ 643579 w 722891"/>
                  <a:gd name="connsiteY88" fmla="*/ 690742 h 1218264"/>
                  <a:gd name="connsiteX89" fmla="*/ 686721 w 722891"/>
                  <a:gd name="connsiteY89" fmla="*/ 695599 h 1218264"/>
                  <a:gd name="connsiteX90" fmla="*/ 689486 w 722891"/>
                  <a:gd name="connsiteY90" fmla="*/ 702076 h 1218264"/>
                  <a:gd name="connsiteX91" fmla="*/ 717141 w 722891"/>
                  <a:gd name="connsiteY91" fmla="*/ 723125 h 1218264"/>
                  <a:gd name="connsiteX92" fmla="*/ 722119 w 722891"/>
                  <a:gd name="connsiteY92" fmla="*/ 774939 h 1218264"/>
                  <a:gd name="connsiteX93" fmla="*/ 704973 w 722891"/>
                  <a:gd name="connsiteY93" fmla="*/ 813259 h 1218264"/>
                  <a:gd name="connsiteX94" fmla="*/ 695017 w 722891"/>
                  <a:gd name="connsiteY94" fmla="*/ 859675 h 1218264"/>
                  <a:gd name="connsiteX95" fmla="*/ 674000 w 722891"/>
                  <a:gd name="connsiteY95" fmla="*/ 924442 h 1218264"/>
                  <a:gd name="connsiteX96" fmla="*/ 646345 w 722891"/>
                  <a:gd name="connsiteY96" fmla="*/ 974636 h 1218264"/>
                  <a:gd name="connsiteX97" fmla="*/ 629199 w 722891"/>
                  <a:gd name="connsiteY97" fmla="*/ 1018354 h 1218264"/>
                  <a:gd name="connsiteX98" fmla="*/ 622009 w 722891"/>
                  <a:gd name="connsiteY98" fmla="*/ 1030767 h 1218264"/>
                  <a:gd name="connsiteX99" fmla="*/ 615372 w 722891"/>
                  <a:gd name="connsiteY99" fmla="*/ 1057754 h 1218264"/>
                  <a:gd name="connsiteX100" fmla="*/ 610947 w 722891"/>
                  <a:gd name="connsiteY100" fmla="*/ 1058293 h 1218264"/>
                  <a:gd name="connsiteX101" fmla="*/ 588823 w 722891"/>
                  <a:gd name="connsiteY101" fmla="*/ 1071247 h 1218264"/>
                  <a:gd name="connsiteX102" fmla="*/ 561722 w 722891"/>
                  <a:gd name="connsiteY102" fmla="*/ 1076644 h 1218264"/>
                  <a:gd name="connsiteX103" fmla="*/ 540704 w 722891"/>
                  <a:gd name="connsiteY103" fmla="*/ 1090677 h 1218264"/>
                  <a:gd name="connsiteX104" fmla="*/ 527430 w 722891"/>
                  <a:gd name="connsiteY104" fmla="*/ 1099852 h 1218264"/>
                  <a:gd name="connsiteX105" fmla="*/ 516368 w 722891"/>
                  <a:gd name="connsiteY105" fmla="*/ 1104710 h 1218264"/>
                  <a:gd name="connsiteX106" fmla="*/ 505860 w 722891"/>
                  <a:gd name="connsiteY106" fmla="*/ 1120362 h 1218264"/>
                  <a:gd name="connsiteX107" fmla="*/ 486501 w 722891"/>
                  <a:gd name="connsiteY107" fmla="*/ 1122520 h 1218264"/>
                  <a:gd name="connsiteX108" fmla="*/ 466037 w 722891"/>
                  <a:gd name="connsiteY108" fmla="*/ 1141950 h 1218264"/>
                  <a:gd name="connsiteX109" fmla="*/ 445019 w 722891"/>
                  <a:gd name="connsiteY109" fmla="*/ 1154364 h 1218264"/>
                  <a:gd name="connsiteX110" fmla="*/ 434511 w 722891"/>
                  <a:gd name="connsiteY110" fmla="*/ 1170556 h 1218264"/>
                  <a:gd name="connsiteX111" fmla="*/ 424555 w 722891"/>
                  <a:gd name="connsiteY111" fmla="*/ 1169476 h 1218264"/>
                  <a:gd name="connsiteX112" fmla="*/ 397453 w 722891"/>
                  <a:gd name="connsiteY112" fmla="*/ 1185128 h 1218264"/>
                  <a:gd name="connsiteX113" fmla="*/ 378095 w 722891"/>
                  <a:gd name="connsiteY113" fmla="*/ 1194843 h 1218264"/>
                  <a:gd name="connsiteX114" fmla="*/ 355972 w 722891"/>
                  <a:gd name="connsiteY114" fmla="*/ 1213194 h 1218264"/>
                  <a:gd name="connsiteX115" fmla="*/ 355418 w 722891"/>
                  <a:gd name="connsiteY115" fmla="*/ 1211575 h 1218264"/>
                  <a:gd name="connsiteX116" fmla="*/ 363162 w 722891"/>
                  <a:gd name="connsiteY116" fmla="*/ 1198082 h 1218264"/>
                  <a:gd name="connsiteX117" fmla="*/ 358737 w 722891"/>
                  <a:gd name="connsiteY117" fmla="*/ 1193224 h 1218264"/>
                  <a:gd name="connsiteX118" fmla="*/ 359843 w 722891"/>
                  <a:gd name="connsiteY118" fmla="*/ 1185128 h 1218264"/>
                  <a:gd name="connsiteX119" fmla="*/ 347675 w 722891"/>
                  <a:gd name="connsiteY119" fmla="*/ 1180811 h 1218264"/>
                  <a:gd name="connsiteX120" fmla="*/ 343250 w 722891"/>
                  <a:gd name="connsiteY120" fmla="*/ 1151665 h 1218264"/>
                  <a:gd name="connsiteX121" fmla="*/ 318361 w 722891"/>
                  <a:gd name="connsiteY121" fmla="*/ 1170556 h 1218264"/>
                  <a:gd name="connsiteX122" fmla="*/ 306746 w 722891"/>
                  <a:gd name="connsiteY122" fmla="*/ 1157063 h 1218264"/>
                  <a:gd name="connsiteX123" fmla="*/ 281857 w 722891"/>
                  <a:gd name="connsiteY123" fmla="*/ 1151665 h 1218264"/>
                  <a:gd name="connsiteX124" fmla="*/ 273561 w 722891"/>
                  <a:gd name="connsiteY124" fmla="*/ 1147887 h 1218264"/>
                  <a:gd name="connsiteX125" fmla="*/ 269689 w 722891"/>
                  <a:gd name="connsiteY125" fmla="*/ 1147348 h 1218264"/>
                  <a:gd name="connsiteX126" fmla="*/ 264711 w 722891"/>
                  <a:gd name="connsiteY126" fmla="*/ 1139792 h 1218264"/>
                  <a:gd name="connsiteX127" fmla="*/ 245906 w 722891"/>
                  <a:gd name="connsiteY127" fmla="*/ 1147348 h 1218264"/>
                  <a:gd name="connsiteX128" fmla="*/ 235398 w 722891"/>
                  <a:gd name="connsiteY128" fmla="*/ 1116044 h 1218264"/>
                  <a:gd name="connsiteX129" fmla="*/ 227654 w 722891"/>
                  <a:gd name="connsiteY129" fmla="*/ 1100931 h 1218264"/>
                  <a:gd name="connsiteX130" fmla="*/ 227101 w 722891"/>
                  <a:gd name="connsiteY130" fmla="*/ 1094455 h 1218264"/>
                  <a:gd name="connsiteX131" fmla="*/ 229867 w 722891"/>
                  <a:gd name="connsiteY131" fmla="*/ 1077184 h 1218264"/>
                  <a:gd name="connsiteX132" fmla="*/ 228760 w 722891"/>
                  <a:gd name="connsiteY132" fmla="*/ 1055595 h 1218264"/>
                  <a:gd name="connsiteX133" fmla="*/ 223783 w 722891"/>
                  <a:gd name="connsiteY133" fmla="*/ 1039943 h 1218264"/>
                  <a:gd name="connsiteX134" fmla="*/ 227101 w 722891"/>
                  <a:gd name="connsiteY134" fmla="*/ 1019973 h 1218264"/>
                  <a:gd name="connsiteX135" fmla="*/ 213274 w 722891"/>
                  <a:gd name="connsiteY135" fmla="*/ 998384 h 1218264"/>
                  <a:gd name="connsiteX136" fmla="*/ 198893 w 722891"/>
                  <a:gd name="connsiteY136" fmla="*/ 982732 h 1218264"/>
                  <a:gd name="connsiteX137" fmla="*/ 198340 w 722891"/>
                  <a:gd name="connsiteY137" fmla="*/ 955206 h 1218264"/>
                  <a:gd name="connsiteX138" fmla="*/ 181194 w 722891"/>
                  <a:gd name="connsiteY138" fmla="*/ 934157 h 1218264"/>
                  <a:gd name="connsiteX139" fmla="*/ 171239 w 722891"/>
                  <a:gd name="connsiteY139" fmla="*/ 900694 h 1218264"/>
                  <a:gd name="connsiteX140" fmla="*/ 177323 w 722891"/>
                  <a:gd name="connsiteY140" fmla="*/ 882883 h 1218264"/>
                  <a:gd name="connsiteX141" fmla="*/ 181748 w 722891"/>
                  <a:gd name="connsiteY141" fmla="*/ 878026 h 1218264"/>
                  <a:gd name="connsiteX142" fmla="*/ 180641 w 722891"/>
                  <a:gd name="connsiteY142" fmla="*/ 860215 h 1218264"/>
                  <a:gd name="connsiteX143" fmla="*/ 189491 w 722891"/>
                  <a:gd name="connsiteY143" fmla="*/ 858056 h 1218264"/>
                  <a:gd name="connsiteX144" fmla="*/ 183960 w 722891"/>
                  <a:gd name="connsiteY144" fmla="*/ 844023 h 1218264"/>
                  <a:gd name="connsiteX145" fmla="*/ 206084 w 722891"/>
                  <a:gd name="connsiteY145" fmla="*/ 841325 h 1218264"/>
                  <a:gd name="connsiteX146" fmla="*/ 219911 w 722891"/>
                  <a:gd name="connsiteY146" fmla="*/ 821894 h 1218264"/>
                  <a:gd name="connsiteX147" fmla="*/ 218252 w 722891"/>
                  <a:gd name="connsiteY147" fmla="*/ 813259 h 1218264"/>
                  <a:gd name="connsiteX148" fmla="*/ 207743 w 722891"/>
                  <a:gd name="connsiteY148" fmla="*/ 804084 h 1218264"/>
                  <a:gd name="connsiteX149" fmla="*/ 207743 w 722891"/>
                  <a:gd name="connsiteY149" fmla="*/ 801925 h 1218264"/>
                  <a:gd name="connsiteX150" fmla="*/ 218252 w 722891"/>
                  <a:gd name="connsiteY150" fmla="*/ 801925 h 1218264"/>
                  <a:gd name="connsiteX151" fmla="*/ 223229 w 722891"/>
                  <a:gd name="connsiteY151" fmla="*/ 776018 h 1218264"/>
                  <a:gd name="connsiteX152" fmla="*/ 235951 w 722891"/>
                  <a:gd name="connsiteY152" fmla="*/ 776018 h 1218264"/>
                  <a:gd name="connsiteX153" fmla="*/ 238716 w 722891"/>
                  <a:gd name="connsiteY153" fmla="*/ 773859 h 1218264"/>
                  <a:gd name="connsiteX154" fmla="*/ 247012 w 722891"/>
                  <a:gd name="connsiteY154" fmla="*/ 755509 h 1218264"/>
                  <a:gd name="connsiteX155" fmla="*/ 251437 w 722891"/>
                  <a:gd name="connsiteY155" fmla="*/ 749032 h 1218264"/>
                  <a:gd name="connsiteX156" fmla="*/ 254203 w 722891"/>
                  <a:gd name="connsiteY156" fmla="*/ 738237 h 1218264"/>
                  <a:gd name="connsiteX157" fmla="*/ 263605 w 722891"/>
                  <a:gd name="connsiteY157" fmla="*/ 718807 h 1218264"/>
                  <a:gd name="connsiteX158" fmla="*/ 268583 w 722891"/>
                  <a:gd name="connsiteY158" fmla="*/ 700457 h 1218264"/>
                  <a:gd name="connsiteX159" fmla="*/ 282963 w 722891"/>
                  <a:gd name="connsiteY159" fmla="*/ 677249 h 1218264"/>
                  <a:gd name="connsiteX160" fmla="*/ 290154 w 722891"/>
                  <a:gd name="connsiteY160" fmla="*/ 659438 h 1218264"/>
                  <a:gd name="connsiteX161" fmla="*/ 294578 w 722891"/>
                  <a:gd name="connsiteY161" fmla="*/ 621117 h 1218264"/>
                  <a:gd name="connsiteX162" fmla="*/ 315043 w 722891"/>
                  <a:gd name="connsiteY162" fmla="*/ 607624 h 1218264"/>
                  <a:gd name="connsiteX163" fmla="*/ 329423 w 722891"/>
                  <a:gd name="connsiteY163" fmla="*/ 606545 h 1218264"/>
                  <a:gd name="connsiteX164" fmla="*/ 319468 w 722891"/>
                  <a:gd name="connsiteY164" fmla="*/ 593052 h 1218264"/>
                  <a:gd name="connsiteX165" fmla="*/ 312830 w 722891"/>
                  <a:gd name="connsiteY165" fmla="*/ 567685 h 1218264"/>
                  <a:gd name="connsiteX166" fmla="*/ 305640 w 722891"/>
                  <a:gd name="connsiteY166" fmla="*/ 536921 h 1218264"/>
                  <a:gd name="connsiteX167" fmla="*/ 298450 w 722891"/>
                  <a:gd name="connsiteY167" fmla="*/ 534762 h 1218264"/>
                  <a:gd name="connsiteX168" fmla="*/ 285729 w 722891"/>
                  <a:gd name="connsiteY168" fmla="*/ 525047 h 1218264"/>
                  <a:gd name="connsiteX169" fmla="*/ 266371 w 722891"/>
                  <a:gd name="connsiteY169" fmla="*/ 524507 h 1218264"/>
                  <a:gd name="connsiteX170" fmla="*/ 255309 w 722891"/>
                  <a:gd name="connsiteY170" fmla="*/ 511554 h 1218264"/>
                  <a:gd name="connsiteX171" fmla="*/ 239822 w 722891"/>
                  <a:gd name="connsiteY171" fmla="*/ 517491 h 1218264"/>
                  <a:gd name="connsiteX172" fmla="*/ 215486 w 722891"/>
                  <a:gd name="connsiteY172" fmla="*/ 478091 h 1218264"/>
                  <a:gd name="connsiteX173" fmla="*/ 201106 w 722891"/>
                  <a:gd name="connsiteY173" fmla="*/ 465137 h 1218264"/>
                  <a:gd name="connsiteX174" fmla="*/ 198340 w 722891"/>
                  <a:gd name="connsiteY174" fmla="*/ 443009 h 1218264"/>
                  <a:gd name="connsiteX175" fmla="*/ 202765 w 722891"/>
                  <a:gd name="connsiteY175" fmla="*/ 428436 h 1218264"/>
                  <a:gd name="connsiteX176" fmla="*/ 199447 w 722891"/>
                  <a:gd name="connsiteY176" fmla="*/ 417642 h 1218264"/>
                  <a:gd name="connsiteX177" fmla="*/ 198340 w 722891"/>
                  <a:gd name="connsiteY177" fmla="*/ 399831 h 1218264"/>
                  <a:gd name="connsiteX178" fmla="*/ 167920 w 722891"/>
                  <a:gd name="connsiteY178" fmla="*/ 367447 h 1218264"/>
                  <a:gd name="connsiteX179" fmla="*/ 315043 w 722891"/>
                  <a:gd name="connsiteY179" fmla="*/ 1178112 h 1218264"/>
                  <a:gd name="connsiteX180" fmla="*/ 334401 w 722891"/>
                  <a:gd name="connsiteY180" fmla="*/ 1170556 h 1218264"/>
                  <a:gd name="connsiteX181" fmla="*/ 332742 w 722891"/>
                  <a:gd name="connsiteY181" fmla="*/ 1187827 h 1218264"/>
                  <a:gd name="connsiteX182" fmla="*/ 322786 w 722891"/>
                  <a:gd name="connsiteY182" fmla="*/ 1195923 h 1218264"/>
                  <a:gd name="connsiteX183" fmla="*/ 315043 w 722891"/>
                  <a:gd name="connsiteY183" fmla="*/ 1195923 h 1218264"/>
                  <a:gd name="connsiteX184" fmla="*/ 315043 w 722891"/>
                  <a:gd name="connsiteY184" fmla="*/ 1178112 h 1218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</a:cxnLst>
                <a:rect l="l" t="t" r="r" b="b"/>
                <a:pathLst>
                  <a:path w="722891" h="1218264">
                    <a:moveTo>
                      <a:pt x="172345" y="1192684"/>
                    </a:moveTo>
                    <a:cubicBezTo>
                      <a:pt x="170133" y="1195383"/>
                      <a:pt x="173451" y="1210495"/>
                      <a:pt x="171792" y="1212114"/>
                    </a:cubicBezTo>
                    <a:cubicBezTo>
                      <a:pt x="171239" y="1213194"/>
                      <a:pt x="166814" y="1215893"/>
                      <a:pt x="165708" y="1216432"/>
                    </a:cubicBezTo>
                    <a:cubicBezTo>
                      <a:pt x="164602" y="1216972"/>
                      <a:pt x="160730" y="1218591"/>
                      <a:pt x="159624" y="1218051"/>
                    </a:cubicBezTo>
                    <a:cubicBezTo>
                      <a:pt x="157965" y="1216972"/>
                      <a:pt x="157412" y="1211035"/>
                      <a:pt x="156858" y="1209416"/>
                    </a:cubicBezTo>
                    <a:cubicBezTo>
                      <a:pt x="155199" y="1206178"/>
                      <a:pt x="152434" y="1202939"/>
                      <a:pt x="151328" y="1199701"/>
                    </a:cubicBezTo>
                    <a:lnTo>
                      <a:pt x="151328" y="1197002"/>
                    </a:lnTo>
                    <a:cubicBezTo>
                      <a:pt x="154646" y="1195923"/>
                      <a:pt x="157412" y="1197002"/>
                      <a:pt x="159624" y="1196462"/>
                    </a:cubicBezTo>
                    <a:cubicBezTo>
                      <a:pt x="160730" y="1196462"/>
                      <a:pt x="166261" y="1189446"/>
                      <a:pt x="166261" y="1188367"/>
                    </a:cubicBezTo>
                    <a:cubicBezTo>
                      <a:pt x="166814" y="1187827"/>
                      <a:pt x="166261" y="1186208"/>
                      <a:pt x="165708" y="1185668"/>
                    </a:cubicBezTo>
                    <a:cubicBezTo>
                      <a:pt x="164049" y="1182969"/>
                      <a:pt x="157412" y="1184049"/>
                      <a:pt x="155752" y="1182430"/>
                    </a:cubicBezTo>
                    <a:cubicBezTo>
                      <a:pt x="152434" y="1180811"/>
                      <a:pt x="157412" y="1177032"/>
                      <a:pt x="160177" y="1177032"/>
                    </a:cubicBezTo>
                    <a:cubicBezTo>
                      <a:pt x="171239" y="1177572"/>
                      <a:pt x="181748" y="1191605"/>
                      <a:pt x="180088" y="1202399"/>
                    </a:cubicBezTo>
                    <a:cubicBezTo>
                      <a:pt x="176770" y="1201320"/>
                      <a:pt x="174557" y="1193224"/>
                      <a:pt x="172345" y="1192684"/>
                    </a:cubicBezTo>
                    <a:close/>
                    <a:moveTo>
                      <a:pt x="167920" y="367447"/>
                    </a:moveTo>
                    <a:cubicBezTo>
                      <a:pt x="167367" y="358272"/>
                      <a:pt x="171792" y="353415"/>
                      <a:pt x="171239" y="345319"/>
                    </a:cubicBezTo>
                    <a:cubicBezTo>
                      <a:pt x="170686" y="333445"/>
                      <a:pt x="157412" y="338842"/>
                      <a:pt x="155752" y="330746"/>
                    </a:cubicBezTo>
                    <a:cubicBezTo>
                      <a:pt x="154093" y="325349"/>
                      <a:pt x="156858" y="318872"/>
                      <a:pt x="155752" y="312935"/>
                    </a:cubicBezTo>
                    <a:cubicBezTo>
                      <a:pt x="154646" y="308078"/>
                      <a:pt x="143584" y="294585"/>
                      <a:pt x="143031" y="293505"/>
                    </a:cubicBezTo>
                    <a:cubicBezTo>
                      <a:pt x="142478" y="289188"/>
                      <a:pt x="146903" y="283251"/>
                      <a:pt x="144137" y="274075"/>
                    </a:cubicBezTo>
                    <a:cubicBezTo>
                      <a:pt x="141372" y="263821"/>
                      <a:pt x="134735" y="267599"/>
                      <a:pt x="127545" y="264360"/>
                    </a:cubicBezTo>
                    <a:cubicBezTo>
                      <a:pt x="122014" y="262201"/>
                      <a:pt x="114270" y="248708"/>
                      <a:pt x="108186" y="243851"/>
                    </a:cubicBezTo>
                    <a:cubicBezTo>
                      <a:pt x="105421" y="241152"/>
                      <a:pt x="102102" y="239533"/>
                      <a:pt x="99337" y="237914"/>
                    </a:cubicBezTo>
                    <a:cubicBezTo>
                      <a:pt x="97125" y="236295"/>
                      <a:pt x="94912" y="234676"/>
                      <a:pt x="92147" y="234136"/>
                    </a:cubicBezTo>
                    <a:cubicBezTo>
                      <a:pt x="79426" y="230358"/>
                      <a:pt x="65598" y="229818"/>
                      <a:pt x="52324" y="226040"/>
                    </a:cubicBezTo>
                    <a:cubicBezTo>
                      <a:pt x="29647" y="219563"/>
                      <a:pt x="14714" y="201752"/>
                      <a:pt x="1440" y="183402"/>
                    </a:cubicBezTo>
                    <a:lnTo>
                      <a:pt x="4205" y="179624"/>
                    </a:lnTo>
                    <a:lnTo>
                      <a:pt x="-773" y="162353"/>
                    </a:lnTo>
                    <a:lnTo>
                      <a:pt x="9183" y="147240"/>
                    </a:lnTo>
                    <a:lnTo>
                      <a:pt x="34072" y="149939"/>
                    </a:lnTo>
                    <a:lnTo>
                      <a:pt x="63939" y="190958"/>
                    </a:lnTo>
                    <a:lnTo>
                      <a:pt x="68364" y="203911"/>
                    </a:lnTo>
                    <a:lnTo>
                      <a:pt x="100443" y="203372"/>
                    </a:lnTo>
                    <a:lnTo>
                      <a:pt x="111505" y="206610"/>
                    </a:lnTo>
                    <a:lnTo>
                      <a:pt x="128098" y="192577"/>
                    </a:lnTo>
                    <a:lnTo>
                      <a:pt x="129204" y="181783"/>
                    </a:lnTo>
                    <a:lnTo>
                      <a:pt x="135288" y="175846"/>
                    </a:lnTo>
                    <a:lnTo>
                      <a:pt x="149115" y="186640"/>
                    </a:lnTo>
                    <a:lnTo>
                      <a:pt x="173451" y="192037"/>
                    </a:lnTo>
                    <a:lnTo>
                      <a:pt x="178982" y="196355"/>
                    </a:lnTo>
                    <a:lnTo>
                      <a:pt x="196681" y="200133"/>
                    </a:lnTo>
                    <a:cubicBezTo>
                      <a:pt x="198340" y="189339"/>
                      <a:pt x="198893" y="178005"/>
                      <a:pt x="200553" y="167210"/>
                    </a:cubicBezTo>
                    <a:lnTo>
                      <a:pt x="203871" y="154257"/>
                    </a:lnTo>
                    <a:cubicBezTo>
                      <a:pt x="205531" y="151018"/>
                      <a:pt x="208296" y="147780"/>
                      <a:pt x="209402" y="144542"/>
                    </a:cubicBezTo>
                    <a:cubicBezTo>
                      <a:pt x="211061" y="141303"/>
                      <a:pt x="214933" y="126731"/>
                      <a:pt x="213274" y="124032"/>
                    </a:cubicBezTo>
                    <a:cubicBezTo>
                      <a:pt x="212168" y="120794"/>
                      <a:pt x="207743" y="117556"/>
                      <a:pt x="205531" y="114857"/>
                    </a:cubicBezTo>
                    <a:cubicBezTo>
                      <a:pt x="195575" y="103523"/>
                      <a:pt x="201659" y="94887"/>
                      <a:pt x="202765" y="82474"/>
                    </a:cubicBezTo>
                    <a:cubicBezTo>
                      <a:pt x="203318" y="78156"/>
                      <a:pt x="202765" y="73838"/>
                      <a:pt x="203871" y="70060"/>
                    </a:cubicBezTo>
                    <a:cubicBezTo>
                      <a:pt x="204424" y="66822"/>
                      <a:pt x="206084" y="64123"/>
                      <a:pt x="207190" y="61424"/>
                    </a:cubicBezTo>
                    <a:cubicBezTo>
                      <a:pt x="211615" y="49550"/>
                      <a:pt x="209955" y="47392"/>
                      <a:pt x="219358" y="37137"/>
                    </a:cubicBezTo>
                    <a:cubicBezTo>
                      <a:pt x="229867" y="24723"/>
                      <a:pt x="238163" y="31200"/>
                      <a:pt x="245353" y="20945"/>
                    </a:cubicBezTo>
                    <a:cubicBezTo>
                      <a:pt x="251437" y="11770"/>
                      <a:pt x="248672" y="7452"/>
                      <a:pt x="259180" y="-104"/>
                    </a:cubicBezTo>
                    <a:lnTo>
                      <a:pt x="277433" y="13929"/>
                    </a:lnTo>
                    <a:lnTo>
                      <a:pt x="316149" y="24183"/>
                    </a:lnTo>
                    <a:lnTo>
                      <a:pt x="321127" y="28501"/>
                    </a:lnTo>
                    <a:lnTo>
                      <a:pt x="331636" y="44153"/>
                    </a:lnTo>
                    <a:lnTo>
                      <a:pt x="324445" y="73298"/>
                    </a:lnTo>
                    <a:lnTo>
                      <a:pt x="339932" y="101364"/>
                    </a:lnTo>
                    <a:cubicBezTo>
                      <a:pt x="331636" y="105142"/>
                      <a:pt x="323339" y="104602"/>
                      <a:pt x="323339" y="115936"/>
                    </a:cubicBezTo>
                    <a:lnTo>
                      <a:pt x="335507" y="114857"/>
                    </a:lnTo>
                    <a:lnTo>
                      <a:pt x="337166" y="152638"/>
                    </a:lnTo>
                    <a:lnTo>
                      <a:pt x="358184" y="188259"/>
                    </a:lnTo>
                    <a:lnTo>
                      <a:pt x="392476" y="194736"/>
                    </a:lnTo>
                    <a:lnTo>
                      <a:pt x="409068" y="211467"/>
                    </a:lnTo>
                    <a:lnTo>
                      <a:pt x="438935" y="225500"/>
                    </a:lnTo>
                    <a:lnTo>
                      <a:pt x="442254" y="236295"/>
                    </a:lnTo>
                    <a:lnTo>
                      <a:pt x="440595" y="268138"/>
                    </a:lnTo>
                    <a:lnTo>
                      <a:pt x="428427" y="323730"/>
                    </a:lnTo>
                    <a:lnTo>
                      <a:pt x="437276" y="338842"/>
                    </a:lnTo>
                    <a:lnTo>
                      <a:pt x="471568" y="375543"/>
                    </a:lnTo>
                    <a:lnTo>
                      <a:pt x="506413" y="404688"/>
                    </a:lnTo>
                    <a:lnTo>
                      <a:pt x="530749" y="443548"/>
                    </a:lnTo>
                    <a:lnTo>
                      <a:pt x="514709" y="456502"/>
                    </a:lnTo>
                    <a:lnTo>
                      <a:pt x="520793" y="468915"/>
                    </a:lnTo>
                    <a:lnTo>
                      <a:pt x="524112" y="502378"/>
                    </a:lnTo>
                    <a:lnTo>
                      <a:pt x="542364" y="505077"/>
                    </a:lnTo>
                    <a:lnTo>
                      <a:pt x="536280" y="521269"/>
                    </a:lnTo>
                    <a:lnTo>
                      <a:pt x="542364" y="539619"/>
                    </a:lnTo>
                    <a:lnTo>
                      <a:pt x="551213" y="548795"/>
                    </a:lnTo>
                    <a:lnTo>
                      <a:pt x="568359" y="548255"/>
                    </a:lnTo>
                    <a:lnTo>
                      <a:pt x="574996" y="555811"/>
                    </a:lnTo>
                    <a:lnTo>
                      <a:pt x="572231" y="566605"/>
                    </a:lnTo>
                    <a:lnTo>
                      <a:pt x="580527" y="587115"/>
                    </a:lnTo>
                    <a:lnTo>
                      <a:pt x="611500" y="601148"/>
                    </a:lnTo>
                    <a:lnTo>
                      <a:pt x="615925" y="608164"/>
                    </a:lnTo>
                    <a:lnTo>
                      <a:pt x="618690" y="618959"/>
                    </a:lnTo>
                    <a:lnTo>
                      <a:pt x="613712" y="645945"/>
                    </a:lnTo>
                    <a:lnTo>
                      <a:pt x="606522" y="656739"/>
                    </a:lnTo>
                    <a:lnTo>
                      <a:pt x="643579" y="690742"/>
                    </a:lnTo>
                    <a:lnTo>
                      <a:pt x="686721" y="695599"/>
                    </a:lnTo>
                    <a:lnTo>
                      <a:pt x="689486" y="702076"/>
                    </a:lnTo>
                    <a:lnTo>
                      <a:pt x="717141" y="723125"/>
                    </a:lnTo>
                    <a:lnTo>
                      <a:pt x="722119" y="774939"/>
                    </a:lnTo>
                    <a:lnTo>
                      <a:pt x="704973" y="813259"/>
                    </a:lnTo>
                    <a:lnTo>
                      <a:pt x="695017" y="859675"/>
                    </a:lnTo>
                    <a:lnTo>
                      <a:pt x="674000" y="924442"/>
                    </a:lnTo>
                    <a:lnTo>
                      <a:pt x="646345" y="974636"/>
                    </a:lnTo>
                    <a:lnTo>
                      <a:pt x="629199" y="1018354"/>
                    </a:lnTo>
                    <a:lnTo>
                      <a:pt x="622009" y="1030767"/>
                    </a:lnTo>
                    <a:lnTo>
                      <a:pt x="615372" y="1057754"/>
                    </a:lnTo>
                    <a:cubicBezTo>
                      <a:pt x="614266" y="1057754"/>
                      <a:pt x="612053" y="1057754"/>
                      <a:pt x="610947" y="1058293"/>
                    </a:cubicBezTo>
                    <a:cubicBezTo>
                      <a:pt x="603204" y="1061532"/>
                      <a:pt x="598779" y="1069628"/>
                      <a:pt x="588823" y="1071247"/>
                    </a:cubicBezTo>
                    <a:cubicBezTo>
                      <a:pt x="577208" y="1073406"/>
                      <a:pt x="573890" y="1069088"/>
                      <a:pt x="561722" y="1076644"/>
                    </a:cubicBezTo>
                    <a:cubicBezTo>
                      <a:pt x="552319" y="1082041"/>
                      <a:pt x="552319" y="1086899"/>
                      <a:pt x="540704" y="1090677"/>
                    </a:cubicBezTo>
                    <a:cubicBezTo>
                      <a:pt x="534620" y="1092296"/>
                      <a:pt x="532408" y="1097153"/>
                      <a:pt x="527430" y="1099852"/>
                    </a:cubicBezTo>
                    <a:cubicBezTo>
                      <a:pt x="524112" y="1102011"/>
                      <a:pt x="519687" y="1102011"/>
                      <a:pt x="516368" y="1104710"/>
                    </a:cubicBezTo>
                    <a:cubicBezTo>
                      <a:pt x="514156" y="1106868"/>
                      <a:pt x="514709" y="1117663"/>
                      <a:pt x="505860" y="1120362"/>
                    </a:cubicBezTo>
                    <a:cubicBezTo>
                      <a:pt x="501988" y="1121441"/>
                      <a:pt x="496457" y="1116583"/>
                      <a:pt x="486501" y="1122520"/>
                    </a:cubicBezTo>
                    <a:cubicBezTo>
                      <a:pt x="478758" y="1127378"/>
                      <a:pt x="473227" y="1136553"/>
                      <a:pt x="466037" y="1141950"/>
                    </a:cubicBezTo>
                    <a:cubicBezTo>
                      <a:pt x="459953" y="1146808"/>
                      <a:pt x="450550" y="1148967"/>
                      <a:pt x="445019" y="1154364"/>
                    </a:cubicBezTo>
                    <a:cubicBezTo>
                      <a:pt x="440042" y="1158682"/>
                      <a:pt x="440042" y="1166778"/>
                      <a:pt x="434511" y="1170556"/>
                    </a:cubicBezTo>
                    <a:cubicBezTo>
                      <a:pt x="431745" y="1170556"/>
                      <a:pt x="426767" y="1168397"/>
                      <a:pt x="424555" y="1169476"/>
                    </a:cubicBezTo>
                    <a:cubicBezTo>
                      <a:pt x="415152" y="1172175"/>
                      <a:pt x="405750" y="1180271"/>
                      <a:pt x="397453" y="1185128"/>
                    </a:cubicBezTo>
                    <a:cubicBezTo>
                      <a:pt x="391369" y="1188367"/>
                      <a:pt x="383626" y="1190526"/>
                      <a:pt x="378095" y="1194843"/>
                    </a:cubicBezTo>
                    <a:cubicBezTo>
                      <a:pt x="372011" y="1199161"/>
                      <a:pt x="364268" y="1216972"/>
                      <a:pt x="355972" y="1213194"/>
                    </a:cubicBezTo>
                    <a:lnTo>
                      <a:pt x="355418" y="1211575"/>
                    </a:lnTo>
                    <a:cubicBezTo>
                      <a:pt x="358184" y="1207257"/>
                      <a:pt x="362609" y="1203479"/>
                      <a:pt x="363162" y="1198082"/>
                    </a:cubicBezTo>
                    <a:cubicBezTo>
                      <a:pt x="362609" y="1197002"/>
                      <a:pt x="359290" y="1194843"/>
                      <a:pt x="358737" y="1193224"/>
                    </a:cubicBezTo>
                    <a:cubicBezTo>
                      <a:pt x="358184" y="1191605"/>
                      <a:pt x="360949" y="1186747"/>
                      <a:pt x="359843" y="1185128"/>
                    </a:cubicBezTo>
                    <a:cubicBezTo>
                      <a:pt x="359290" y="1184049"/>
                      <a:pt x="350994" y="1184049"/>
                      <a:pt x="347675" y="1180811"/>
                    </a:cubicBezTo>
                    <a:cubicBezTo>
                      <a:pt x="338826" y="1173794"/>
                      <a:pt x="347675" y="1158682"/>
                      <a:pt x="343250" y="1151665"/>
                    </a:cubicBezTo>
                    <a:cubicBezTo>
                      <a:pt x="338826" y="1148427"/>
                      <a:pt x="325552" y="1167857"/>
                      <a:pt x="318361" y="1170556"/>
                    </a:cubicBezTo>
                    <a:cubicBezTo>
                      <a:pt x="311724" y="1172715"/>
                      <a:pt x="310065" y="1159222"/>
                      <a:pt x="306746" y="1157063"/>
                    </a:cubicBezTo>
                    <a:cubicBezTo>
                      <a:pt x="306193" y="1156523"/>
                      <a:pt x="284623" y="1152205"/>
                      <a:pt x="281857" y="1151665"/>
                    </a:cubicBezTo>
                    <a:cubicBezTo>
                      <a:pt x="279092" y="1149507"/>
                      <a:pt x="275773" y="1147887"/>
                      <a:pt x="273561" y="1147887"/>
                    </a:cubicBezTo>
                    <a:cubicBezTo>
                      <a:pt x="272455" y="1147348"/>
                      <a:pt x="270795" y="1147887"/>
                      <a:pt x="269689" y="1147348"/>
                    </a:cubicBezTo>
                    <a:cubicBezTo>
                      <a:pt x="268583" y="1146808"/>
                      <a:pt x="266371" y="1140871"/>
                      <a:pt x="264711" y="1139792"/>
                    </a:cubicBezTo>
                    <a:cubicBezTo>
                      <a:pt x="257521" y="1136013"/>
                      <a:pt x="254756" y="1153824"/>
                      <a:pt x="245906" y="1147348"/>
                    </a:cubicBezTo>
                    <a:cubicBezTo>
                      <a:pt x="235398" y="1139252"/>
                      <a:pt x="238716" y="1126298"/>
                      <a:pt x="235398" y="1116044"/>
                    </a:cubicBezTo>
                    <a:cubicBezTo>
                      <a:pt x="233738" y="1110646"/>
                      <a:pt x="229867" y="1106329"/>
                      <a:pt x="227654" y="1100931"/>
                    </a:cubicBezTo>
                    <a:cubicBezTo>
                      <a:pt x="227101" y="1099312"/>
                      <a:pt x="226548" y="1096074"/>
                      <a:pt x="227101" y="1094455"/>
                    </a:cubicBezTo>
                    <a:cubicBezTo>
                      <a:pt x="227101" y="1089058"/>
                      <a:pt x="229867" y="1083121"/>
                      <a:pt x="229867" y="1077184"/>
                    </a:cubicBezTo>
                    <a:cubicBezTo>
                      <a:pt x="230420" y="1070167"/>
                      <a:pt x="229867" y="1062071"/>
                      <a:pt x="228760" y="1055595"/>
                    </a:cubicBezTo>
                    <a:cubicBezTo>
                      <a:pt x="227654" y="1050197"/>
                      <a:pt x="224336" y="1045340"/>
                      <a:pt x="223783" y="1039943"/>
                    </a:cubicBezTo>
                    <a:cubicBezTo>
                      <a:pt x="223783" y="1033466"/>
                      <a:pt x="228207" y="1026989"/>
                      <a:pt x="227101" y="1019973"/>
                    </a:cubicBezTo>
                    <a:cubicBezTo>
                      <a:pt x="225995" y="1015655"/>
                      <a:pt x="216592" y="1001083"/>
                      <a:pt x="213274" y="998384"/>
                    </a:cubicBezTo>
                    <a:cubicBezTo>
                      <a:pt x="206637" y="992447"/>
                      <a:pt x="196128" y="996225"/>
                      <a:pt x="198893" y="982732"/>
                    </a:cubicBezTo>
                    <a:cubicBezTo>
                      <a:pt x="199447" y="976255"/>
                      <a:pt x="200553" y="961143"/>
                      <a:pt x="198340" y="955206"/>
                    </a:cubicBezTo>
                    <a:cubicBezTo>
                      <a:pt x="193363" y="942793"/>
                      <a:pt x="184513" y="939554"/>
                      <a:pt x="181194" y="934157"/>
                    </a:cubicBezTo>
                    <a:cubicBezTo>
                      <a:pt x="178982" y="930379"/>
                      <a:pt x="170686" y="904472"/>
                      <a:pt x="171239" y="900694"/>
                    </a:cubicBezTo>
                    <a:cubicBezTo>
                      <a:pt x="171792" y="897995"/>
                      <a:pt x="175664" y="885582"/>
                      <a:pt x="177323" y="882883"/>
                    </a:cubicBezTo>
                    <a:cubicBezTo>
                      <a:pt x="178429" y="881264"/>
                      <a:pt x="180641" y="880185"/>
                      <a:pt x="181748" y="878026"/>
                    </a:cubicBezTo>
                    <a:cubicBezTo>
                      <a:pt x="185066" y="872089"/>
                      <a:pt x="178982" y="863453"/>
                      <a:pt x="180641" y="860215"/>
                    </a:cubicBezTo>
                    <a:cubicBezTo>
                      <a:pt x="181748" y="858596"/>
                      <a:pt x="187832" y="859135"/>
                      <a:pt x="189491" y="858056"/>
                    </a:cubicBezTo>
                    <a:cubicBezTo>
                      <a:pt x="189491" y="852659"/>
                      <a:pt x="183407" y="849420"/>
                      <a:pt x="183960" y="844023"/>
                    </a:cubicBezTo>
                    <a:cubicBezTo>
                      <a:pt x="190044" y="833768"/>
                      <a:pt x="197787" y="844023"/>
                      <a:pt x="206084" y="841325"/>
                    </a:cubicBezTo>
                    <a:cubicBezTo>
                      <a:pt x="209402" y="840245"/>
                      <a:pt x="219358" y="825673"/>
                      <a:pt x="219911" y="821894"/>
                    </a:cubicBezTo>
                    <a:cubicBezTo>
                      <a:pt x="220464" y="820275"/>
                      <a:pt x="219358" y="814878"/>
                      <a:pt x="218252" y="813259"/>
                    </a:cubicBezTo>
                    <a:cubicBezTo>
                      <a:pt x="216039" y="809481"/>
                      <a:pt x="210508" y="807322"/>
                      <a:pt x="207743" y="804084"/>
                    </a:cubicBezTo>
                    <a:lnTo>
                      <a:pt x="207743" y="801925"/>
                    </a:lnTo>
                    <a:cubicBezTo>
                      <a:pt x="211615" y="800306"/>
                      <a:pt x="216039" y="803004"/>
                      <a:pt x="218252" y="801925"/>
                    </a:cubicBezTo>
                    <a:cubicBezTo>
                      <a:pt x="224889" y="799226"/>
                      <a:pt x="218252" y="779796"/>
                      <a:pt x="223229" y="776018"/>
                    </a:cubicBezTo>
                    <a:cubicBezTo>
                      <a:pt x="227654" y="775478"/>
                      <a:pt x="232079" y="776018"/>
                      <a:pt x="235951" y="776018"/>
                    </a:cubicBezTo>
                    <a:cubicBezTo>
                      <a:pt x="237057" y="775478"/>
                      <a:pt x="237610" y="774939"/>
                      <a:pt x="238716" y="773859"/>
                    </a:cubicBezTo>
                    <a:cubicBezTo>
                      <a:pt x="239269" y="773319"/>
                      <a:pt x="245353" y="758207"/>
                      <a:pt x="247012" y="755509"/>
                    </a:cubicBezTo>
                    <a:cubicBezTo>
                      <a:pt x="248119" y="753350"/>
                      <a:pt x="250331" y="751730"/>
                      <a:pt x="251437" y="749032"/>
                    </a:cubicBezTo>
                    <a:cubicBezTo>
                      <a:pt x="253096" y="745794"/>
                      <a:pt x="252543" y="741476"/>
                      <a:pt x="254203" y="738237"/>
                    </a:cubicBezTo>
                    <a:cubicBezTo>
                      <a:pt x="256415" y="731221"/>
                      <a:pt x="261393" y="725284"/>
                      <a:pt x="263605" y="718807"/>
                    </a:cubicBezTo>
                    <a:cubicBezTo>
                      <a:pt x="265818" y="712870"/>
                      <a:pt x="267477" y="706394"/>
                      <a:pt x="268583" y="700457"/>
                    </a:cubicBezTo>
                    <a:cubicBezTo>
                      <a:pt x="269689" y="696139"/>
                      <a:pt x="279645" y="682646"/>
                      <a:pt x="282963" y="677249"/>
                    </a:cubicBezTo>
                    <a:cubicBezTo>
                      <a:pt x="285729" y="672391"/>
                      <a:pt x="287941" y="664835"/>
                      <a:pt x="290154" y="659438"/>
                    </a:cubicBezTo>
                    <a:cubicBezTo>
                      <a:pt x="294025" y="647024"/>
                      <a:pt x="287941" y="633531"/>
                      <a:pt x="294578" y="621117"/>
                    </a:cubicBezTo>
                    <a:cubicBezTo>
                      <a:pt x="297344" y="615720"/>
                      <a:pt x="308959" y="608164"/>
                      <a:pt x="315043" y="607624"/>
                    </a:cubicBezTo>
                    <a:cubicBezTo>
                      <a:pt x="317808" y="607085"/>
                      <a:pt x="332742" y="613561"/>
                      <a:pt x="329423" y="606545"/>
                    </a:cubicBezTo>
                    <a:cubicBezTo>
                      <a:pt x="328317" y="603846"/>
                      <a:pt x="322786" y="602227"/>
                      <a:pt x="319468" y="593052"/>
                    </a:cubicBezTo>
                    <a:cubicBezTo>
                      <a:pt x="316702" y="585496"/>
                      <a:pt x="313937" y="575241"/>
                      <a:pt x="312830" y="567685"/>
                    </a:cubicBezTo>
                    <a:cubicBezTo>
                      <a:pt x="311171" y="558510"/>
                      <a:pt x="313383" y="543937"/>
                      <a:pt x="305640" y="536921"/>
                    </a:cubicBezTo>
                    <a:cubicBezTo>
                      <a:pt x="305087" y="536381"/>
                      <a:pt x="299556" y="535841"/>
                      <a:pt x="298450" y="534762"/>
                    </a:cubicBezTo>
                    <a:cubicBezTo>
                      <a:pt x="294025" y="532603"/>
                      <a:pt x="290707" y="527745"/>
                      <a:pt x="285729" y="525047"/>
                    </a:cubicBezTo>
                    <a:cubicBezTo>
                      <a:pt x="279645" y="521808"/>
                      <a:pt x="268030" y="526126"/>
                      <a:pt x="266371" y="524507"/>
                    </a:cubicBezTo>
                    <a:cubicBezTo>
                      <a:pt x="261946" y="520189"/>
                      <a:pt x="264158" y="509934"/>
                      <a:pt x="255309" y="511554"/>
                    </a:cubicBezTo>
                    <a:cubicBezTo>
                      <a:pt x="245906" y="513712"/>
                      <a:pt x="246459" y="513173"/>
                      <a:pt x="239822" y="517491"/>
                    </a:cubicBezTo>
                    <a:cubicBezTo>
                      <a:pt x="222123" y="501299"/>
                      <a:pt x="226548" y="493743"/>
                      <a:pt x="215486" y="478091"/>
                    </a:cubicBezTo>
                    <a:cubicBezTo>
                      <a:pt x="212721" y="473773"/>
                      <a:pt x="204424" y="473233"/>
                      <a:pt x="201106" y="465137"/>
                    </a:cubicBezTo>
                    <a:cubicBezTo>
                      <a:pt x="199447" y="461359"/>
                      <a:pt x="197787" y="446787"/>
                      <a:pt x="198340" y="443009"/>
                    </a:cubicBezTo>
                    <a:cubicBezTo>
                      <a:pt x="198893" y="439770"/>
                      <a:pt x="202765" y="430055"/>
                      <a:pt x="202765" y="428436"/>
                    </a:cubicBezTo>
                    <a:cubicBezTo>
                      <a:pt x="202765" y="424658"/>
                      <a:pt x="200000" y="421960"/>
                      <a:pt x="199447" y="417642"/>
                    </a:cubicBezTo>
                    <a:cubicBezTo>
                      <a:pt x="198340" y="412244"/>
                      <a:pt x="200553" y="405228"/>
                      <a:pt x="198340" y="399831"/>
                    </a:cubicBezTo>
                    <a:cubicBezTo>
                      <a:pt x="195575" y="392814"/>
                      <a:pt x="175110" y="370686"/>
                      <a:pt x="167920" y="367447"/>
                    </a:cubicBezTo>
                    <a:close/>
                    <a:moveTo>
                      <a:pt x="315043" y="1178112"/>
                    </a:moveTo>
                    <a:cubicBezTo>
                      <a:pt x="316149" y="1175953"/>
                      <a:pt x="331636" y="1171095"/>
                      <a:pt x="334401" y="1170556"/>
                    </a:cubicBezTo>
                    <a:cubicBezTo>
                      <a:pt x="334954" y="1174334"/>
                      <a:pt x="334401" y="1185128"/>
                      <a:pt x="332742" y="1187827"/>
                    </a:cubicBezTo>
                    <a:cubicBezTo>
                      <a:pt x="331636" y="1189986"/>
                      <a:pt x="324998" y="1194843"/>
                      <a:pt x="322786" y="1195923"/>
                    </a:cubicBezTo>
                    <a:cubicBezTo>
                      <a:pt x="321680" y="1196462"/>
                      <a:pt x="316702" y="1196462"/>
                      <a:pt x="315043" y="1195923"/>
                    </a:cubicBezTo>
                    <a:cubicBezTo>
                      <a:pt x="313937" y="1191605"/>
                      <a:pt x="313383" y="1180811"/>
                      <a:pt x="315043" y="1178112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2" name="Freeform 1084">
                <a:extLst>
                  <a:ext uri="{FF2B5EF4-FFF2-40B4-BE49-F238E27FC236}">
                    <a16:creationId xmlns:a16="http://schemas.microsoft.com/office/drawing/2014/main" id="{90D2400A-3916-436C-9BD4-FC33C3461275}"/>
                  </a:ext>
                </a:extLst>
              </p:cNvPr>
              <p:cNvSpPr/>
              <p:nvPr/>
            </p:nvSpPr>
            <p:spPr>
              <a:xfrm>
                <a:off x="5192239" y="3782444"/>
                <a:ext cx="1166484" cy="1159154"/>
              </a:xfrm>
              <a:custGeom>
                <a:avLst/>
                <a:gdLst>
                  <a:gd name="connsiteX0" fmla="*/ 1083469 w 1166484"/>
                  <a:gd name="connsiteY0" fmla="*/ 1087143 h 1159154"/>
                  <a:gd name="connsiteX1" fmla="*/ 1089553 w 1166484"/>
                  <a:gd name="connsiteY1" fmla="*/ 1077428 h 1159154"/>
                  <a:gd name="connsiteX2" fmla="*/ 1078491 w 1166484"/>
                  <a:gd name="connsiteY2" fmla="*/ 1065555 h 1159154"/>
                  <a:gd name="connsiteX3" fmla="*/ 1079044 w 1166484"/>
                  <a:gd name="connsiteY3" fmla="*/ 1056379 h 1159154"/>
                  <a:gd name="connsiteX4" fmla="*/ 1082916 w 1166484"/>
                  <a:gd name="connsiteY4" fmla="*/ 1051522 h 1159154"/>
                  <a:gd name="connsiteX5" fmla="*/ 1078491 w 1166484"/>
                  <a:gd name="connsiteY5" fmla="*/ 1038568 h 1159154"/>
                  <a:gd name="connsiteX6" fmla="*/ 1089000 w 1166484"/>
                  <a:gd name="connsiteY6" fmla="*/ 1026155 h 1159154"/>
                  <a:gd name="connsiteX7" fmla="*/ 1092871 w 1166484"/>
                  <a:gd name="connsiteY7" fmla="*/ 1019138 h 1159154"/>
                  <a:gd name="connsiteX8" fmla="*/ 1097296 w 1166484"/>
                  <a:gd name="connsiteY8" fmla="*/ 1016979 h 1159154"/>
                  <a:gd name="connsiteX9" fmla="*/ 1121079 w 1166484"/>
                  <a:gd name="connsiteY9" fmla="*/ 1001327 h 1159154"/>
                  <a:gd name="connsiteX10" fmla="*/ 1136013 w 1166484"/>
                  <a:gd name="connsiteY10" fmla="*/ 1004026 h 1159154"/>
                  <a:gd name="connsiteX11" fmla="*/ 1143203 w 1166484"/>
                  <a:gd name="connsiteY11" fmla="*/ 1000248 h 1159154"/>
                  <a:gd name="connsiteX12" fmla="*/ 1151499 w 1166484"/>
                  <a:gd name="connsiteY12" fmla="*/ 968944 h 1159154"/>
                  <a:gd name="connsiteX13" fmla="*/ 1154818 w 1166484"/>
                  <a:gd name="connsiteY13" fmla="*/ 972182 h 1159154"/>
                  <a:gd name="connsiteX14" fmla="*/ 1156477 w 1166484"/>
                  <a:gd name="connsiteY14" fmla="*/ 1013201 h 1159154"/>
                  <a:gd name="connsiteX15" fmla="*/ 1162008 w 1166484"/>
                  <a:gd name="connsiteY15" fmla="*/ 1031552 h 1159154"/>
                  <a:gd name="connsiteX16" fmla="*/ 1164220 w 1166484"/>
                  <a:gd name="connsiteY16" fmla="*/ 1035870 h 1159154"/>
                  <a:gd name="connsiteX17" fmla="*/ 1165880 w 1166484"/>
                  <a:gd name="connsiteY17" fmla="*/ 1067174 h 1159154"/>
                  <a:gd name="connsiteX18" fmla="*/ 1153711 w 1166484"/>
                  <a:gd name="connsiteY18" fmla="*/ 1096319 h 1159154"/>
                  <a:gd name="connsiteX19" fmla="*/ 1151499 w 1166484"/>
                  <a:gd name="connsiteY19" fmla="*/ 1119527 h 1159154"/>
                  <a:gd name="connsiteX20" fmla="*/ 1145968 w 1166484"/>
                  <a:gd name="connsiteY20" fmla="*/ 1147053 h 1159154"/>
                  <a:gd name="connsiteX21" fmla="*/ 1134906 w 1166484"/>
                  <a:gd name="connsiteY21" fmla="*/ 1157847 h 1159154"/>
                  <a:gd name="connsiteX22" fmla="*/ 1123845 w 1166484"/>
                  <a:gd name="connsiteY22" fmla="*/ 1148672 h 1159154"/>
                  <a:gd name="connsiteX23" fmla="*/ 1111123 w 1166484"/>
                  <a:gd name="connsiteY23" fmla="*/ 1144354 h 1159154"/>
                  <a:gd name="connsiteX24" fmla="*/ 1101721 w 1166484"/>
                  <a:gd name="connsiteY24" fmla="*/ 1137877 h 1159154"/>
                  <a:gd name="connsiteX25" fmla="*/ 1099508 w 1166484"/>
                  <a:gd name="connsiteY25" fmla="*/ 1135179 h 1159154"/>
                  <a:gd name="connsiteX26" fmla="*/ 1107805 w 1166484"/>
                  <a:gd name="connsiteY26" fmla="*/ 1122226 h 1159154"/>
                  <a:gd name="connsiteX27" fmla="*/ 1089553 w 1166484"/>
                  <a:gd name="connsiteY27" fmla="*/ 1117368 h 1159154"/>
                  <a:gd name="connsiteX28" fmla="*/ 1088447 w 1166484"/>
                  <a:gd name="connsiteY28" fmla="*/ 1113050 h 1159154"/>
                  <a:gd name="connsiteX29" fmla="*/ 1093978 w 1166484"/>
                  <a:gd name="connsiteY29" fmla="*/ 1106574 h 1159154"/>
                  <a:gd name="connsiteX30" fmla="*/ 1093424 w 1166484"/>
                  <a:gd name="connsiteY30" fmla="*/ 1093620 h 1159154"/>
                  <a:gd name="connsiteX31" fmla="*/ 1083469 w 1166484"/>
                  <a:gd name="connsiteY31" fmla="*/ 1092001 h 1159154"/>
                  <a:gd name="connsiteX32" fmla="*/ 1083469 w 1166484"/>
                  <a:gd name="connsiteY32" fmla="*/ 1087143 h 1159154"/>
                  <a:gd name="connsiteX33" fmla="*/ 895971 w 1166484"/>
                  <a:gd name="connsiteY33" fmla="*/ 502623 h 1159154"/>
                  <a:gd name="connsiteX34" fmla="*/ 894864 w 1166484"/>
                  <a:gd name="connsiteY34" fmla="*/ 523672 h 1159154"/>
                  <a:gd name="connsiteX35" fmla="*/ 874953 w 1166484"/>
                  <a:gd name="connsiteY35" fmla="*/ 534467 h 1159154"/>
                  <a:gd name="connsiteX36" fmla="*/ 862785 w 1166484"/>
                  <a:gd name="connsiteY36" fmla="*/ 557675 h 1159154"/>
                  <a:gd name="connsiteX37" fmla="*/ 866104 w 1166484"/>
                  <a:gd name="connsiteY37" fmla="*/ 570089 h 1159154"/>
                  <a:gd name="connsiteX38" fmla="*/ 861679 w 1166484"/>
                  <a:gd name="connsiteY38" fmla="*/ 584121 h 1159154"/>
                  <a:gd name="connsiteX39" fmla="*/ 852829 w 1166484"/>
                  <a:gd name="connsiteY39" fmla="*/ 588439 h 1159154"/>
                  <a:gd name="connsiteX40" fmla="*/ 853382 w 1166484"/>
                  <a:gd name="connsiteY40" fmla="*/ 596535 h 1159154"/>
                  <a:gd name="connsiteX41" fmla="*/ 865551 w 1166484"/>
                  <a:gd name="connsiteY41" fmla="*/ 599234 h 1159154"/>
                  <a:gd name="connsiteX42" fmla="*/ 879931 w 1166484"/>
                  <a:gd name="connsiteY42" fmla="*/ 588979 h 1159154"/>
                  <a:gd name="connsiteX43" fmla="*/ 876059 w 1166484"/>
                  <a:gd name="connsiteY43" fmla="*/ 579804 h 1159154"/>
                  <a:gd name="connsiteX44" fmla="*/ 874400 w 1166484"/>
                  <a:gd name="connsiteY44" fmla="*/ 576025 h 1159154"/>
                  <a:gd name="connsiteX45" fmla="*/ 881590 w 1166484"/>
                  <a:gd name="connsiteY45" fmla="*/ 566310 h 1159154"/>
                  <a:gd name="connsiteX46" fmla="*/ 900948 w 1166484"/>
                  <a:gd name="connsiteY46" fmla="*/ 561453 h 1159154"/>
                  <a:gd name="connsiteX47" fmla="*/ 912010 w 1166484"/>
                  <a:gd name="connsiteY47" fmla="*/ 561453 h 1159154"/>
                  <a:gd name="connsiteX48" fmla="*/ 921966 w 1166484"/>
                  <a:gd name="connsiteY48" fmla="*/ 564691 h 1159154"/>
                  <a:gd name="connsiteX49" fmla="*/ 921413 w 1166484"/>
                  <a:gd name="connsiteY49" fmla="*/ 567390 h 1159154"/>
                  <a:gd name="connsiteX50" fmla="*/ 919754 w 1166484"/>
                  <a:gd name="connsiteY50" fmla="*/ 575486 h 1159154"/>
                  <a:gd name="connsiteX51" fmla="*/ 926391 w 1166484"/>
                  <a:gd name="connsiteY51" fmla="*/ 586280 h 1159154"/>
                  <a:gd name="connsiteX52" fmla="*/ 920860 w 1166484"/>
                  <a:gd name="connsiteY52" fmla="*/ 596535 h 1159154"/>
                  <a:gd name="connsiteX53" fmla="*/ 929709 w 1166484"/>
                  <a:gd name="connsiteY53" fmla="*/ 603551 h 1159154"/>
                  <a:gd name="connsiteX54" fmla="*/ 931922 w 1166484"/>
                  <a:gd name="connsiteY54" fmla="*/ 610568 h 1159154"/>
                  <a:gd name="connsiteX55" fmla="*/ 939665 w 1166484"/>
                  <a:gd name="connsiteY55" fmla="*/ 618124 h 1159154"/>
                  <a:gd name="connsiteX56" fmla="*/ 939665 w 1166484"/>
                  <a:gd name="connsiteY56" fmla="*/ 628379 h 1159154"/>
                  <a:gd name="connsiteX57" fmla="*/ 921413 w 1166484"/>
                  <a:gd name="connsiteY57" fmla="*/ 646190 h 1159154"/>
                  <a:gd name="connsiteX58" fmla="*/ 935793 w 1166484"/>
                  <a:gd name="connsiteY58" fmla="*/ 660762 h 1159154"/>
                  <a:gd name="connsiteX59" fmla="*/ 934687 w 1166484"/>
                  <a:gd name="connsiteY59" fmla="*/ 673176 h 1159154"/>
                  <a:gd name="connsiteX60" fmla="*/ 940218 w 1166484"/>
                  <a:gd name="connsiteY60" fmla="*/ 679113 h 1159154"/>
                  <a:gd name="connsiteX61" fmla="*/ 947961 w 1166484"/>
                  <a:gd name="connsiteY61" fmla="*/ 686669 h 1159154"/>
                  <a:gd name="connsiteX62" fmla="*/ 946302 w 1166484"/>
                  <a:gd name="connsiteY62" fmla="*/ 703940 h 1159154"/>
                  <a:gd name="connsiteX63" fmla="*/ 925838 w 1166484"/>
                  <a:gd name="connsiteY63" fmla="*/ 718512 h 1159154"/>
                  <a:gd name="connsiteX64" fmla="*/ 906479 w 1166484"/>
                  <a:gd name="connsiteY64" fmla="*/ 717973 h 1159154"/>
                  <a:gd name="connsiteX65" fmla="*/ 909245 w 1166484"/>
                  <a:gd name="connsiteY65" fmla="*/ 731466 h 1159154"/>
                  <a:gd name="connsiteX66" fmla="*/ 921413 w 1166484"/>
                  <a:gd name="connsiteY66" fmla="*/ 751975 h 1159154"/>
                  <a:gd name="connsiteX67" fmla="*/ 936346 w 1166484"/>
                  <a:gd name="connsiteY67" fmla="*/ 754674 h 1159154"/>
                  <a:gd name="connsiteX68" fmla="*/ 939665 w 1166484"/>
                  <a:gd name="connsiteY68" fmla="*/ 773564 h 1159154"/>
                  <a:gd name="connsiteX69" fmla="*/ 926391 w 1166484"/>
                  <a:gd name="connsiteY69" fmla="*/ 790835 h 1159154"/>
                  <a:gd name="connsiteX70" fmla="*/ 929709 w 1166484"/>
                  <a:gd name="connsiteY70" fmla="*/ 815123 h 1159154"/>
                  <a:gd name="connsiteX71" fmla="*/ 936899 w 1166484"/>
                  <a:gd name="connsiteY71" fmla="*/ 824838 h 1159154"/>
                  <a:gd name="connsiteX72" fmla="*/ 970085 w 1166484"/>
                  <a:gd name="connsiteY72" fmla="*/ 838871 h 1159154"/>
                  <a:gd name="connsiteX73" fmla="*/ 997186 w 1166484"/>
                  <a:gd name="connsiteY73" fmla="*/ 832394 h 1159154"/>
                  <a:gd name="connsiteX74" fmla="*/ 999399 w 1166484"/>
                  <a:gd name="connsiteY74" fmla="*/ 838331 h 1159154"/>
                  <a:gd name="connsiteX75" fmla="*/ 999952 w 1166484"/>
                  <a:gd name="connsiteY75" fmla="*/ 845887 h 1159154"/>
                  <a:gd name="connsiteX76" fmla="*/ 984465 w 1166484"/>
                  <a:gd name="connsiteY76" fmla="*/ 865317 h 1159154"/>
                  <a:gd name="connsiteX77" fmla="*/ 984465 w 1166484"/>
                  <a:gd name="connsiteY77" fmla="*/ 877731 h 1159154"/>
                  <a:gd name="connsiteX78" fmla="*/ 977275 w 1166484"/>
                  <a:gd name="connsiteY78" fmla="*/ 879890 h 1159154"/>
                  <a:gd name="connsiteX79" fmla="*/ 972850 w 1166484"/>
                  <a:gd name="connsiteY79" fmla="*/ 876651 h 1159154"/>
                  <a:gd name="connsiteX80" fmla="*/ 967873 w 1166484"/>
                  <a:gd name="connsiteY80" fmla="*/ 880969 h 1159154"/>
                  <a:gd name="connsiteX81" fmla="*/ 969532 w 1166484"/>
                  <a:gd name="connsiteY81" fmla="*/ 888525 h 1159154"/>
                  <a:gd name="connsiteX82" fmla="*/ 952939 w 1166484"/>
                  <a:gd name="connsiteY82" fmla="*/ 886366 h 1159154"/>
                  <a:gd name="connsiteX83" fmla="*/ 948514 w 1166484"/>
                  <a:gd name="connsiteY83" fmla="*/ 902018 h 1159154"/>
                  <a:gd name="connsiteX84" fmla="*/ 939665 w 1166484"/>
                  <a:gd name="connsiteY84" fmla="*/ 901479 h 1159154"/>
                  <a:gd name="connsiteX85" fmla="*/ 930262 w 1166484"/>
                  <a:gd name="connsiteY85" fmla="*/ 912813 h 1159154"/>
                  <a:gd name="connsiteX86" fmla="*/ 914776 w 1166484"/>
                  <a:gd name="connsiteY86" fmla="*/ 918210 h 1159154"/>
                  <a:gd name="connsiteX87" fmla="*/ 909245 w 1166484"/>
                  <a:gd name="connsiteY87" fmla="*/ 927925 h 1159154"/>
                  <a:gd name="connsiteX88" fmla="*/ 904267 w 1166484"/>
                  <a:gd name="connsiteY88" fmla="*/ 932243 h 1159154"/>
                  <a:gd name="connsiteX89" fmla="*/ 906479 w 1166484"/>
                  <a:gd name="connsiteY89" fmla="*/ 937640 h 1159154"/>
                  <a:gd name="connsiteX90" fmla="*/ 903714 w 1166484"/>
                  <a:gd name="connsiteY90" fmla="*/ 946815 h 1159154"/>
                  <a:gd name="connsiteX91" fmla="*/ 892099 w 1166484"/>
                  <a:gd name="connsiteY91" fmla="*/ 945196 h 1159154"/>
                  <a:gd name="connsiteX92" fmla="*/ 879378 w 1166484"/>
                  <a:gd name="connsiteY92" fmla="*/ 954911 h 1159154"/>
                  <a:gd name="connsiteX93" fmla="*/ 866104 w 1166484"/>
                  <a:gd name="connsiteY93" fmla="*/ 952752 h 1159154"/>
                  <a:gd name="connsiteX94" fmla="*/ 859467 w 1166484"/>
                  <a:gd name="connsiteY94" fmla="*/ 959769 h 1159154"/>
                  <a:gd name="connsiteX95" fmla="*/ 841214 w 1166484"/>
                  <a:gd name="connsiteY95" fmla="*/ 954372 h 1159154"/>
                  <a:gd name="connsiteX96" fmla="*/ 835130 w 1166484"/>
                  <a:gd name="connsiteY96" fmla="*/ 958150 h 1159154"/>
                  <a:gd name="connsiteX97" fmla="*/ 829046 w 1166484"/>
                  <a:gd name="connsiteY97" fmla="*/ 952752 h 1159154"/>
                  <a:gd name="connsiteX98" fmla="*/ 821303 w 1166484"/>
                  <a:gd name="connsiteY98" fmla="*/ 950054 h 1159154"/>
                  <a:gd name="connsiteX99" fmla="*/ 818538 w 1166484"/>
                  <a:gd name="connsiteY99" fmla="*/ 945196 h 1159154"/>
                  <a:gd name="connsiteX100" fmla="*/ 794755 w 1166484"/>
                  <a:gd name="connsiteY100" fmla="*/ 943037 h 1159154"/>
                  <a:gd name="connsiteX101" fmla="*/ 791989 w 1166484"/>
                  <a:gd name="connsiteY101" fmla="*/ 925226 h 1159154"/>
                  <a:gd name="connsiteX102" fmla="*/ 790330 w 1166484"/>
                  <a:gd name="connsiteY102" fmla="*/ 923607 h 1159154"/>
                  <a:gd name="connsiteX103" fmla="*/ 770972 w 1166484"/>
                  <a:gd name="connsiteY103" fmla="*/ 924147 h 1159154"/>
                  <a:gd name="connsiteX104" fmla="*/ 767100 w 1166484"/>
                  <a:gd name="connsiteY104" fmla="*/ 925226 h 1159154"/>
                  <a:gd name="connsiteX105" fmla="*/ 759910 w 1166484"/>
                  <a:gd name="connsiteY105" fmla="*/ 920909 h 1159154"/>
                  <a:gd name="connsiteX106" fmla="*/ 780927 w 1166484"/>
                  <a:gd name="connsiteY106" fmla="*/ 913892 h 1159154"/>
                  <a:gd name="connsiteX107" fmla="*/ 762675 w 1166484"/>
                  <a:gd name="connsiteY107" fmla="*/ 899320 h 1159154"/>
                  <a:gd name="connsiteX108" fmla="*/ 759357 w 1166484"/>
                  <a:gd name="connsiteY108" fmla="*/ 911733 h 1159154"/>
                  <a:gd name="connsiteX109" fmla="*/ 751614 w 1166484"/>
                  <a:gd name="connsiteY109" fmla="*/ 913353 h 1159154"/>
                  <a:gd name="connsiteX110" fmla="*/ 725065 w 1166484"/>
                  <a:gd name="connsiteY110" fmla="*/ 917670 h 1159154"/>
                  <a:gd name="connsiteX111" fmla="*/ 724512 w 1166484"/>
                  <a:gd name="connsiteY111" fmla="*/ 909035 h 1159154"/>
                  <a:gd name="connsiteX112" fmla="*/ 692986 w 1166484"/>
                  <a:gd name="connsiteY112" fmla="*/ 906336 h 1159154"/>
                  <a:gd name="connsiteX113" fmla="*/ 670862 w 1166484"/>
                  <a:gd name="connsiteY113" fmla="*/ 891764 h 1159154"/>
                  <a:gd name="connsiteX114" fmla="*/ 628274 w 1166484"/>
                  <a:gd name="connsiteY114" fmla="*/ 926306 h 1159154"/>
                  <a:gd name="connsiteX115" fmla="*/ 616659 w 1166484"/>
                  <a:gd name="connsiteY115" fmla="*/ 924687 h 1159154"/>
                  <a:gd name="connsiteX116" fmla="*/ 608363 w 1166484"/>
                  <a:gd name="connsiteY116" fmla="*/ 929005 h 1159154"/>
                  <a:gd name="connsiteX117" fmla="*/ 581814 w 1166484"/>
                  <a:gd name="connsiteY117" fmla="*/ 970563 h 1159154"/>
                  <a:gd name="connsiteX118" fmla="*/ 589005 w 1166484"/>
                  <a:gd name="connsiteY118" fmla="*/ 980278 h 1159154"/>
                  <a:gd name="connsiteX119" fmla="*/ 584580 w 1166484"/>
                  <a:gd name="connsiteY119" fmla="*/ 1001327 h 1159154"/>
                  <a:gd name="connsiteX120" fmla="*/ 593429 w 1166484"/>
                  <a:gd name="connsiteY120" fmla="*/ 1021837 h 1159154"/>
                  <a:gd name="connsiteX121" fmla="*/ 570199 w 1166484"/>
                  <a:gd name="connsiteY121" fmla="*/ 1017519 h 1159154"/>
                  <a:gd name="connsiteX122" fmla="*/ 557478 w 1166484"/>
                  <a:gd name="connsiteY122" fmla="*/ 1023456 h 1159154"/>
                  <a:gd name="connsiteX123" fmla="*/ 551947 w 1166484"/>
                  <a:gd name="connsiteY123" fmla="*/ 1033711 h 1159154"/>
                  <a:gd name="connsiteX124" fmla="*/ 517656 w 1166484"/>
                  <a:gd name="connsiteY124" fmla="*/ 1019138 h 1159154"/>
                  <a:gd name="connsiteX125" fmla="*/ 497744 w 1166484"/>
                  <a:gd name="connsiteY125" fmla="*/ 1026694 h 1159154"/>
                  <a:gd name="connsiteX126" fmla="*/ 486129 w 1166484"/>
                  <a:gd name="connsiteY126" fmla="*/ 1014821 h 1159154"/>
                  <a:gd name="connsiteX127" fmla="*/ 468430 w 1166484"/>
                  <a:gd name="connsiteY127" fmla="*/ 1008884 h 1159154"/>
                  <a:gd name="connsiteX128" fmla="*/ 470643 w 1166484"/>
                  <a:gd name="connsiteY128" fmla="*/ 997010 h 1159154"/>
                  <a:gd name="connsiteX129" fmla="*/ 470643 w 1166484"/>
                  <a:gd name="connsiteY129" fmla="*/ 994851 h 1159154"/>
                  <a:gd name="connsiteX130" fmla="*/ 452391 w 1166484"/>
                  <a:gd name="connsiteY130" fmla="*/ 987295 h 1159154"/>
                  <a:gd name="connsiteX131" fmla="*/ 444094 w 1166484"/>
                  <a:gd name="connsiteY131" fmla="*/ 994851 h 1159154"/>
                  <a:gd name="connsiteX132" fmla="*/ 437457 w 1166484"/>
                  <a:gd name="connsiteY132" fmla="*/ 978659 h 1159154"/>
                  <a:gd name="connsiteX133" fmla="*/ 421971 w 1166484"/>
                  <a:gd name="connsiteY133" fmla="*/ 976500 h 1159154"/>
                  <a:gd name="connsiteX134" fmla="*/ 413121 w 1166484"/>
                  <a:gd name="connsiteY134" fmla="*/ 970563 h 1159154"/>
                  <a:gd name="connsiteX135" fmla="*/ 386020 w 1166484"/>
                  <a:gd name="connsiteY135" fmla="*/ 960308 h 1159154"/>
                  <a:gd name="connsiteX136" fmla="*/ 379383 w 1166484"/>
                  <a:gd name="connsiteY136" fmla="*/ 959229 h 1159154"/>
                  <a:gd name="connsiteX137" fmla="*/ 375511 w 1166484"/>
                  <a:gd name="connsiteY137" fmla="*/ 974341 h 1159154"/>
                  <a:gd name="connsiteX138" fmla="*/ 372746 w 1166484"/>
                  <a:gd name="connsiteY138" fmla="*/ 973802 h 1159154"/>
                  <a:gd name="connsiteX139" fmla="*/ 353387 w 1166484"/>
                  <a:gd name="connsiteY139" fmla="*/ 971103 h 1159154"/>
                  <a:gd name="connsiteX140" fmla="*/ 346197 w 1166484"/>
                  <a:gd name="connsiteY140" fmla="*/ 975960 h 1159154"/>
                  <a:gd name="connsiteX141" fmla="*/ 337348 w 1166484"/>
                  <a:gd name="connsiteY141" fmla="*/ 971643 h 1159154"/>
                  <a:gd name="connsiteX142" fmla="*/ 310246 w 1166484"/>
                  <a:gd name="connsiteY142" fmla="*/ 968944 h 1159154"/>
                  <a:gd name="connsiteX143" fmla="*/ 298078 w 1166484"/>
                  <a:gd name="connsiteY143" fmla="*/ 955991 h 1159154"/>
                  <a:gd name="connsiteX144" fmla="*/ 268211 w 1166484"/>
                  <a:gd name="connsiteY144" fmla="*/ 953832 h 1159154"/>
                  <a:gd name="connsiteX145" fmla="*/ 256596 w 1166484"/>
                  <a:gd name="connsiteY145" fmla="*/ 943577 h 1159154"/>
                  <a:gd name="connsiteX146" fmla="*/ 253831 w 1166484"/>
                  <a:gd name="connsiteY146" fmla="*/ 935481 h 1159154"/>
                  <a:gd name="connsiteX147" fmla="*/ 252725 w 1166484"/>
                  <a:gd name="connsiteY147" fmla="*/ 931703 h 1159154"/>
                  <a:gd name="connsiteX148" fmla="*/ 228942 w 1166484"/>
                  <a:gd name="connsiteY148" fmla="*/ 928465 h 1159154"/>
                  <a:gd name="connsiteX149" fmla="*/ 209583 w 1166484"/>
                  <a:gd name="connsiteY149" fmla="*/ 916051 h 1159154"/>
                  <a:gd name="connsiteX150" fmla="*/ 193544 w 1166484"/>
                  <a:gd name="connsiteY150" fmla="*/ 915511 h 1159154"/>
                  <a:gd name="connsiteX151" fmla="*/ 202393 w 1166484"/>
                  <a:gd name="connsiteY151" fmla="*/ 890144 h 1159154"/>
                  <a:gd name="connsiteX152" fmla="*/ 175292 w 1166484"/>
                  <a:gd name="connsiteY152" fmla="*/ 884207 h 1159154"/>
                  <a:gd name="connsiteX153" fmla="*/ 171420 w 1166484"/>
                  <a:gd name="connsiteY153" fmla="*/ 882588 h 1159154"/>
                  <a:gd name="connsiteX154" fmla="*/ 164230 w 1166484"/>
                  <a:gd name="connsiteY154" fmla="*/ 875032 h 1159154"/>
                  <a:gd name="connsiteX155" fmla="*/ 180823 w 1166484"/>
                  <a:gd name="connsiteY155" fmla="*/ 867476 h 1159154"/>
                  <a:gd name="connsiteX156" fmla="*/ 184141 w 1166484"/>
                  <a:gd name="connsiteY156" fmla="*/ 863698 h 1159154"/>
                  <a:gd name="connsiteX157" fmla="*/ 192438 w 1166484"/>
                  <a:gd name="connsiteY157" fmla="*/ 858841 h 1159154"/>
                  <a:gd name="connsiteX158" fmla="*/ 203499 w 1166484"/>
                  <a:gd name="connsiteY158" fmla="*/ 831315 h 1159154"/>
                  <a:gd name="connsiteX159" fmla="*/ 226176 w 1166484"/>
                  <a:gd name="connsiteY159" fmla="*/ 751975 h 1159154"/>
                  <a:gd name="connsiteX160" fmla="*/ 236132 w 1166484"/>
                  <a:gd name="connsiteY160" fmla="*/ 734164 h 1159154"/>
                  <a:gd name="connsiteX161" fmla="*/ 243875 w 1166484"/>
                  <a:gd name="connsiteY161" fmla="*/ 730386 h 1159154"/>
                  <a:gd name="connsiteX162" fmla="*/ 237791 w 1166484"/>
                  <a:gd name="connsiteY162" fmla="*/ 720132 h 1159154"/>
                  <a:gd name="connsiteX163" fmla="*/ 231707 w 1166484"/>
                  <a:gd name="connsiteY163" fmla="*/ 728227 h 1159154"/>
                  <a:gd name="connsiteX164" fmla="*/ 227282 w 1166484"/>
                  <a:gd name="connsiteY164" fmla="*/ 732006 h 1159154"/>
                  <a:gd name="connsiteX165" fmla="*/ 228388 w 1166484"/>
                  <a:gd name="connsiteY165" fmla="*/ 715274 h 1159154"/>
                  <a:gd name="connsiteX166" fmla="*/ 244981 w 1166484"/>
                  <a:gd name="connsiteY166" fmla="*/ 648348 h 1159154"/>
                  <a:gd name="connsiteX167" fmla="*/ 252171 w 1166484"/>
                  <a:gd name="connsiteY167" fmla="*/ 633776 h 1159154"/>
                  <a:gd name="connsiteX168" fmla="*/ 256043 w 1166484"/>
                  <a:gd name="connsiteY168" fmla="*/ 633236 h 1159154"/>
                  <a:gd name="connsiteX169" fmla="*/ 260468 w 1166484"/>
                  <a:gd name="connsiteY169" fmla="*/ 641872 h 1159154"/>
                  <a:gd name="connsiteX170" fmla="*/ 272083 w 1166484"/>
                  <a:gd name="connsiteY170" fmla="*/ 653206 h 1159154"/>
                  <a:gd name="connsiteX171" fmla="*/ 282592 w 1166484"/>
                  <a:gd name="connsiteY171" fmla="*/ 693145 h 1159154"/>
                  <a:gd name="connsiteX172" fmla="*/ 289229 w 1166484"/>
                  <a:gd name="connsiteY172" fmla="*/ 699082 h 1159154"/>
                  <a:gd name="connsiteX173" fmla="*/ 296419 w 1166484"/>
                  <a:gd name="connsiteY173" fmla="*/ 702321 h 1159154"/>
                  <a:gd name="connsiteX174" fmla="*/ 288122 w 1166484"/>
                  <a:gd name="connsiteY174" fmla="*/ 683970 h 1159154"/>
                  <a:gd name="connsiteX175" fmla="*/ 284251 w 1166484"/>
                  <a:gd name="connsiteY175" fmla="*/ 665620 h 1159154"/>
                  <a:gd name="connsiteX176" fmla="*/ 283145 w 1166484"/>
                  <a:gd name="connsiteY176" fmla="*/ 658063 h 1159154"/>
                  <a:gd name="connsiteX177" fmla="*/ 260468 w 1166484"/>
                  <a:gd name="connsiteY177" fmla="*/ 619743 h 1159154"/>
                  <a:gd name="connsiteX178" fmla="*/ 245534 w 1166484"/>
                  <a:gd name="connsiteY178" fmla="*/ 612727 h 1159154"/>
                  <a:gd name="connsiteX179" fmla="*/ 247194 w 1166484"/>
                  <a:gd name="connsiteY179" fmla="*/ 600313 h 1159154"/>
                  <a:gd name="connsiteX180" fmla="*/ 244981 w 1166484"/>
                  <a:gd name="connsiteY180" fmla="*/ 591677 h 1159154"/>
                  <a:gd name="connsiteX181" fmla="*/ 237238 w 1166484"/>
                  <a:gd name="connsiteY181" fmla="*/ 583582 h 1159154"/>
                  <a:gd name="connsiteX182" fmla="*/ 235579 w 1166484"/>
                  <a:gd name="connsiteY182" fmla="*/ 570089 h 1159154"/>
                  <a:gd name="connsiteX183" fmla="*/ 240557 w 1166484"/>
                  <a:gd name="connsiteY183" fmla="*/ 568469 h 1159154"/>
                  <a:gd name="connsiteX184" fmla="*/ 251618 w 1166484"/>
                  <a:gd name="connsiteY184" fmla="*/ 587360 h 1159154"/>
                  <a:gd name="connsiteX185" fmla="*/ 257149 w 1166484"/>
                  <a:gd name="connsiteY185" fmla="*/ 588979 h 1159154"/>
                  <a:gd name="connsiteX186" fmla="*/ 258809 w 1166484"/>
                  <a:gd name="connsiteY186" fmla="*/ 588439 h 1159154"/>
                  <a:gd name="connsiteX187" fmla="*/ 258255 w 1166484"/>
                  <a:gd name="connsiteY187" fmla="*/ 574406 h 1159154"/>
                  <a:gd name="connsiteX188" fmla="*/ 261021 w 1166484"/>
                  <a:gd name="connsiteY188" fmla="*/ 566310 h 1159154"/>
                  <a:gd name="connsiteX189" fmla="*/ 252725 w 1166484"/>
                  <a:gd name="connsiteY189" fmla="*/ 555516 h 1159154"/>
                  <a:gd name="connsiteX190" fmla="*/ 262127 w 1166484"/>
                  <a:gd name="connsiteY190" fmla="*/ 541483 h 1159154"/>
                  <a:gd name="connsiteX191" fmla="*/ 254384 w 1166484"/>
                  <a:gd name="connsiteY191" fmla="*/ 538785 h 1159154"/>
                  <a:gd name="connsiteX192" fmla="*/ 252725 w 1166484"/>
                  <a:gd name="connsiteY192" fmla="*/ 538785 h 1159154"/>
                  <a:gd name="connsiteX193" fmla="*/ 244428 w 1166484"/>
                  <a:gd name="connsiteY193" fmla="*/ 531768 h 1159154"/>
                  <a:gd name="connsiteX194" fmla="*/ 232260 w 1166484"/>
                  <a:gd name="connsiteY194" fmla="*/ 528530 h 1159154"/>
                  <a:gd name="connsiteX195" fmla="*/ 227835 w 1166484"/>
                  <a:gd name="connsiteY195" fmla="*/ 520974 h 1159154"/>
                  <a:gd name="connsiteX196" fmla="*/ 215114 w 1166484"/>
                  <a:gd name="connsiteY196" fmla="*/ 512878 h 1159154"/>
                  <a:gd name="connsiteX197" fmla="*/ 207924 w 1166484"/>
                  <a:gd name="connsiteY197" fmla="*/ 510179 h 1159154"/>
                  <a:gd name="connsiteX198" fmla="*/ 199075 w 1166484"/>
                  <a:gd name="connsiteY198" fmla="*/ 482114 h 1159154"/>
                  <a:gd name="connsiteX199" fmla="*/ 185247 w 1166484"/>
                  <a:gd name="connsiteY199" fmla="*/ 469700 h 1159154"/>
                  <a:gd name="connsiteX200" fmla="*/ 202946 w 1166484"/>
                  <a:gd name="connsiteY200" fmla="*/ 440555 h 1159154"/>
                  <a:gd name="connsiteX201" fmla="*/ 184694 w 1166484"/>
                  <a:gd name="connsiteY201" fmla="*/ 433539 h 1159154"/>
                  <a:gd name="connsiteX202" fmla="*/ 189672 w 1166484"/>
                  <a:gd name="connsiteY202" fmla="*/ 427602 h 1159154"/>
                  <a:gd name="connsiteX203" fmla="*/ 194650 w 1166484"/>
                  <a:gd name="connsiteY203" fmla="*/ 417347 h 1159154"/>
                  <a:gd name="connsiteX204" fmla="*/ 201840 w 1166484"/>
                  <a:gd name="connsiteY204" fmla="*/ 418966 h 1159154"/>
                  <a:gd name="connsiteX205" fmla="*/ 215114 w 1166484"/>
                  <a:gd name="connsiteY205" fmla="*/ 420585 h 1159154"/>
                  <a:gd name="connsiteX206" fmla="*/ 209583 w 1166484"/>
                  <a:gd name="connsiteY206" fmla="*/ 413029 h 1159154"/>
                  <a:gd name="connsiteX207" fmla="*/ 204052 w 1166484"/>
                  <a:gd name="connsiteY207" fmla="*/ 410870 h 1159154"/>
                  <a:gd name="connsiteX208" fmla="*/ 189119 w 1166484"/>
                  <a:gd name="connsiteY208" fmla="*/ 411410 h 1159154"/>
                  <a:gd name="connsiteX209" fmla="*/ 180269 w 1166484"/>
                  <a:gd name="connsiteY209" fmla="*/ 416267 h 1159154"/>
                  <a:gd name="connsiteX210" fmla="*/ 173632 w 1166484"/>
                  <a:gd name="connsiteY210" fmla="*/ 414108 h 1159154"/>
                  <a:gd name="connsiteX211" fmla="*/ 164230 w 1166484"/>
                  <a:gd name="connsiteY211" fmla="*/ 398457 h 1159154"/>
                  <a:gd name="connsiteX212" fmla="*/ 170314 w 1166484"/>
                  <a:gd name="connsiteY212" fmla="*/ 391980 h 1159154"/>
                  <a:gd name="connsiteX213" fmla="*/ 170314 w 1166484"/>
                  <a:gd name="connsiteY213" fmla="*/ 385503 h 1159154"/>
                  <a:gd name="connsiteX214" fmla="*/ 145425 w 1166484"/>
                  <a:gd name="connsiteY214" fmla="*/ 383344 h 1159154"/>
                  <a:gd name="connsiteX215" fmla="*/ 143212 w 1166484"/>
                  <a:gd name="connsiteY215" fmla="*/ 383884 h 1159154"/>
                  <a:gd name="connsiteX216" fmla="*/ 135469 w 1166484"/>
                  <a:gd name="connsiteY216" fmla="*/ 381725 h 1159154"/>
                  <a:gd name="connsiteX217" fmla="*/ 138788 w 1166484"/>
                  <a:gd name="connsiteY217" fmla="*/ 377947 h 1159154"/>
                  <a:gd name="connsiteX218" fmla="*/ 148743 w 1166484"/>
                  <a:gd name="connsiteY218" fmla="*/ 375788 h 1159154"/>
                  <a:gd name="connsiteX219" fmla="*/ 149296 w 1166484"/>
                  <a:gd name="connsiteY219" fmla="*/ 369851 h 1159154"/>
                  <a:gd name="connsiteX220" fmla="*/ 131044 w 1166484"/>
                  <a:gd name="connsiteY220" fmla="*/ 371470 h 1159154"/>
                  <a:gd name="connsiteX221" fmla="*/ 117217 w 1166484"/>
                  <a:gd name="connsiteY221" fmla="*/ 368232 h 1159154"/>
                  <a:gd name="connsiteX222" fmla="*/ 112239 w 1166484"/>
                  <a:gd name="connsiteY222" fmla="*/ 361216 h 1159154"/>
                  <a:gd name="connsiteX223" fmla="*/ 105049 w 1166484"/>
                  <a:gd name="connsiteY223" fmla="*/ 357438 h 1159154"/>
                  <a:gd name="connsiteX224" fmla="*/ 97859 w 1166484"/>
                  <a:gd name="connsiteY224" fmla="*/ 349881 h 1159154"/>
                  <a:gd name="connsiteX225" fmla="*/ 93987 w 1166484"/>
                  <a:gd name="connsiteY225" fmla="*/ 348802 h 1159154"/>
                  <a:gd name="connsiteX226" fmla="*/ 79054 w 1166484"/>
                  <a:gd name="connsiteY226" fmla="*/ 340166 h 1159154"/>
                  <a:gd name="connsiteX227" fmla="*/ 63567 w 1166484"/>
                  <a:gd name="connsiteY227" fmla="*/ 335849 h 1159154"/>
                  <a:gd name="connsiteX228" fmla="*/ 53611 w 1166484"/>
                  <a:gd name="connsiteY228" fmla="*/ 326134 h 1159154"/>
                  <a:gd name="connsiteX229" fmla="*/ 35912 w 1166484"/>
                  <a:gd name="connsiteY229" fmla="*/ 322356 h 1159154"/>
                  <a:gd name="connsiteX230" fmla="*/ 23191 w 1166484"/>
                  <a:gd name="connsiteY230" fmla="*/ 330451 h 1159154"/>
                  <a:gd name="connsiteX231" fmla="*/ 24298 w 1166484"/>
                  <a:gd name="connsiteY231" fmla="*/ 315339 h 1159154"/>
                  <a:gd name="connsiteX232" fmla="*/ 16554 w 1166484"/>
                  <a:gd name="connsiteY232" fmla="*/ 312101 h 1159154"/>
                  <a:gd name="connsiteX233" fmla="*/ 6045 w 1166484"/>
                  <a:gd name="connsiteY233" fmla="*/ 301306 h 1159154"/>
                  <a:gd name="connsiteX234" fmla="*/ 3833 w 1166484"/>
                  <a:gd name="connsiteY234" fmla="*/ 297528 h 1159154"/>
                  <a:gd name="connsiteX235" fmla="*/ 2174 w 1166484"/>
                  <a:gd name="connsiteY235" fmla="*/ 296989 h 1159154"/>
                  <a:gd name="connsiteX236" fmla="*/ 2174 w 1166484"/>
                  <a:gd name="connsiteY236" fmla="*/ 295369 h 1159154"/>
                  <a:gd name="connsiteX237" fmla="*/ 5492 w 1166484"/>
                  <a:gd name="connsiteY237" fmla="*/ 293210 h 1159154"/>
                  <a:gd name="connsiteX238" fmla="*/ 34253 w 1166484"/>
                  <a:gd name="connsiteY238" fmla="*/ 298608 h 1159154"/>
                  <a:gd name="connsiteX239" fmla="*/ 38125 w 1166484"/>
                  <a:gd name="connsiteY239" fmla="*/ 290512 h 1159154"/>
                  <a:gd name="connsiteX240" fmla="*/ 35912 w 1166484"/>
                  <a:gd name="connsiteY240" fmla="*/ 286734 h 1159154"/>
                  <a:gd name="connsiteX241" fmla="*/ 18767 w 1166484"/>
                  <a:gd name="connsiteY241" fmla="*/ 280797 h 1159154"/>
                  <a:gd name="connsiteX242" fmla="*/ 14342 w 1166484"/>
                  <a:gd name="connsiteY242" fmla="*/ 281337 h 1159154"/>
                  <a:gd name="connsiteX243" fmla="*/ 14895 w 1166484"/>
                  <a:gd name="connsiteY243" fmla="*/ 273241 h 1159154"/>
                  <a:gd name="connsiteX244" fmla="*/ 39784 w 1166484"/>
                  <a:gd name="connsiteY244" fmla="*/ 276479 h 1159154"/>
                  <a:gd name="connsiteX245" fmla="*/ 41996 w 1166484"/>
                  <a:gd name="connsiteY245" fmla="*/ 273241 h 1159154"/>
                  <a:gd name="connsiteX246" fmla="*/ 31488 w 1166484"/>
                  <a:gd name="connsiteY246" fmla="*/ 266224 h 1159154"/>
                  <a:gd name="connsiteX247" fmla="*/ 34253 w 1166484"/>
                  <a:gd name="connsiteY247" fmla="*/ 259748 h 1159154"/>
                  <a:gd name="connsiteX248" fmla="*/ 10470 w 1166484"/>
                  <a:gd name="connsiteY248" fmla="*/ 262446 h 1159154"/>
                  <a:gd name="connsiteX249" fmla="*/ 515 w 1166484"/>
                  <a:gd name="connsiteY249" fmla="*/ 259748 h 1159154"/>
                  <a:gd name="connsiteX250" fmla="*/ 6599 w 1166484"/>
                  <a:gd name="connsiteY250" fmla="*/ 241937 h 1159154"/>
                  <a:gd name="connsiteX251" fmla="*/ 24851 w 1166484"/>
                  <a:gd name="connsiteY251" fmla="*/ 236540 h 1159154"/>
                  <a:gd name="connsiteX252" fmla="*/ 38125 w 1166484"/>
                  <a:gd name="connsiteY252" fmla="*/ 230603 h 1159154"/>
                  <a:gd name="connsiteX253" fmla="*/ 48634 w 1166484"/>
                  <a:gd name="connsiteY253" fmla="*/ 232222 h 1159154"/>
                  <a:gd name="connsiteX254" fmla="*/ 63567 w 1166484"/>
                  <a:gd name="connsiteY254" fmla="*/ 230603 h 1159154"/>
                  <a:gd name="connsiteX255" fmla="*/ 75735 w 1166484"/>
                  <a:gd name="connsiteY255" fmla="*/ 237619 h 1159154"/>
                  <a:gd name="connsiteX256" fmla="*/ 85138 w 1166484"/>
                  <a:gd name="connsiteY256" fmla="*/ 231682 h 1159154"/>
                  <a:gd name="connsiteX257" fmla="*/ 98965 w 1166484"/>
                  <a:gd name="connsiteY257" fmla="*/ 238698 h 1159154"/>
                  <a:gd name="connsiteX258" fmla="*/ 101177 w 1166484"/>
                  <a:gd name="connsiteY258" fmla="*/ 237079 h 1159154"/>
                  <a:gd name="connsiteX259" fmla="*/ 105602 w 1166484"/>
                  <a:gd name="connsiteY259" fmla="*/ 221967 h 1159154"/>
                  <a:gd name="connsiteX260" fmla="*/ 117770 w 1166484"/>
                  <a:gd name="connsiteY260" fmla="*/ 223586 h 1159154"/>
                  <a:gd name="connsiteX261" fmla="*/ 125513 w 1166484"/>
                  <a:gd name="connsiteY261" fmla="*/ 220888 h 1159154"/>
                  <a:gd name="connsiteX262" fmla="*/ 131044 w 1166484"/>
                  <a:gd name="connsiteY262" fmla="*/ 225205 h 1159154"/>
                  <a:gd name="connsiteX263" fmla="*/ 142659 w 1166484"/>
                  <a:gd name="connsiteY263" fmla="*/ 226825 h 1159154"/>
                  <a:gd name="connsiteX264" fmla="*/ 148190 w 1166484"/>
                  <a:gd name="connsiteY264" fmla="*/ 238698 h 1159154"/>
                  <a:gd name="connsiteX265" fmla="*/ 153168 w 1166484"/>
                  <a:gd name="connsiteY265" fmla="*/ 245715 h 1159154"/>
                  <a:gd name="connsiteX266" fmla="*/ 166442 w 1166484"/>
                  <a:gd name="connsiteY266" fmla="*/ 268383 h 1159154"/>
                  <a:gd name="connsiteX267" fmla="*/ 185247 w 1166484"/>
                  <a:gd name="connsiteY267" fmla="*/ 254350 h 1159154"/>
                  <a:gd name="connsiteX268" fmla="*/ 196862 w 1166484"/>
                  <a:gd name="connsiteY268" fmla="*/ 252731 h 1159154"/>
                  <a:gd name="connsiteX269" fmla="*/ 197415 w 1166484"/>
                  <a:gd name="connsiteY269" fmla="*/ 255970 h 1159154"/>
                  <a:gd name="connsiteX270" fmla="*/ 200181 w 1166484"/>
                  <a:gd name="connsiteY270" fmla="*/ 259208 h 1159154"/>
                  <a:gd name="connsiteX271" fmla="*/ 210690 w 1166484"/>
                  <a:gd name="connsiteY271" fmla="*/ 263526 h 1159154"/>
                  <a:gd name="connsiteX272" fmla="*/ 228388 w 1166484"/>
                  <a:gd name="connsiteY272" fmla="*/ 252731 h 1159154"/>
                  <a:gd name="connsiteX273" fmla="*/ 235579 w 1166484"/>
                  <a:gd name="connsiteY273" fmla="*/ 263526 h 1159154"/>
                  <a:gd name="connsiteX274" fmla="*/ 259362 w 1166484"/>
                  <a:gd name="connsiteY274" fmla="*/ 269463 h 1159154"/>
                  <a:gd name="connsiteX275" fmla="*/ 264893 w 1166484"/>
                  <a:gd name="connsiteY275" fmla="*/ 268383 h 1159154"/>
                  <a:gd name="connsiteX276" fmla="*/ 268764 w 1166484"/>
                  <a:gd name="connsiteY276" fmla="*/ 263526 h 1159154"/>
                  <a:gd name="connsiteX277" fmla="*/ 259915 w 1166484"/>
                  <a:gd name="connsiteY277" fmla="*/ 255430 h 1159154"/>
                  <a:gd name="connsiteX278" fmla="*/ 258809 w 1166484"/>
                  <a:gd name="connsiteY278" fmla="*/ 247874 h 1159154"/>
                  <a:gd name="connsiteX279" fmla="*/ 264893 w 1166484"/>
                  <a:gd name="connsiteY279" fmla="*/ 224666 h 1159154"/>
                  <a:gd name="connsiteX280" fmla="*/ 263233 w 1166484"/>
                  <a:gd name="connsiteY280" fmla="*/ 209553 h 1159154"/>
                  <a:gd name="connsiteX281" fmla="*/ 264339 w 1166484"/>
                  <a:gd name="connsiteY281" fmla="*/ 194981 h 1159154"/>
                  <a:gd name="connsiteX282" fmla="*/ 257702 w 1166484"/>
                  <a:gd name="connsiteY282" fmla="*/ 186345 h 1159154"/>
                  <a:gd name="connsiteX283" fmla="*/ 254384 w 1166484"/>
                  <a:gd name="connsiteY283" fmla="*/ 172852 h 1159154"/>
                  <a:gd name="connsiteX284" fmla="*/ 246641 w 1166484"/>
                  <a:gd name="connsiteY284" fmla="*/ 166915 h 1159154"/>
                  <a:gd name="connsiteX285" fmla="*/ 247194 w 1166484"/>
                  <a:gd name="connsiteY285" fmla="*/ 142628 h 1159154"/>
                  <a:gd name="connsiteX286" fmla="*/ 244981 w 1166484"/>
                  <a:gd name="connsiteY286" fmla="*/ 133452 h 1159154"/>
                  <a:gd name="connsiteX287" fmla="*/ 248853 w 1166484"/>
                  <a:gd name="connsiteY287" fmla="*/ 131833 h 1159154"/>
                  <a:gd name="connsiteX288" fmla="*/ 253831 w 1166484"/>
                  <a:gd name="connsiteY288" fmla="*/ 136691 h 1159154"/>
                  <a:gd name="connsiteX289" fmla="*/ 272636 w 1166484"/>
                  <a:gd name="connsiteY289" fmla="*/ 144787 h 1159154"/>
                  <a:gd name="connsiteX290" fmla="*/ 287016 w 1166484"/>
                  <a:gd name="connsiteY290" fmla="*/ 139929 h 1159154"/>
                  <a:gd name="connsiteX291" fmla="*/ 298078 w 1166484"/>
                  <a:gd name="connsiteY291" fmla="*/ 141548 h 1159154"/>
                  <a:gd name="connsiteX292" fmla="*/ 300290 w 1166484"/>
                  <a:gd name="connsiteY292" fmla="*/ 143707 h 1159154"/>
                  <a:gd name="connsiteX293" fmla="*/ 291994 w 1166484"/>
                  <a:gd name="connsiteY293" fmla="*/ 154502 h 1159154"/>
                  <a:gd name="connsiteX294" fmla="*/ 298078 w 1166484"/>
                  <a:gd name="connsiteY294" fmla="*/ 170154 h 1159154"/>
                  <a:gd name="connsiteX295" fmla="*/ 299184 w 1166484"/>
                  <a:gd name="connsiteY295" fmla="*/ 180408 h 1159154"/>
                  <a:gd name="connsiteX296" fmla="*/ 313012 w 1166484"/>
                  <a:gd name="connsiteY296" fmla="*/ 180408 h 1159154"/>
                  <a:gd name="connsiteX297" fmla="*/ 339560 w 1166484"/>
                  <a:gd name="connsiteY297" fmla="*/ 187964 h 1159154"/>
                  <a:gd name="connsiteX298" fmla="*/ 358918 w 1166484"/>
                  <a:gd name="connsiteY298" fmla="*/ 190123 h 1159154"/>
                  <a:gd name="connsiteX299" fmla="*/ 379936 w 1166484"/>
                  <a:gd name="connsiteY299" fmla="*/ 198759 h 1159154"/>
                  <a:gd name="connsiteX300" fmla="*/ 393210 w 1166484"/>
                  <a:gd name="connsiteY300" fmla="*/ 191742 h 1159154"/>
                  <a:gd name="connsiteX301" fmla="*/ 409250 w 1166484"/>
                  <a:gd name="connsiteY301" fmla="*/ 184186 h 1159154"/>
                  <a:gd name="connsiteX302" fmla="*/ 412568 w 1166484"/>
                  <a:gd name="connsiteY302" fmla="*/ 179869 h 1159154"/>
                  <a:gd name="connsiteX303" fmla="*/ 406484 w 1166484"/>
                  <a:gd name="connsiteY303" fmla="*/ 179329 h 1159154"/>
                  <a:gd name="connsiteX304" fmla="*/ 404825 w 1166484"/>
                  <a:gd name="connsiteY304" fmla="*/ 160439 h 1159154"/>
                  <a:gd name="connsiteX305" fmla="*/ 456262 w 1166484"/>
                  <a:gd name="connsiteY305" fmla="*/ 135072 h 1159154"/>
                  <a:gd name="connsiteX306" fmla="*/ 462900 w 1166484"/>
                  <a:gd name="connsiteY306" fmla="*/ 133992 h 1159154"/>
                  <a:gd name="connsiteX307" fmla="*/ 488342 w 1166484"/>
                  <a:gd name="connsiteY307" fmla="*/ 125896 h 1159154"/>
                  <a:gd name="connsiteX308" fmla="*/ 509359 w 1166484"/>
                  <a:gd name="connsiteY308" fmla="*/ 111863 h 1159154"/>
                  <a:gd name="connsiteX309" fmla="*/ 517656 w 1166484"/>
                  <a:gd name="connsiteY309" fmla="*/ 99990 h 1159154"/>
                  <a:gd name="connsiteX310" fmla="*/ 525952 w 1166484"/>
                  <a:gd name="connsiteY310" fmla="*/ 101069 h 1159154"/>
                  <a:gd name="connsiteX311" fmla="*/ 524846 w 1166484"/>
                  <a:gd name="connsiteY311" fmla="*/ 83258 h 1159154"/>
                  <a:gd name="connsiteX312" fmla="*/ 528164 w 1166484"/>
                  <a:gd name="connsiteY312" fmla="*/ 74623 h 1159154"/>
                  <a:gd name="connsiteX313" fmla="*/ 526505 w 1166484"/>
                  <a:gd name="connsiteY313" fmla="*/ 70844 h 1159154"/>
                  <a:gd name="connsiteX314" fmla="*/ 528717 w 1166484"/>
                  <a:gd name="connsiteY314" fmla="*/ 57351 h 1159154"/>
                  <a:gd name="connsiteX315" fmla="*/ 529824 w 1166484"/>
                  <a:gd name="connsiteY315" fmla="*/ 22269 h 1159154"/>
                  <a:gd name="connsiteX316" fmla="*/ 540332 w 1166484"/>
                  <a:gd name="connsiteY316" fmla="*/ 14174 h 1159154"/>
                  <a:gd name="connsiteX317" fmla="*/ 601726 w 1166484"/>
                  <a:gd name="connsiteY317" fmla="*/ -399 h 1159154"/>
                  <a:gd name="connsiteX318" fmla="*/ 607810 w 1166484"/>
                  <a:gd name="connsiteY318" fmla="*/ 14174 h 1159154"/>
                  <a:gd name="connsiteX319" fmla="*/ 606703 w 1166484"/>
                  <a:gd name="connsiteY319" fmla="*/ 32524 h 1159154"/>
                  <a:gd name="connsiteX320" fmla="*/ 629380 w 1166484"/>
                  <a:gd name="connsiteY320" fmla="*/ 51414 h 1159154"/>
                  <a:gd name="connsiteX321" fmla="*/ 632699 w 1166484"/>
                  <a:gd name="connsiteY321" fmla="*/ 45477 h 1159154"/>
                  <a:gd name="connsiteX322" fmla="*/ 645973 w 1166484"/>
                  <a:gd name="connsiteY322" fmla="*/ 40620 h 1159154"/>
                  <a:gd name="connsiteX323" fmla="*/ 654822 w 1166484"/>
                  <a:gd name="connsiteY323" fmla="*/ 74083 h 1159154"/>
                  <a:gd name="connsiteX324" fmla="*/ 675287 w 1166484"/>
                  <a:gd name="connsiteY324" fmla="*/ 81639 h 1159154"/>
                  <a:gd name="connsiteX325" fmla="*/ 685243 w 1166484"/>
                  <a:gd name="connsiteY325" fmla="*/ 100529 h 1159154"/>
                  <a:gd name="connsiteX326" fmla="*/ 692986 w 1166484"/>
                  <a:gd name="connsiteY326" fmla="*/ 97831 h 1159154"/>
                  <a:gd name="connsiteX327" fmla="*/ 709025 w 1166484"/>
                  <a:gd name="connsiteY327" fmla="*/ 98910 h 1159154"/>
                  <a:gd name="connsiteX328" fmla="*/ 718981 w 1166484"/>
                  <a:gd name="connsiteY328" fmla="*/ 109705 h 1159154"/>
                  <a:gd name="connsiteX329" fmla="*/ 722300 w 1166484"/>
                  <a:gd name="connsiteY329" fmla="*/ 118880 h 1159154"/>
                  <a:gd name="connsiteX330" fmla="*/ 722853 w 1166484"/>
                  <a:gd name="connsiteY330" fmla="*/ 140469 h 1159154"/>
                  <a:gd name="connsiteX331" fmla="*/ 742211 w 1166484"/>
                  <a:gd name="connsiteY331" fmla="*/ 144787 h 1159154"/>
                  <a:gd name="connsiteX332" fmla="*/ 751060 w 1166484"/>
                  <a:gd name="connsiteY332" fmla="*/ 146406 h 1159154"/>
                  <a:gd name="connsiteX333" fmla="*/ 759910 w 1166484"/>
                  <a:gd name="connsiteY333" fmla="*/ 138850 h 1159154"/>
                  <a:gd name="connsiteX334" fmla="*/ 768759 w 1166484"/>
                  <a:gd name="connsiteY334" fmla="*/ 123737 h 1159154"/>
                  <a:gd name="connsiteX335" fmla="*/ 773184 w 1166484"/>
                  <a:gd name="connsiteY335" fmla="*/ 122658 h 1159154"/>
                  <a:gd name="connsiteX336" fmla="*/ 775397 w 1166484"/>
                  <a:gd name="connsiteY336" fmla="*/ 125896 h 1159154"/>
                  <a:gd name="connsiteX337" fmla="*/ 770972 w 1166484"/>
                  <a:gd name="connsiteY337" fmla="*/ 145326 h 1159154"/>
                  <a:gd name="connsiteX338" fmla="*/ 774290 w 1166484"/>
                  <a:gd name="connsiteY338" fmla="*/ 164217 h 1159154"/>
                  <a:gd name="connsiteX339" fmla="*/ 785905 w 1166484"/>
                  <a:gd name="connsiteY339" fmla="*/ 168534 h 1159154"/>
                  <a:gd name="connsiteX340" fmla="*/ 804157 w 1166484"/>
                  <a:gd name="connsiteY340" fmla="*/ 177170 h 1159154"/>
                  <a:gd name="connsiteX341" fmla="*/ 812454 w 1166484"/>
                  <a:gd name="connsiteY341" fmla="*/ 186345 h 1159154"/>
                  <a:gd name="connsiteX342" fmla="*/ 817985 w 1166484"/>
                  <a:gd name="connsiteY342" fmla="*/ 192282 h 1159154"/>
                  <a:gd name="connsiteX343" fmla="*/ 820750 w 1166484"/>
                  <a:gd name="connsiteY343" fmla="*/ 198219 h 1159154"/>
                  <a:gd name="connsiteX344" fmla="*/ 846192 w 1166484"/>
                  <a:gd name="connsiteY344" fmla="*/ 195521 h 1159154"/>
                  <a:gd name="connsiteX345" fmla="*/ 858913 w 1166484"/>
                  <a:gd name="connsiteY345" fmla="*/ 207934 h 1159154"/>
                  <a:gd name="connsiteX346" fmla="*/ 880484 w 1166484"/>
                  <a:gd name="connsiteY346" fmla="*/ 201458 h 1159154"/>
                  <a:gd name="connsiteX347" fmla="*/ 887121 w 1166484"/>
                  <a:gd name="connsiteY347" fmla="*/ 202537 h 1159154"/>
                  <a:gd name="connsiteX348" fmla="*/ 904267 w 1166484"/>
                  <a:gd name="connsiteY348" fmla="*/ 210633 h 1159154"/>
                  <a:gd name="connsiteX349" fmla="*/ 907586 w 1166484"/>
                  <a:gd name="connsiteY349" fmla="*/ 217109 h 1159154"/>
                  <a:gd name="connsiteX350" fmla="*/ 915882 w 1166484"/>
                  <a:gd name="connsiteY350" fmla="*/ 237619 h 1159154"/>
                  <a:gd name="connsiteX351" fmla="*/ 926944 w 1166484"/>
                  <a:gd name="connsiteY351" fmla="*/ 243556 h 1159154"/>
                  <a:gd name="connsiteX352" fmla="*/ 934134 w 1166484"/>
                  <a:gd name="connsiteY352" fmla="*/ 234920 h 1159154"/>
                  <a:gd name="connsiteX353" fmla="*/ 951833 w 1166484"/>
                  <a:gd name="connsiteY353" fmla="*/ 250572 h 1159154"/>
                  <a:gd name="connsiteX354" fmla="*/ 973957 w 1166484"/>
                  <a:gd name="connsiteY354" fmla="*/ 244096 h 1159154"/>
                  <a:gd name="connsiteX355" fmla="*/ 978934 w 1166484"/>
                  <a:gd name="connsiteY355" fmla="*/ 242476 h 1159154"/>
                  <a:gd name="connsiteX356" fmla="*/ 989996 w 1166484"/>
                  <a:gd name="connsiteY356" fmla="*/ 253811 h 1159154"/>
                  <a:gd name="connsiteX357" fmla="*/ 1002717 w 1166484"/>
                  <a:gd name="connsiteY357" fmla="*/ 257049 h 1159154"/>
                  <a:gd name="connsiteX358" fmla="*/ 1011014 w 1166484"/>
                  <a:gd name="connsiteY358" fmla="*/ 254890 h 1159154"/>
                  <a:gd name="connsiteX359" fmla="*/ 1034244 w 1166484"/>
                  <a:gd name="connsiteY359" fmla="*/ 267304 h 1159154"/>
                  <a:gd name="connsiteX360" fmla="*/ 1022076 w 1166484"/>
                  <a:gd name="connsiteY360" fmla="*/ 285115 h 1159154"/>
                  <a:gd name="connsiteX361" fmla="*/ 1005483 w 1166484"/>
                  <a:gd name="connsiteY361" fmla="*/ 301306 h 1159154"/>
                  <a:gd name="connsiteX362" fmla="*/ 997740 w 1166484"/>
                  <a:gd name="connsiteY362" fmla="*/ 323975 h 1159154"/>
                  <a:gd name="connsiteX363" fmla="*/ 998293 w 1166484"/>
                  <a:gd name="connsiteY363" fmla="*/ 341246 h 1159154"/>
                  <a:gd name="connsiteX364" fmla="*/ 987784 w 1166484"/>
                  <a:gd name="connsiteY364" fmla="*/ 365533 h 1159154"/>
                  <a:gd name="connsiteX365" fmla="*/ 986125 w 1166484"/>
                  <a:gd name="connsiteY365" fmla="*/ 384963 h 1159154"/>
                  <a:gd name="connsiteX366" fmla="*/ 986678 w 1166484"/>
                  <a:gd name="connsiteY366" fmla="*/ 393059 h 1159154"/>
                  <a:gd name="connsiteX367" fmla="*/ 982253 w 1166484"/>
                  <a:gd name="connsiteY367" fmla="*/ 415188 h 1159154"/>
                  <a:gd name="connsiteX368" fmla="*/ 988337 w 1166484"/>
                  <a:gd name="connsiteY368" fmla="*/ 428681 h 1159154"/>
                  <a:gd name="connsiteX369" fmla="*/ 973957 w 1166484"/>
                  <a:gd name="connsiteY369" fmla="*/ 445412 h 1159154"/>
                  <a:gd name="connsiteX370" fmla="*/ 959576 w 1166484"/>
                  <a:gd name="connsiteY370" fmla="*/ 444333 h 1159154"/>
                  <a:gd name="connsiteX371" fmla="*/ 953492 w 1166484"/>
                  <a:gd name="connsiteY371" fmla="*/ 433539 h 1159154"/>
                  <a:gd name="connsiteX372" fmla="*/ 938559 w 1166484"/>
                  <a:gd name="connsiteY372" fmla="*/ 440555 h 1159154"/>
                  <a:gd name="connsiteX373" fmla="*/ 934687 w 1166484"/>
                  <a:gd name="connsiteY373" fmla="*/ 448651 h 1159154"/>
                  <a:gd name="connsiteX374" fmla="*/ 945196 w 1166484"/>
                  <a:gd name="connsiteY374" fmla="*/ 455667 h 1159154"/>
                  <a:gd name="connsiteX375" fmla="*/ 939112 w 1166484"/>
                  <a:gd name="connsiteY375" fmla="*/ 465922 h 1159154"/>
                  <a:gd name="connsiteX376" fmla="*/ 911457 w 1166484"/>
                  <a:gd name="connsiteY376" fmla="*/ 491829 h 1159154"/>
                  <a:gd name="connsiteX377" fmla="*/ 907032 w 1166484"/>
                  <a:gd name="connsiteY377" fmla="*/ 497766 h 1159154"/>
                  <a:gd name="connsiteX378" fmla="*/ 895971 w 1166484"/>
                  <a:gd name="connsiteY378" fmla="*/ 502623 h 1159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1166484" h="1159154">
                    <a:moveTo>
                      <a:pt x="1083469" y="1087143"/>
                    </a:moveTo>
                    <a:cubicBezTo>
                      <a:pt x="1085128" y="1086064"/>
                      <a:pt x="1089553" y="1079048"/>
                      <a:pt x="1089553" y="1077428"/>
                    </a:cubicBezTo>
                    <a:cubicBezTo>
                      <a:pt x="1090106" y="1073111"/>
                      <a:pt x="1079044" y="1066094"/>
                      <a:pt x="1078491" y="1065555"/>
                    </a:cubicBezTo>
                    <a:cubicBezTo>
                      <a:pt x="1077938" y="1064475"/>
                      <a:pt x="1078491" y="1057998"/>
                      <a:pt x="1079044" y="1056379"/>
                    </a:cubicBezTo>
                    <a:cubicBezTo>
                      <a:pt x="1079597" y="1054760"/>
                      <a:pt x="1082916" y="1053141"/>
                      <a:pt x="1082916" y="1051522"/>
                    </a:cubicBezTo>
                    <a:cubicBezTo>
                      <a:pt x="1082916" y="1048283"/>
                      <a:pt x="1075726" y="1045045"/>
                      <a:pt x="1078491" y="1038568"/>
                    </a:cubicBezTo>
                    <a:cubicBezTo>
                      <a:pt x="1080703" y="1034251"/>
                      <a:pt x="1085681" y="1030473"/>
                      <a:pt x="1089000" y="1026155"/>
                    </a:cubicBezTo>
                    <a:cubicBezTo>
                      <a:pt x="1090106" y="1023996"/>
                      <a:pt x="1091212" y="1021297"/>
                      <a:pt x="1092871" y="1019138"/>
                    </a:cubicBezTo>
                    <a:cubicBezTo>
                      <a:pt x="1093978" y="1018059"/>
                      <a:pt x="1096190" y="1017519"/>
                      <a:pt x="1097296" y="1016979"/>
                    </a:cubicBezTo>
                    <a:cubicBezTo>
                      <a:pt x="1105039" y="1011582"/>
                      <a:pt x="1112230" y="1005106"/>
                      <a:pt x="1121079" y="1001327"/>
                    </a:cubicBezTo>
                    <a:cubicBezTo>
                      <a:pt x="1126057" y="999169"/>
                      <a:pt x="1131035" y="1004026"/>
                      <a:pt x="1136013" y="1004026"/>
                    </a:cubicBezTo>
                    <a:cubicBezTo>
                      <a:pt x="1137672" y="1004026"/>
                      <a:pt x="1142650" y="1001327"/>
                      <a:pt x="1143203" y="1000248"/>
                    </a:cubicBezTo>
                    <a:cubicBezTo>
                      <a:pt x="1144309" y="995390"/>
                      <a:pt x="1139331" y="961388"/>
                      <a:pt x="1151499" y="968944"/>
                    </a:cubicBezTo>
                    <a:cubicBezTo>
                      <a:pt x="1152605" y="969484"/>
                      <a:pt x="1154265" y="971103"/>
                      <a:pt x="1154818" y="972182"/>
                    </a:cubicBezTo>
                    <a:cubicBezTo>
                      <a:pt x="1161455" y="986755"/>
                      <a:pt x="1155371" y="998629"/>
                      <a:pt x="1156477" y="1013201"/>
                    </a:cubicBezTo>
                    <a:cubicBezTo>
                      <a:pt x="1157030" y="1017519"/>
                      <a:pt x="1160349" y="1027234"/>
                      <a:pt x="1162008" y="1031552"/>
                    </a:cubicBezTo>
                    <a:cubicBezTo>
                      <a:pt x="1162561" y="1033171"/>
                      <a:pt x="1163667" y="1034790"/>
                      <a:pt x="1164220" y="1035870"/>
                    </a:cubicBezTo>
                    <a:cubicBezTo>
                      <a:pt x="1165326" y="1045045"/>
                      <a:pt x="1165880" y="1057998"/>
                      <a:pt x="1165880" y="1067174"/>
                    </a:cubicBezTo>
                    <a:cubicBezTo>
                      <a:pt x="1165880" y="1080127"/>
                      <a:pt x="1155371" y="1084985"/>
                      <a:pt x="1153711" y="1096319"/>
                    </a:cubicBezTo>
                    <a:cubicBezTo>
                      <a:pt x="1152605" y="1103875"/>
                      <a:pt x="1152605" y="1111971"/>
                      <a:pt x="1151499" y="1119527"/>
                    </a:cubicBezTo>
                    <a:cubicBezTo>
                      <a:pt x="1150393" y="1128702"/>
                      <a:pt x="1148734" y="1138957"/>
                      <a:pt x="1145968" y="1147053"/>
                    </a:cubicBezTo>
                    <a:cubicBezTo>
                      <a:pt x="1144862" y="1149751"/>
                      <a:pt x="1137119" y="1156768"/>
                      <a:pt x="1134906" y="1157847"/>
                    </a:cubicBezTo>
                    <a:cubicBezTo>
                      <a:pt x="1126057" y="1162165"/>
                      <a:pt x="1124398" y="1149751"/>
                      <a:pt x="1123845" y="1148672"/>
                    </a:cubicBezTo>
                    <a:cubicBezTo>
                      <a:pt x="1121632" y="1147053"/>
                      <a:pt x="1113889" y="1145973"/>
                      <a:pt x="1111123" y="1144354"/>
                    </a:cubicBezTo>
                    <a:cubicBezTo>
                      <a:pt x="1107805" y="1142195"/>
                      <a:pt x="1105592" y="1139497"/>
                      <a:pt x="1101721" y="1137877"/>
                    </a:cubicBezTo>
                    <a:cubicBezTo>
                      <a:pt x="1101721" y="1137877"/>
                      <a:pt x="1099508" y="1135719"/>
                      <a:pt x="1099508" y="1135179"/>
                    </a:cubicBezTo>
                    <a:cubicBezTo>
                      <a:pt x="1097296" y="1126543"/>
                      <a:pt x="1109464" y="1129782"/>
                      <a:pt x="1107805" y="1122226"/>
                    </a:cubicBezTo>
                    <a:cubicBezTo>
                      <a:pt x="1103933" y="1117908"/>
                      <a:pt x="1093978" y="1120067"/>
                      <a:pt x="1089553" y="1117368"/>
                    </a:cubicBezTo>
                    <a:cubicBezTo>
                      <a:pt x="1088447" y="1116828"/>
                      <a:pt x="1088447" y="1114130"/>
                      <a:pt x="1088447" y="1113050"/>
                    </a:cubicBezTo>
                    <a:cubicBezTo>
                      <a:pt x="1089000" y="1109812"/>
                      <a:pt x="1092871" y="1109272"/>
                      <a:pt x="1093978" y="1106574"/>
                    </a:cubicBezTo>
                    <a:cubicBezTo>
                      <a:pt x="1095084" y="1103875"/>
                      <a:pt x="1095637" y="1095779"/>
                      <a:pt x="1093424" y="1093620"/>
                    </a:cubicBezTo>
                    <a:cubicBezTo>
                      <a:pt x="1090659" y="1093080"/>
                      <a:pt x="1085681" y="1094160"/>
                      <a:pt x="1083469" y="1092001"/>
                    </a:cubicBezTo>
                    <a:cubicBezTo>
                      <a:pt x="1082916" y="1090922"/>
                      <a:pt x="1083469" y="1088763"/>
                      <a:pt x="1083469" y="1087143"/>
                    </a:cubicBezTo>
                    <a:close/>
                    <a:moveTo>
                      <a:pt x="895971" y="502623"/>
                    </a:moveTo>
                    <a:lnTo>
                      <a:pt x="894864" y="523672"/>
                    </a:lnTo>
                    <a:lnTo>
                      <a:pt x="874953" y="534467"/>
                    </a:lnTo>
                    <a:lnTo>
                      <a:pt x="862785" y="557675"/>
                    </a:lnTo>
                    <a:lnTo>
                      <a:pt x="866104" y="570089"/>
                    </a:lnTo>
                    <a:lnTo>
                      <a:pt x="861679" y="584121"/>
                    </a:lnTo>
                    <a:lnTo>
                      <a:pt x="852829" y="588439"/>
                    </a:lnTo>
                    <a:lnTo>
                      <a:pt x="853382" y="596535"/>
                    </a:lnTo>
                    <a:lnTo>
                      <a:pt x="865551" y="599234"/>
                    </a:lnTo>
                    <a:lnTo>
                      <a:pt x="879931" y="588979"/>
                    </a:lnTo>
                    <a:lnTo>
                      <a:pt x="876059" y="579804"/>
                    </a:lnTo>
                    <a:lnTo>
                      <a:pt x="874400" y="576025"/>
                    </a:lnTo>
                    <a:lnTo>
                      <a:pt x="881590" y="566310"/>
                    </a:lnTo>
                    <a:lnTo>
                      <a:pt x="900948" y="561453"/>
                    </a:lnTo>
                    <a:lnTo>
                      <a:pt x="912010" y="561453"/>
                    </a:lnTo>
                    <a:lnTo>
                      <a:pt x="921966" y="564691"/>
                    </a:lnTo>
                    <a:lnTo>
                      <a:pt x="921413" y="567390"/>
                    </a:lnTo>
                    <a:lnTo>
                      <a:pt x="919754" y="575486"/>
                    </a:lnTo>
                    <a:lnTo>
                      <a:pt x="926391" y="586280"/>
                    </a:lnTo>
                    <a:lnTo>
                      <a:pt x="920860" y="596535"/>
                    </a:lnTo>
                    <a:lnTo>
                      <a:pt x="929709" y="603551"/>
                    </a:lnTo>
                    <a:lnTo>
                      <a:pt x="931922" y="610568"/>
                    </a:lnTo>
                    <a:lnTo>
                      <a:pt x="939665" y="618124"/>
                    </a:lnTo>
                    <a:lnTo>
                      <a:pt x="939665" y="628379"/>
                    </a:lnTo>
                    <a:lnTo>
                      <a:pt x="921413" y="646190"/>
                    </a:lnTo>
                    <a:lnTo>
                      <a:pt x="935793" y="660762"/>
                    </a:lnTo>
                    <a:lnTo>
                      <a:pt x="934687" y="673176"/>
                    </a:lnTo>
                    <a:lnTo>
                      <a:pt x="940218" y="679113"/>
                    </a:lnTo>
                    <a:lnTo>
                      <a:pt x="947961" y="686669"/>
                    </a:lnTo>
                    <a:lnTo>
                      <a:pt x="946302" y="703940"/>
                    </a:lnTo>
                    <a:lnTo>
                      <a:pt x="925838" y="718512"/>
                    </a:lnTo>
                    <a:lnTo>
                      <a:pt x="906479" y="717973"/>
                    </a:lnTo>
                    <a:lnTo>
                      <a:pt x="909245" y="731466"/>
                    </a:lnTo>
                    <a:lnTo>
                      <a:pt x="921413" y="751975"/>
                    </a:lnTo>
                    <a:lnTo>
                      <a:pt x="936346" y="754674"/>
                    </a:lnTo>
                    <a:lnTo>
                      <a:pt x="939665" y="773564"/>
                    </a:lnTo>
                    <a:lnTo>
                      <a:pt x="926391" y="790835"/>
                    </a:lnTo>
                    <a:lnTo>
                      <a:pt x="929709" y="815123"/>
                    </a:lnTo>
                    <a:lnTo>
                      <a:pt x="936899" y="824838"/>
                    </a:lnTo>
                    <a:lnTo>
                      <a:pt x="970085" y="838871"/>
                    </a:lnTo>
                    <a:lnTo>
                      <a:pt x="997186" y="832394"/>
                    </a:lnTo>
                    <a:lnTo>
                      <a:pt x="999399" y="838331"/>
                    </a:lnTo>
                    <a:lnTo>
                      <a:pt x="999952" y="845887"/>
                    </a:lnTo>
                    <a:lnTo>
                      <a:pt x="984465" y="865317"/>
                    </a:lnTo>
                    <a:lnTo>
                      <a:pt x="984465" y="877731"/>
                    </a:lnTo>
                    <a:cubicBezTo>
                      <a:pt x="980594" y="877191"/>
                      <a:pt x="978381" y="878271"/>
                      <a:pt x="977275" y="879890"/>
                    </a:cubicBezTo>
                    <a:lnTo>
                      <a:pt x="972850" y="876651"/>
                    </a:lnTo>
                    <a:lnTo>
                      <a:pt x="967873" y="880969"/>
                    </a:lnTo>
                    <a:lnTo>
                      <a:pt x="969532" y="888525"/>
                    </a:lnTo>
                    <a:cubicBezTo>
                      <a:pt x="965660" y="889605"/>
                      <a:pt x="954598" y="884747"/>
                      <a:pt x="952939" y="886366"/>
                    </a:cubicBezTo>
                    <a:cubicBezTo>
                      <a:pt x="952386" y="886906"/>
                      <a:pt x="949067" y="899859"/>
                      <a:pt x="948514" y="902018"/>
                    </a:cubicBezTo>
                    <a:cubicBezTo>
                      <a:pt x="945749" y="903638"/>
                      <a:pt x="942430" y="900939"/>
                      <a:pt x="939665" y="901479"/>
                    </a:cubicBezTo>
                    <a:cubicBezTo>
                      <a:pt x="933581" y="902558"/>
                      <a:pt x="933028" y="909035"/>
                      <a:pt x="930262" y="912813"/>
                    </a:cubicBezTo>
                    <a:cubicBezTo>
                      <a:pt x="926944" y="917131"/>
                      <a:pt x="918647" y="914972"/>
                      <a:pt x="914776" y="918210"/>
                    </a:cubicBezTo>
                    <a:cubicBezTo>
                      <a:pt x="912010" y="920369"/>
                      <a:pt x="911457" y="925766"/>
                      <a:pt x="909245" y="927925"/>
                    </a:cubicBezTo>
                    <a:cubicBezTo>
                      <a:pt x="908139" y="929005"/>
                      <a:pt x="904267" y="931163"/>
                      <a:pt x="904267" y="932243"/>
                    </a:cubicBezTo>
                    <a:cubicBezTo>
                      <a:pt x="903714" y="933862"/>
                      <a:pt x="906479" y="936021"/>
                      <a:pt x="906479" y="937640"/>
                    </a:cubicBezTo>
                    <a:cubicBezTo>
                      <a:pt x="906479" y="939259"/>
                      <a:pt x="904267" y="945196"/>
                      <a:pt x="903714" y="946815"/>
                    </a:cubicBezTo>
                    <a:cubicBezTo>
                      <a:pt x="899842" y="947355"/>
                      <a:pt x="895971" y="944657"/>
                      <a:pt x="892099" y="945196"/>
                    </a:cubicBezTo>
                    <a:cubicBezTo>
                      <a:pt x="884356" y="946815"/>
                      <a:pt x="881037" y="953832"/>
                      <a:pt x="879378" y="954911"/>
                    </a:cubicBezTo>
                    <a:cubicBezTo>
                      <a:pt x="876059" y="956530"/>
                      <a:pt x="872741" y="949514"/>
                      <a:pt x="866104" y="952752"/>
                    </a:cubicBezTo>
                    <a:cubicBezTo>
                      <a:pt x="864444" y="953832"/>
                      <a:pt x="861679" y="959229"/>
                      <a:pt x="859467" y="959769"/>
                    </a:cubicBezTo>
                    <a:cubicBezTo>
                      <a:pt x="858913" y="959769"/>
                      <a:pt x="845639" y="953832"/>
                      <a:pt x="841214" y="954372"/>
                    </a:cubicBezTo>
                    <a:cubicBezTo>
                      <a:pt x="839002" y="954911"/>
                      <a:pt x="836790" y="958150"/>
                      <a:pt x="835130" y="958150"/>
                    </a:cubicBezTo>
                    <a:cubicBezTo>
                      <a:pt x="830706" y="958689"/>
                      <a:pt x="829600" y="953832"/>
                      <a:pt x="829046" y="952752"/>
                    </a:cubicBezTo>
                    <a:cubicBezTo>
                      <a:pt x="827940" y="952213"/>
                      <a:pt x="822409" y="951133"/>
                      <a:pt x="821303" y="950054"/>
                    </a:cubicBezTo>
                    <a:cubicBezTo>
                      <a:pt x="820197" y="948974"/>
                      <a:pt x="820197" y="945736"/>
                      <a:pt x="818538" y="945196"/>
                    </a:cubicBezTo>
                    <a:cubicBezTo>
                      <a:pt x="814113" y="943037"/>
                      <a:pt x="798626" y="944657"/>
                      <a:pt x="794755" y="943037"/>
                    </a:cubicBezTo>
                    <a:cubicBezTo>
                      <a:pt x="790883" y="941418"/>
                      <a:pt x="798073" y="932783"/>
                      <a:pt x="791989" y="925226"/>
                    </a:cubicBezTo>
                    <a:lnTo>
                      <a:pt x="790330" y="923607"/>
                    </a:lnTo>
                    <a:cubicBezTo>
                      <a:pt x="789224" y="923607"/>
                      <a:pt x="772078" y="923607"/>
                      <a:pt x="770972" y="924147"/>
                    </a:cubicBezTo>
                    <a:cubicBezTo>
                      <a:pt x="769866" y="924147"/>
                      <a:pt x="768206" y="925226"/>
                      <a:pt x="767100" y="925226"/>
                    </a:cubicBezTo>
                    <a:cubicBezTo>
                      <a:pt x="766547" y="925226"/>
                      <a:pt x="759910" y="920909"/>
                      <a:pt x="759910" y="920909"/>
                    </a:cubicBezTo>
                    <a:cubicBezTo>
                      <a:pt x="760463" y="919829"/>
                      <a:pt x="779821" y="914972"/>
                      <a:pt x="780927" y="913892"/>
                    </a:cubicBezTo>
                    <a:cubicBezTo>
                      <a:pt x="784799" y="910114"/>
                      <a:pt x="767653" y="899320"/>
                      <a:pt x="762675" y="899320"/>
                    </a:cubicBezTo>
                    <a:cubicBezTo>
                      <a:pt x="757698" y="898780"/>
                      <a:pt x="761016" y="909574"/>
                      <a:pt x="759357" y="911733"/>
                    </a:cubicBezTo>
                    <a:cubicBezTo>
                      <a:pt x="757698" y="913353"/>
                      <a:pt x="753273" y="912813"/>
                      <a:pt x="751614" y="913353"/>
                    </a:cubicBezTo>
                    <a:cubicBezTo>
                      <a:pt x="737786" y="918210"/>
                      <a:pt x="751060" y="927385"/>
                      <a:pt x="725065" y="917670"/>
                    </a:cubicBezTo>
                    <a:cubicBezTo>
                      <a:pt x="725065" y="916051"/>
                      <a:pt x="726171" y="910114"/>
                      <a:pt x="724512" y="909035"/>
                    </a:cubicBezTo>
                    <a:cubicBezTo>
                      <a:pt x="721747" y="907416"/>
                      <a:pt x="701835" y="909574"/>
                      <a:pt x="692986" y="906336"/>
                    </a:cubicBezTo>
                    <a:cubicBezTo>
                      <a:pt x="682477" y="905796"/>
                      <a:pt x="685796" y="889065"/>
                      <a:pt x="670862" y="891764"/>
                    </a:cubicBezTo>
                    <a:cubicBezTo>
                      <a:pt x="653716" y="895002"/>
                      <a:pt x="639336" y="920909"/>
                      <a:pt x="628274" y="926306"/>
                    </a:cubicBezTo>
                    <a:cubicBezTo>
                      <a:pt x="625509" y="927385"/>
                      <a:pt x="619978" y="924147"/>
                      <a:pt x="616659" y="924687"/>
                    </a:cubicBezTo>
                    <a:cubicBezTo>
                      <a:pt x="615000" y="924687"/>
                      <a:pt x="610022" y="927385"/>
                      <a:pt x="608363" y="929005"/>
                    </a:cubicBezTo>
                    <a:cubicBezTo>
                      <a:pt x="604491" y="933862"/>
                      <a:pt x="582920" y="965706"/>
                      <a:pt x="581814" y="970563"/>
                    </a:cubicBezTo>
                    <a:cubicBezTo>
                      <a:pt x="583474" y="973802"/>
                      <a:pt x="588451" y="977580"/>
                      <a:pt x="589005" y="980278"/>
                    </a:cubicBezTo>
                    <a:cubicBezTo>
                      <a:pt x="589558" y="984596"/>
                      <a:pt x="584580" y="995930"/>
                      <a:pt x="584580" y="1001327"/>
                    </a:cubicBezTo>
                    <a:cubicBezTo>
                      <a:pt x="585133" y="1005645"/>
                      <a:pt x="591217" y="1017519"/>
                      <a:pt x="593429" y="1021837"/>
                    </a:cubicBezTo>
                    <a:lnTo>
                      <a:pt x="570199" y="1017519"/>
                    </a:lnTo>
                    <a:lnTo>
                      <a:pt x="557478" y="1023456"/>
                    </a:lnTo>
                    <a:lnTo>
                      <a:pt x="551947" y="1033711"/>
                    </a:lnTo>
                    <a:lnTo>
                      <a:pt x="517656" y="1019138"/>
                    </a:lnTo>
                    <a:lnTo>
                      <a:pt x="497744" y="1026694"/>
                    </a:lnTo>
                    <a:lnTo>
                      <a:pt x="486129" y="1014821"/>
                    </a:lnTo>
                    <a:lnTo>
                      <a:pt x="468430" y="1008884"/>
                    </a:lnTo>
                    <a:lnTo>
                      <a:pt x="470643" y="997010"/>
                    </a:lnTo>
                    <a:lnTo>
                      <a:pt x="470643" y="994851"/>
                    </a:lnTo>
                    <a:lnTo>
                      <a:pt x="452391" y="987295"/>
                    </a:lnTo>
                    <a:lnTo>
                      <a:pt x="444094" y="994851"/>
                    </a:lnTo>
                    <a:lnTo>
                      <a:pt x="437457" y="978659"/>
                    </a:lnTo>
                    <a:lnTo>
                      <a:pt x="421971" y="976500"/>
                    </a:lnTo>
                    <a:lnTo>
                      <a:pt x="413121" y="970563"/>
                    </a:lnTo>
                    <a:lnTo>
                      <a:pt x="386020" y="960308"/>
                    </a:lnTo>
                    <a:lnTo>
                      <a:pt x="379383" y="959229"/>
                    </a:lnTo>
                    <a:lnTo>
                      <a:pt x="375511" y="974341"/>
                    </a:lnTo>
                    <a:lnTo>
                      <a:pt x="372746" y="973802"/>
                    </a:lnTo>
                    <a:lnTo>
                      <a:pt x="353387" y="971103"/>
                    </a:lnTo>
                    <a:lnTo>
                      <a:pt x="346197" y="975960"/>
                    </a:lnTo>
                    <a:lnTo>
                      <a:pt x="337348" y="971643"/>
                    </a:lnTo>
                    <a:lnTo>
                      <a:pt x="310246" y="968944"/>
                    </a:lnTo>
                    <a:lnTo>
                      <a:pt x="298078" y="955991"/>
                    </a:lnTo>
                    <a:lnTo>
                      <a:pt x="268211" y="953832"/>
                    </a:lnTo>
                    <a:lnTo>
                      <a:pt x="256596" y="943577"/>
                    </a:lnTo>
                    <a:lnTo>
                      <a:pt x="253831" y="935481"/>
                    </a:lnTo>
                    <a:lnTo>
                      <a:pt x="252725" y="931703"/>
                    </a:lnTo>
                    <a:lnTo>
                      <a:pt x="228942" y="928465"/>
                    </a:lnTo>
                    <a:lnTo>
                      <a:pt x="209583" y="916051"/>
                    </a:lnTo>
                    <a:lnTo>
                      <a:pt x="193544" y="915511"/>
                    </a:lnTo>
                    <a:lnTo>
                      <a:pt x="202393" y="890144"/>
                    </a:lnTo>
                    <a:lnTo>
                      <a:pt x="175292" y="884207"/>
                    </a:lnTo>
                    <a:lnTo>
                      <a:pt x="171420" y="882588"/>
                    </a:lnTo>
                    <a:lnTo>
                      <a:pt x="164230" y="875032"/>
                    </a:lnTo>
                    <a:cubicBezTo>
                      <a:pt x="169761" y="873413"/>
                      <a:pt x="176398" y="871254"/>
                      <a:pt x="180823" y="867476"/>
                    </a:cubicBezTo>
                    <a:cubicBezTo>
                      <a:pt x="181929" y="866397"/>
                      <a:pt x="182482" y="864777"/>
                      <a:pt x="184141" y="863698"/>
                    </a:cubicBezTo>
                    <a:cubicBezTo>
                      <a:pt x="185800" y="862079"/>
                      <a:pt x="190778" y="860999"/>
                      <a:pt x="192438" y="858841"/>
                    </a:cubicBezTo>
                    <a:cubicBezTo>
                      <a:pt x="195203" y="854523"/>
                      <a:pt x="201287" y="836712"/>
                      <a:pt x="203499" y="831315"/>
                    </a:cubicBezTo>
                    <a:cubicBezTo>
                      <a:pt x="211243" y="804868"/>
                      <a:pt x="215667" y="777882"/>
                      <a:pt x="226176" y="751975"/>
                    </a:cubicBezTo>
                    <a:cubicBezTo>
                      <a:pt x="227835" y="748737"/>
                      <a:pt x="233919" y="736323"/>
                      <a:pt x="236132" y="734164"/>
                    </a:cubicBezTo>
                    <a:cubicBezTo>
                      <a:pt x="238344" y="732545"/>
                      <a:pt x="244428" y="733625"/>
                      <a:pt x="243875" y="730386"/>
                    </a:cubicBezTo>
                    <a:cubicBezTo>
                      <a:pt x="243875" y="728767"/>
                      <a:pt x="240003" y="719052"/>
                      <a:pt x="237791" y="720132"/>
                    </a:cubicBezTo>
                    <a:cubicBezTo>
                      <a:pt x="231707" y="721751"/>
                      <a:pt x="233919" y="724449"/>
                      <a:pt x="231707" y="728227"/>
                    </a:cubicBezTo>
                    <a:cubicBezTo>
                      <a:pt x="231154" y="729307"/>
                      <a:pt x="228388" y="732006"/>
                      <a:pt x="227282" y="732006"/>
                    </a:cubicBezTo>
                    <a:cubicBezTo>
                      <a:pt x="225623" y="731466"/>
                      <a:pt x="227835" y="717433"/>
                      <a:pt x="228388" y="715274"/>
                    </a:cubicBezTo>
                    <a:cubicBezTo>
                      <a:pt x="232260" y="692606"/>
                      <a:pt x="236685" y="669937"/>
                      <a:pt x="244981" y="648348"/>
                    </a:cubicBezTo>
                    <a:cubicBezTo>
                      <a:pt x="245534" y="646190"/>
                      <a:pt x="251065" y="634855"/>
                      <a:pt x="252171" y="633776"/>
                    </a:cubicBezTo>
                    <a:cubicBezTo>
                      <a:pt x="252725" y="633236"/>
                      <a:pt x="255490" y="632696"/>
                      <a:pt x="256043" y="633236"/>
                    </a:cubicBezTo>
                    <a:cubicBezTo>
                      <a:pt x="257149" y="633776"/>
                      <a:pt x="259362" y="640253"/>
                      <a:pt x="260468" y="641872"/>
                    </a:cubicBezTo>
                    <a:cubicBezTo>
                      <a:pt x="263786" y="645650"/>
                      <a:pt x="269317" y="648888"/>
                      <a:pt x="272083" y="653206"/>
                    </a:cubicBezTo>
                    <a:cubicBezTo>
                      <a:pt x="278167" y="662921"/>
                      <a:pt x="274848" y="683430"/>
                      <a:pt x="282592" y="693145"/>
                    </a:cubicBezTo>
                    <a:cubicBezTo>
                      <a:pt x="284251" y="695844"/>
                      <a:pt x="287016" y="697463"/>
                      <a:pt x="289229" y="699082"/>
                    </a:cubicBezTo>
                    <a:cubicBezTo>
                      <a:pt x="290888" y="700702"/>
                      <a:pt x="294206" y="702321"/>
                      <a:pt x="296419" y="702321"/>
                    </a:cubicBezTo>
                    <a:cubicBezTo>
                      <a:pt x="295313" y="695844"/>
                      <a:pt x="289782" y="689907"/>
                      <a:pt x="288122" y="683970"/>
                    </a:cubicBezTo>
                    <a:cubicBezTo>
                      <a:pt x="285910" y="678033"/>
                      <a:pt x="285910" y="671557"/>
                      <a:pt x="284251" y="665620"/>
                    </a:cubicBezTo>
                    <a:cubicBezTo>
                      <a:pt x="283698" y="665080"/>
                      <a:pt x="283145" y="659143"/>
                      <a:pt x="283145" y="658063"/>
                    </a:cubicBezTo>
                    <a:cubicBezTo>
                      <a:pt x="282592" y="641332"/>
                      <a:pt x="274848" y="628379"/>
                      <a:pt x="260468" y="619743"/>
                    </a:cubicBezTo>
                    <a:cubicBezTo>
                      <a:pt x="256043" y="617044"/>
                      <a:pt x="248853" y="616505"/>
                      <a:pt x="245534" y="612727"/>
                    </a:cubicBezTo>
                    <a:cubicBezTo>
                      <a:pt x="243322" y="605171"/>
                      <a:pt x="245534" y="606250"/>
                      <a:pt x="247194" y="600313"/>
                    </a:cubicBezTo>
                    <a:cubicBezTo>
                      <a:pt x="244981" y="598154"/>
                      <a:pt x="246087" y="594376"/>
                      <a:pt x="244981" y="591677"/>
                    </a:cubicBezTo>
                    <a:cubicBezTo>
                      <a:pt x="243322" y="588979"/>
                      <a:pt x="238897" y="586820"/>
                      <a:pt x="237238" y="583582"/>
                    </a:cubicBezTo>
                    <a:cubicBezTo>
                      <a:pt x="236685" y="581962"/>
                      <a:pt x="235026" y="572247"/>
                      <a:pt x="235579" y="570089"/>
                    </a:cubicBezTo>
                    <a:cubicBezTo>
                      <a:pt x="235579" y="567930"/>
                      <a:pt x="238897" y="567930"/>
                      <a:pt x="240557" y="568469"/>
                    </a:cubicBezTo>
                    <a:cubicBezTo>
                      <a:pt x="251065" y="574946"/>
                      <a:pt x="248853" y="583582"/>
                      <a:pt x="251618" y="587360"/>
                    </a:cubicBezTo>
                    <a:cubicBezTo>
                      <a:pt x="252725" y="588439"/>
                      <a:pt x="256043" y="588979"/>
                      <a:pt x="257149" y="588979"/>
                    </a:cubicBezTo>
                    <a:lnTo>
                      <a:pt x="258809" y="588439"/>
                    </a:lnTo>
                    <a:cubicBezTo>
                      <a:pt x="260468" y="582502"/>
                      <a:pt x="257702" y="579264"/>
                      <a:pt x="258255" y="574406"/>
                    </a:cubicBezTo>
                    <a:cubicBezTo>
                      <a:pt x="258255" y="571708"/>
                      <a:pt x="261021" y="568469"/>
                      <a:pt x="261021" y="566310"/>
                    </a:cubicBezTo>
                    <a:cubicBezTo>
                      <a:pt x="261021" y="560913"/>
                      <a:pt x="252725" y="559834"/>
                      <a:pt x="252725" y="555516"/>
                    </a:cubicBezTo>
                    <a:cubicBezTo>
                      <a:pt x="252725" y="551738"/>
                      <a:pt x="263233" y="546880"/>
                      <a:pt x="262127" y="541483"/>
                    </a:cubicBezTo>
                    <a:cubicBezTo>
                      <a:pt x="261574" y="538245"/>
                      <a:pt x="257149" y="538245"/>
                      <a:pt x="254384" y="538785"/>
                    </a:cubicBezTo>
                    <a:lnTo>
                      <a:pt x="252725" y="538785"/>
                    </a:lnTo>
                    <a:cubicBezTo>
                      <a:pt x="249959" y="536626"/>
                      <a:pt x="247747" y="533387"/>
                      <a:pt x="244428" y="531768"/>
                    </a:cubicBezTo>
                    <a:cubicBezTo>
                      <a:pt x="241663" y="530689"/>
                      <a:pt x="234472" y="530149"/>
                      <a:pt x="232260" y="528530"/>
                    </a:cubicBezTo>
                    <a:cubicBezTo>
                      <a:pt x="230601" y="527450"/>
                      <a:pt x="229495" y="522593"/>
                      <a:pt x="227835" y="520974"/>
                    </a:cubicBezTo>
                    <a:cubicBezTo>
                      <a:pt x="225623" y="518815"/>
                      <a:pt x="217880" y="513957"/>
                      <a:pt x="215114" y="512878"/>
                    </a:cubicBezTo>
                    <a:cubicBezTo>
                      <a:pt x="213455" y="511798"/>
                      <a:pt x="209030" y="511259"/>
                      <a:pt x="207924" y="510179"/>
                    </a:cubicBezTo>
                    <a:cubicBezTo>
                      <a:pt x="200734" y="504782"/>
                      <a:pt x="205159" y="490209"/>
                      <a:pt x="199075" y="482114"/>
                    </a:cubicBezTo>
                    <a:cubicBezTo>
                      <a:pt x="195756" y="478875"/>
                      <a:pt x="186907" y="472938"/>
                      <a:pt x="185247" y="469700"/>
                    </a:cubicBezTo>
                    <a:cubicBezTo>
                      <a:pt x="181929" y="462684"/>
                      <a:pt x="201287" y="447032"/>
                      <a:pt x="202946" y="440555"/>
                    </a:cubicBezTo>
                    <a:cubicBezTo>
                      <a:pt x="204052" y="437317"/>
                      <a:pt x="188013" y="436777"/>
                      <a:pt x="184694" y="433539"/>
                    </a:cubicBezTo>
                    <a:cubicBezTo>
                      <a:pt x="185800" y="429760"/>
                      <a:pt x="188566" y="430300"/>
                      <a:pt x="189672" y="427602"/>
                    </a:cubicBezTo>
                    <a:cubicBezTo>
                      <a:pt x="191331" y="424363"/>
                      <a:pt x="187460" y="417347"/>
                      <a:pt x="194650" y="417347"/>
                    </a:cubicBezTo>
                    <a:cubicBezTo>
                      <a:pt x="196862" y="417887"/>
                      <a:pt x="199628" y="418426"/>
                      <a:pt x="201840" y="418966"/>
                    </a:cubicBezTo>
                    <a:cubicBezTo>
                      <a:pt x="204052" y="419506"/>
                      <a:pt x="214561" y="424903"/>
                      <a:pt x="215114" y="420585"/>
                    </a:cubicBezTo>
                    <a:cubicBezTo>
                      <a:pt x="215667" y="418426"/>
                      <a:pt x="211243" y="414108"/>
                      <a:pt x="209583" y="413029"/>
                    </a:cubicBezTo>
                    <a:cubicBezTo>
                      <a:pt x="207924" y="412489"/>
                      <a:pt x="205712" y="411410"/>
                      <a:pt x="204052" y="410870"/>
                    </a:cubicBezTo>
                    <a:cubicBezTo>
                      <a:pt x="197415" y="409251"/>
                      <a:pt x="195203" y="408172"/>
                      <a:pt x="189119" y="411410"/>
                    </a:cubicBezTo>
                    <a:cubicBezTo>
                      <a:pt x="186907" y="412489"/>
                      <a:pt x="182482" y="416267"/>
                      <a:pt x="180269" y="416267"/>
                    </a:cubicBezTo>
                    <a:cubicBezTo>
                      <a:pt x="178610" y="416807"/>
                      <a:pt x="174739" y="414648"/>
                      <a:pt x="173632" y="414108"/>
                    </a:cubicBezTo>
                    <a:cubicBezTo>
                      <a:pt x="170314" y="411410"/>
                      <a:pt x="160358" y="403314"/>
                      <a:pt x="164230" y="398457"/>
                    </a:cubicBezTo>
                    <a:cubicBezTo>
                      <a:pt x="165336" y="397377"/>
                      <a:pt x="175292" y="397917"/>
                      <a:pt x="170314" y="391980"/>
                    </a:cubicBezTo>
                    <a:cubicBezTo>
                      <a:pt x="170867" y="390900"/>
                      <a:pt x="170867" y="387122"/>
                      <a:pt x="170314" y="385503"/>
                    </a:cubicBezTo>
                    <a:cubicBezTo>
                      <a:pt x="168655" y="381725"/>
                      <a:pt x="149296" y="382265"/>
                      <a:pt x="145425" y="383344"/>
                    </a:cubicBezTo>
                    <a:cubicBezTo>
                      <a:pt x="144872" y="383344"/>
                      <a:pt x="143765" y="383884"/>
                      <a:pt x="143212" y="383884"/>
                    </a:cubicBezTo>
                    <a:cubicBezTo>
                      <a:pt x="142106" y="384424"/>
                      <a:pt x="136022" y="382805"/>
                      <a:pt x="135469" y="381725"/>
                    </a:cubicBezTo>
                    <a:cubicBezTo>
                      <a:pt x="134916" y="380646"/>
                      <a:pt x="138234" y="377947"/>
                      <a:pt x="138788" y="377947"/>
                    </a:cubicBezTo>
                    <a:cubicBezTo>
                      <a:pt x="141000" y="376868"/>
                      <a:pt x="147637" y="376868"/>
                      <a:pt x="148743" y="375788"/>
                    </a:cubicBezTo>
                    <a:cubicBezTo>
                      <a:pt x="149849" y="374709"/>
                      <a:pt x="149849" y="370931"/>
                      <a:pt x="149296" y="369851"/>
                    </a:cubicBezTo>
                    <a:cubicBezTo>
                      <a:pt x="147084" y="361755"/>
                      <a:pt x="135469" y="371470"/>
                      <a:pt x="131044" y="371470"/>
                    </a:cubicBezTo>
                    <a:cubicBezTo>
                      <a:pt x="128832" y="371470"/>
                      <a:pt x="119429" y="369311"/>
                      <a:pt x="117217" y="368232"/>
                    </a:cubicBezTo>
                    <a:cubicBezTo>
                      <a:pt x="113345" y="366613"/>
                      <a:pt x="114452" y="363375"/>
                      <a:pt x="112239" y="361216"/>
                    </a:cubicBezTo>
                    <a:cubicBezTo>
                      <a:pt x="111133" y="360136"/>
                      <a:pt x="106708" y="359057"/>
                      <a:pt x="105049" y="357438"/>
                    </a:cubicBezTo>
                    <a:cubicBezTo>
                      <a:pt x="102283" y="355818"/>
                      <a:pt x="100624" y="352040"/>
                      <a:pt x="97859" y="349881"/>
                    </a:cubicBezTo>
                    <a:cubicBezTo>
                      <a:pt x="96753" y="349342"/>
                      <a:pt x="95093" y="349342"/>
                      <a:pt x="93987" y="348802"/>
                    </a:cubicBezTo>
                    <a:cubicBezTo>
                      <a:pt x="89009" y="346103"/>
                      <a:pt x="84585" y="342325"/>
                      <a:pt x="79054" y="340166"/>
                    </a:cubicBezTo>
                    <a:cubicBezTo>
                      <a:pt x="74076" y="338008"/>
                      <a:pt x="68545" y="337468"/>
                      <a:pt x="63567" y="335849"/>
                    </a:cubicBezTo>
                    <a:cubicBezTo>
                      <a:pt x="58036" y="333690"/>
                      <a:pt x="56930" y="327753"/>
                      <a:pt x="53611" y="326134"/>
                    </a:cubicBezTo>
                    <a:cubicBezTo>
                      <a:pt x="51399" y="325054"/>
                      <a:pt x="38125" y="322356"/>
                      <a:pt x="35912" y="322356"/>
                    </a:cubicBezTo>
                    <a:cubicBezTo>
                      <a:pt x="29828" y="322356"/>
                      <a:pt x="37019" y="336388"/>
                      <a:pt x="23191" y="330451"/>
                    </a:cubicBezTo>
                    <a:cubicBezTo>
                      <a:pt x="17107" y="327753"/>
                      <a:pt x="25957" y="320197"/>
                      <a:pt x="24298" y="315339"/>
                    </a:cubicBezTo>
                    <a:cubicBezTo>
                      <a:pt x="23744" y="313720"/>
                      <a:pt x="17660" y="313180"/>
                      <a:pt x="16554" y="312101"/>
                    </a:cubicBezTo>
                    <a:cubicBezTo>
                      <a:pt x="12683" y="309402"/>
                      <a:pt x="8811" y="305084"/>
                      <a:pt x="6045" y="301306"/>
                    </a:cubicBezTo>
                    <a:cubicBezTo>
                      <a:pt x="5492" y="300767"/>
                      <a:pt x="3833" y="298068"/>
                      <a:pt x="3833" y="297528"/>
                    </a:cubicBezTo>
                    <a:cubicBezTo>
                      <a:pt x="3280" y="297528"/>
                      <a:pt x="2727" y="297528"/>
                      <a:pt x="2174" y="296989"/>
                    </a:cubicBezTo>
                    <a:lnTo>
                      <a:pt x="2174" y="295369"/>
                    </a:lnTo>
                    <a:cubicBezTo>
                      <a:pt x="2727" y="294830"/>
                      <a:pt x="4386" y="293210"/>
                      <a:pt x="5492" y="293210"/>
                    </a:cubicBezTo>
                    <a:cubicBezTo>
                      <a:pt x="11023" y="293210"/>
                      <a:pt x="30935" y="299687"/>
                      <a:pt x="34253" y="298608"/>
                    </a:cubicBezTo>
                    <a:cubicBezTo>
                      <a:pt x="37019" y="298068"/>
                      <a:pt x="38125" y="293210"/>
                      <a:pt x="38125" y="290512"/>
                    </a:cubicBezTo>
                    <a:cubicBezTo>
                      <a:pt x="37572" y="289432"/>
                      <a:pt x="36466" y="287813"/>
                      <a:pt x="35912" y="286734"/>
                    </a:cubicBezTo>
                    <a:cubicBezTo>
                      <a:pt x="33147" y="284035"/>
                      <a:pt x="22638" y="280797"/>
                      <a:pt x="18767" y="280797"/>
                    </a:cubicBezTo>
                    <a:cubicBezTo>
                      <a:pt x="17107" y="280797"/>
                      <a:pt x="17660" y="282416"/>
                      <a:pt x="14342" y="281337"/>
                    </a:cubicBezTo>
                    <a:cubicBezTo>
                      <a:pt x="13236" y="279717"/>
                      <a:pt x="13789" y="274860"/>
                      <a:pt x="14895" y="273241"/>
                    </a:cubicBezTo>
                    <a:cubicBezTo>
                      <a:pt x="17107" y="272161"/>
                      <a:pt x="35359" y="275939"/>
                      <a:pt x="39784" y="276479"/>
                    </a:cubicBezTo>
                    <a:cubicBezTo>
                      <a:pt x="41996" y="275400"/>
                      <a:pt x="41443" y="275400"/>
                      <a:pt x="41996" y="273241"/>
                    </a:cubicBezTo>
                    <a:cubicBezTo>
                      <a:pt x="38125" y="266764"/>
                      <a:pt x="37019" y="268383"/>
                      <a:pt x="31488" y="266224"/>
                    </a:cubicBezTo>
                    <a:cubicBezTo>
                      <a:pt x="32041" y="263526"/>
                      <a:pt x="33147" y="261907"/>
                      <a:pt x="34253" y="259748"/>
                    </a:cubicBezTo>
                    <a:cubicBezTo>
                      <a:pt x="21532" y="257589"/>
                      <a:pt x="17660" y="261907"/>
                      <a:pt x="10470" y="262446"/>
                    </a:cubicBezTo>
                    <a:cubicBezTo>
                      <a:pt x="8811" y="262446"/>
                      <a:pt x="2174" y="260287"/>
                      <a:pt x="515" y="259748"/>
                    </a:cubicBezTo>
                    <a:cubicBezTo>
                      <a:pt x="-3357" y="256509"/>
                      <a:pt x="3833" y="244096"/>
                      <a:pt x="6599" y="241937"/>
                    </a:cubicBezTo>
                    <a:cubicBezTo>
                      <a:pt x="13789" y="235460"/>
                      <a:pt x="17107" y="238698"/>
                      <a:pt x="24851" y="236540"/>
                    </a:cubicBezTo>
                    <a:cubicBezTo>
                      <a:pt x="29275" y="234920"/>
                      <a:pt x="33700" y="231142"/>
                      <a:pt x="38125" y="230603"/>
                    </a:cubicBezTo>
                    <a:cubicBezTo>
                      <a:pt x="40890" y="230063"/>
                      <a:pt x="45315" y="232222"/>
                      <a:pt x="48634" y="232222"/>
                    </a:cubicBezTo>
                    <a:cubicBezTo>
                      <a:pt x="53058" y="231682"/>
                      <a:pt x="57483" y="227904"/>
                      <a:pt x="63567" y="230603"/>
                    </a:cubicBezTo>
                    <a:cubicBezTo>
                      <a:pt x="67439" y="232222"/>
                      <a:pt x="70757" y="239778"/>
                      <a:pt x="75735" y="237619"/>
                    </a:cubicBezTo>
                    <a:cubicBezTo>
                      <a:pt x="77947" y="237079"/>
                      <a:pt x="82925" y="231142"/>
                      <a:pt x="85138" y="231682"/>
                    </a:cubicBezTo>
                    <a:cubicBezTo>
                      <a:pt x="85691" y="231682"/>
                      <a:pt x="94540" y="238159"/>
                      <a:pt x="98965" y="238698"/>
                    </a:cubicBezTo>
                    <a:cubicBezTo>
                      <a:pt x="99518" y="238698"/>
                      <a:pt x="100624" y="237619"/>
                      <a:pt x="101177" y="237079"/>
                    </a:cubicBezTo>
                    <a:cubicBezTo>
                      <a:pt x="107814" y="230603"/>
                      <a:pt x="101177" y="225205"/>
                      <a:pt x="105602" y="221967"/>
                    </a:cubicBezTo>
                    <a:cubicBezTo>
                      <a:pt x="110027" y="218729"/>
                      <a:pt x="113898" y="223586"/>
                      <a:pt x="117770" y="223586"/>
                    </a:cubicBezTo>
                    <a:cubicBezTo>
                      <a:pt x="119982" y="223586"/>
                      <a:pt x="123301" y="220888"/>
                      <a:pt x="125513" y="220888"/>
                    </a:cubicBezTo>
                    <a:cubicBezTo>
                      <a:pt x="130491" y="220348"/>
                      <a:pt x="129385" y="224666"/>
                      <a:pt x="131044" y="225205"/>
                    </a:cubicBezTo>
                    <a:cubicBezTo>
                      <a:pt x="133257" y="226285"/>
                      <a:pt x="140447" y="226285"/>
                      <a:pt x="142659" y="226825"/>
                    </a:cubicBezTo>
                    <a:cubicBezTo>
                      <a:pt x="147637" y="228983"/>
                      <a:pt x="146531" y="234920"/>
                      <a:pt x="148190" y="238698"/>
                    </a:cubicBezTo>
                    <a:cubicBezTo>
                      <a:pt x="149296" y="241397"/>
                      <a:pt x="152062" y="243016"/>
                      <a:pt x="153168" y="245715"/>
                    </a:cubicBezTo>
                    <a:cubicBezTo>
                      <a:pt x="157593" y="253271"/>
                      <a:pt x="157593" y="263526"/>
                      <a:pt x="166442" y="268383"/>
                    </a:cubicBezTo>
                    <a:cubicBezTo>
                      <a:pt x="174185" y="272161"/>
                      <a:pt x="175292" y="258128"/>
                      <a:pt x="185247" y="254350"/>
                    </a:cubicBezTo>
                    <a:cubicBezTo>
                      <a:pt x="186907" y="253811"/>
                      <a:pt x="195756" y="252191"/>
                      <a:pt x="196862" y="252731"/>
                    </a:cubicBezTo>
                    <a:cubicBezTo>
                      <a:pt x="197415" y="253271"/>
                      <a:pt x="196862" y="254890"/>
                      <a:pt x="197415" y="255970"/>
                    </a:cubicBezTo>
                    <a:cubicBezTo>
                      <a:pt x="197415" y="256509"/>
                      <a:pt x="199075" y="258668"/>
                      <a:pt x="200181" y="259208"/>
                    </a:cubicBezTo>
                    <a:cubicBezTo>
                      <a:pt x="201840" y="260287"/>
                      <a:pt x="208477" y="263526"/>
                      <a:pt x="210690" y="263526"/>
                    </a:cubicBezTo>
                    <a:cubicBezTo>
                      <a:pt x="217327" y="261907"/>
                      <a:pt x="222858" y="254350"/>
                      <a:pt x="228388" y="252731"/>
                    </a:cubicBezTo>
                    <a:cubicBezTo>
                      <a:pt x="233366" y="251652"/>
                      <a:pt x="232813" y="261367"/>
                      <a:pt x="235579" y="263526"/>
                    </a:cubicBezTo>
                    <a:cubicBezTo>
                      <a:pt x="239450" y="266224"/>
                      <a:pt x="254384" y="268383"/>
                      <a:pt x="259362" y="269463"/>
                    </a:cubicBezTo>
                    <a:cubicBezTo>
                      <a:pt x="260468" y="269463"/>
                      <a:pt x="263786" y="268923"/>
                      <a:pt x="264893" y="268383"/>
                    </a:cubicBezTo>
                    <a:cubicBezTo>
                      <a:pt x="265999" y="267843"/>
                      <a:pt x="268764" y="264065"/>
                      <a:pt x="268764" y="263526"/>
                    </a:cubicBezTo>
                    <a:cubicBezTo>
                      <a:pt x="269870" y="259748"/>
                      <a:pt x="261574" y="257589"/>
                      <a:pt x="259915" y="255430"/>
                    </a:cubicBezTo>
                    <a:cubicBezTo>
                      <a:pt x="258809" y="253811"/>
                      <a:pt x="258255" y="249493"/>
                      <a:pt x="258809" y="247874"/>
                    </a:cubicBezTo>
                    <a:cubicBezTo>
                      <a:pt x="259915" y="239778"/>
                      <a:pt x="264339" y="232222"/>
                      <a:pt x="264893" y="224666"/>
                    </a:cubicBezTo>
                    <a:cubicBezTo>
                      <a:pt x="265446" y="219808"/>
                      <a:pt x="263233" y="214411"/>
                      <a:pt x="263233" y="209553"/>
                    </a:cubicBezTo>
                    <a:cubicBezTo>
                      <a:pt x="262680" y="205775"/>
                      <a:pt x="264893" y="198219"/>
                      <a:pt x="264339" y="194981"/>
                    </a:cubicBezTo>
                    <a:cubicBezTo>
                      <a:pt x="263786" y="192822"/>
                      <a:pt x="258809" y="188504"/>
                      <a:pt x="257702" y="186345"/>
                    </a:cubicBezTo>
                    <a:cubicBezTo>
                      <a:pt x="256596" y="183107"/>
                      <a:pt x="256043" y="175011"/>
                      <a:pt x="254384" y="172852"/>
                    </a:cubicBezTo>
                    <a:cubicBezTo>
                      <a:pt x="252725" y="170154"/>
                      <a:pt x="248300" y="171773"/>
                      <a:pt x="246641" y="166915"/>
                    </a:cubicBezTo>
                    <a:cubicBezTo>
                      <a:pt x="242216" y="155041"/>
                      <a:pt x="247747" y="151803"/>
                      <a:pt x="247194" y="142628"/>
                    </a:cubicBezTo>
                    <a:cubicBezTo>
                      <a:pt x="247194" y="139389"/>
                      <a:pt x="243875" y="137230"/>
                      <a:pt x="244981" y="133452"/>
                    </a:cubicBezTo>
                    <a:cubicBezTo>
                      <a:pt x="246087" y="132373"/>
                      <a:pt x="247194" y="131293"/>
                      <a:pt x="248853" y="131833"/>
                    </a:cubicBezTo>
                    <a:cubicBezTo>
                      <a:pt x="249959" y="132373"/>
                      <a:pt x="252725" y="136151"/>
                      <a:pt x="253831" y="136691"/>
                    </a:cubicBezTo>
                    <a:cubicBezTo>
                      <a:pt x="258255" y="141008"/>
                      <a:pt x="265999" y="145326"/>
                      <a:pt x="272636" y="144787"/>
                    </a:cubicBezTo>
                    <a:cubicBezTo>
                      <a:pt x="277614" y="144787"/>
                      <a:pt x="282038" y="140469"/>
                      <a:pt x="287016" y="139929"/>
                    </a:cubicBezTo>
                    <a:cubicBezTo>
                      <a:pt x="288676" y="139389"/>
                      <a:pt x="296972" y="140469"/>
                      <a:pt x="298078" y="141548"/>
                    </a:cubicBezTo>
                    <a:cubicBezTo>
                      <a:pt x="299184" y="141548"/>
                      <a:pt x="299737" y="143167"/>
                      <a:pt x="300290" y="143707"/>
                    </a:cubicBezTo>
                    <a:cubicBezTo>
                      <a:pt x="301397" y="149104"/>
                      <a:pt x="294206" y="150724"/>
                      <a:pt x="291994" y="154502"/>
                    </a:cubicBezTo>
                    <a:cubicBezTo>
                      <a:pt x="288676" y="159899"/>
                      <a:pt x="296419" y="165296"/>
                      <a:pt x="298078" y="170154"/>
                    </a:cubicBezTo>
                    <a:cubicBezTo>
                      <a:pt x="298631" y="171773"/>
                      <a:pt x="299184" y="179869"/>
                      <a:pt x="299184" y="180408"/>
                    </a:cubicBezTo>
                    <a:cubicBezTo>
                      <a:pt x="303609" y="185806"/>
                      <a:pt x="308587" y="179869"/>
                      <a:pt x="313012" y="180408"/>
                    </a:cubicBezTo>
                    <a:cubicBezTo>
                      <a:pt x="321861" y="181488"/>
                      <a:pt x="330711" y="186345"/>
                      <a:pt x="339560" y="187964"/>
                    </a:cubicBezTo>
                    <a:cubicBezTo>
                      <a:pt x="345644" y="189584"/>
                      <a:pt x="352834" y="188504"/>
                      <a:pt x="358918" y="190123"/>
                    </a:cubicBezTo>
                    <a:cubicBezTo>
                      <a:pt x="366108" y="192282"/>
                      <a:pt x="371639" y="200918"/>
                      <a:pt x="379936" y="198759"/>
                    </a:cubicBezTo>
                    <a:cubicBezTo>
                      <a:pt x="384360" y="197679"/>
                      <a:pt x="389338" y="193362"/>
                      <a:pt x="393210" y="191742"/>
                    </a:cubicBezTo>
                    <a:cubicBezTo>
                      <a:pt x="398188" y="189044"/>
                      <a:pt x="403719" y="186885"/>
                      <a:pt x="409250" y="184186"/>
                    </a:cubicBezTo>
                    <a:cubicBezTo>
                      <a:pt x="411462" y="184186"/>
                      <a:pt x="416993" y="182567"/>
                      <a:pt x="412568" y="179869"/>
                    </a:cubicBezTo>
                    <a:cubicBezTo>
                      <a:pt x="411462" y="179329"/>
                      <a:pt x="408143" y="179869"/>
                      <a:pt x="406484" y="179329"/>
                    </a:cubicBezTo>
                    <a:cubicBezTo>
                      <a:pt x="398741" y="175551"/>
                      <a:pt x="399294" y="165836"/>
                      <a:pt x="404825" y="160439"/>
                    </a:cubicBezTo>
                    <a:cubicBezTo>
                      <a:pt x="415887" y="148565"/>
                      <a:pt x="440776" y="139389"/>
                      <a:pt x="456262" y="135072"/>
                    </a:cubicBezTo>
                    <a:cubicBezTo>
                      <a:pt x="458475" y="134532"/>
                      <a:pt x="460687" y="134532"/>
                      <a:pt x="462900" y="133992"/>
                    </a:cubicBezTo>
                    <a:cubicBezTo>
                      <a:pt x="471196" y="131833"/>
                      <a:pt x="480598" y="129135"/>
                      <a:pt x="488342" y="125896"/>
                    </a:cubicBezTo>
                    <a:cubicBezTo>
                      <a:pt x="495532" y="122118"/>
                      <a:pt x="502722" y="116721"/>
                      <a:pt x="509359" y="111863"/>
                    </a:cubicBezTo>
                    <a:cubicBezTo>
                      <a:pt x="510465" y="109705"/>
                      <a:pt x="515443" y="101069"/>
                      <a:pt x="517656" y="99990"/>
                    </a:cubicBezTo>
                    <a:cubicBezTo>
                      <a:pt x="519315" y="98910"/>
                      <a:pt x="524846" y="102688"/>
                      <a:pt x="525952" y="101069"/>
                    </a:cubicBezTo>
                    <a:cubicBezTo>
                      <a:pt x="528164" y="97831"/>
                      <a:pt x="518762" y="93513"/>
                      <a:pt x="524846" y="83258"/>
                    </a:cubicBezTo>
                    <a:cubicBezTo>
                      <a:pt x="525399" y="81639"/>
                      <a:pt x="528164" y="75702"/>
                      <a:pt x="528164" y="74623"/>
                    </a:cubicBezTo>
                    <a:cubicBezTo>
                      <a:pt x="528164" y="73003"/>
                      <a:pt x="526505" y="71924"/>
                      <a:pt x="526505" y="70844"/>
                    </a:cubicBezTo>
                    <a:cubicBezTo>
                      <a:pt x="525952" y="68686"/>
                      <a:pt x="528717" y="60590"/>
                      <a:pt x="528717" y="57351"/>
                    </a:cubicBezTo>
                    <a:cubicBezTo>
                      <a:pt x="529271" y="48716"/>
                      <a:pt x="523740" y="29286"/>
                      <a:pt x="529824" y="22269"/>
                    </a:cubicBezTo>
                    <a:cubicBezTo>
                      <a:pt x="530930" y="21190"/>
                      <a:pt x="538673" y="15253"/>
                      <a:pt x="540332" y="14174"/>
                    </a:cubicBezTo>
                    <a:cubicBezTo>
                      <a:pt x="545310" y="11475"/>
                      <a:pt x="592323" y="1220"/>
                      <a:pt x="601726" y="-399"/>
                    </a:cubicBezTo>
                    <a:lnTo>
                      <a:pt x="607810" y="14174"/>
                    </a:lnTo>
                    <a:lnTo>
                      <a:pt x="606703" y="32524"/>
                    </a:lnTo>
                    <a:lnTo>
                      <a:pt x="629380" y="51414"/>
                    </a:lnTo>
                    <a:lnTo>
                      <a:pt x="632699" y="45477"/>
                    </a:lnTo>
                    <a:lnTo>
                      <a:pt x="645973" y="40620"/>
                    </a:lnTo>
                    <a:lnTo>
                      <a:pt x="654822" y="74083"/>
                    </a:lnTo>
                    <a:lnTo>
                      <a:pt x="675287" y="81639"/>
                    </a:lnTo>
                    <a:lnTo>
                      <a:pt x="685243" y="100529"/>
                    </a:lnTo>
                    <a:lnTo>
                      <a:pt x="692986" y="97831"/>
                    </a:lnTo>
                    <a:lnTo>
                      <a:pt x="709025" y="98910"/>
                    </a:lnTo>
                    <a:lnTo>
                      <a:pt x="718981" y="109705"/>
                    </a:lnTo>
                    <a:lnTo>
                      <a:pt x="722300" y="118880"/>
                    </a:lnTo>
                    <a:lnTo>
                      <a:pt x="722853" y="140469"/>
                    </a:lnTo>
                    <a:lnTo>
                      <a:pt x="742211" y="144787"/>
                    </a:lnTo>
                    <a:lnTo>
                      <a:pt x="751060" y="146406"/>
                    </a:lnTo>
                    <a:lnTo>
                      <a:pt x="759910" y="138850"/>
                    </a:lnTo>
                    <a:cubicBezTo>
                      <a:pt x="761016" y="132373"/>
                      <a:pt x="764888" y="128595"/>
                      <a:pt x="768759" y="123737"/>
                    </a:cubicBezTo>
                    <a:lnTo>
                      <a:pt x="773184" y="122658"/>
                    </a:lnTo>
                    <a:lnTo>
                      <a:pt x="775397" y="125896"/>
                    </a:lnTo>
                    <a:lnTo>
                      <a:pt x="770972" y="145326"/>
                    </a:lnTo>
                    <a:lnTo>
                      <a:pt x="774290" y="164217"/>
                    </a:lnTo>
                    <a:lnTo>
                      <a:pt x="785905" y="168534"/>
                    </a:lnTo>
                    <a:lnTo>
                      <a:pt x="804157" y="177170"/>
                    </a:lnTo>
                    <a:lnTo>
                      <a:pt x="812454" y="186345"/>
                    </a:lnTo>
                    <a:lnTo>
                      <a:pt x="817985" y="192282"/>
                    </a:lnTo>
                    <a:lnTo>
                      <a:pt x="820750" y="198219"/>
                    </a:lnTo>
                    <a:lnTo>
                      <a:pt x="846192" y="195521"/>
                    </a:lnTo>
                    <a:lnTo>
                      <a:pt x="858913" y="207934"/>
                    </a:lnTo>
                    <a:lnTo>
                      <a:pt x="880484" y="201458"/>
                    </a:lnTo>
                    <a:lnTo>
                      <a:pt x="887121" y="202537"/>
                    </a:lnTo>
                    <a:lnTo>
                      <a:pt x="904267" y="210633"/>
                    </a:lnTo>
                    <a:lnTo>
                      <a:pt x="907586" y="217109"/>
                    </a:lnTo>
                    <a:lnTo>
                      <a:pt x="915882" y="237619"/>
                    </a:lnTo>
                    <a:lnTo>
                      <a:pt x="926944" y="243556"/>
                    </a:lnTo>
                    <a:lnTo>
                      <a:pt x="934134" y="234920"/>
                    </a:lnTo>
                    <a:lnTo>
                      <a:pt x="951833" y="250572"/>
                    </a:lnTo>
                    <a:lnTo>
                      <a:pt x="973957" y="244096"/>
                    </a:lnTo>
                    <a:lnTo>
                      <a:pt x="978934" y="242476"/>
                    </a:lnTo>
                    <a:lnTo>
                      <a:pt x="989996" y="253811"/>
                    </a:lnTo>
                    <a:lnTo>
                      <a:pt x="1002717" y="257049"/>
                    </a:lnTo>
                    <a:lnTo>
                      <a:pt x="1011014" y="254890"/>
                    </a:lnTo>
                    <a:lnTo>
                      <a:pt x="1034244" y="267304"/>
                    </a:lnTo>
                    <a:cubicBezTo>
                      <a:pt x="1029819" y="272701"/>
                      <a:pt x="1026500" y="279717"/>
                      <a:pt x="1022076" y="285115"/>
                    </a:cubicBezTo>
                    <a:cubicBezTo>
                      <a:pt x="1017098" y="290512"/>
                      <a:pt x="1010461" y="295369"/>
                      <a:pt x="1005483" y="301306"/>
                    </a:cubicBezTo>
                    <a:cubicBezTo>
                      <a:pt x="1003270" y="304545"/>
                      <a:pt x="998293" y="319657"/>
                      <a:pt x="997740" y="323975"/>
                    </a:cubicBezTo>
                    <a:cubicBezTo>
                      <a:pt x="997186" y="329372"/>
                      <a:pt x="1000505" y="335309"/>
                      <a:pt x="998293" y="341246"/>
                    </a:cubicBezTo>
                    <a:cubicBezTo>
                      <a:pt x="995527" y="349342"/>
                      <a:pt x="989443" y="356358"/>
                      <a:pt x="987784" y="365533"/>
                    </a:cubicBezTo>
                    <a:cubicBezTo>
                      <a:pt x="986125" y="371470"/>
                      <a:pt x="986125" y="378487"/>
                      <a:pt x="986125" y="384963"/>
                    </a:cubicBezTo>
                    <a:cubicBezTo>
                      <a:pt x="986125" y="387662"/>
                      <a:pt x="986678" y="390361"/>
                      <a:pt x="986678" y="393059"/>
                    </a:cubicBezTo>
                    <a:cubicBezTo>
                      <a:pt x="985571" y="400076"/>
                      <a:pt x="982253" y="407632"/>
                      <a:pt x="982253" y="415188"/>
                    </a:cubicBezTo>
                    <a:cubicBezTo>
                      <a:pt x="981700" y="418966"/>
                      <a:pt x="988890" y="426522"/>
                      <a:pt x="988337" y="428681"/>
                    </a:cubicBezTo>
                    <a:lnTo>
                      <a:pt x="973957" y="445412"/>
                    </a:lnTo>
                    <a:lnTo>
                      <a:pt x="959576" y="444333"/>
                    </a:lnTo>
                    <a:lnTo>
                      <a:pt x="953492" y="433539"/>
                    </a:lnTo>
                    <a:lnTo>
                      <a:pt x="938559" y="440555"/>
                    </a:lnTo>
                    <a:lnTo>
                      <a:pt x="934687" y="448651"/>
                    </a:lnTo>
                    <a:lnTo>
                      <a:pt x="945196" y="455667"/>
                    </a:lnTo>
                    <a:lnTo>
                      <a:pt x="939112" y="465922"/>
                    </a:lnTo>
                    <a:cubicBezTo>
                      <a:pt x="928050" y="472399"/>
                      <a:pt x="919200" y="482653"/>
                      <a:pt x="911457" y="491829"/>
                    </a:cubicBezTo>
                    <a:cubicBezTo>
                      <a:pt x="909798" y="493988"/>
                      <a:pt x="909245" y="496146"/>
                      <a:pt x="907032" y="497766"/>
                    </a:cubicBezTo>
                    <a:cubicBezTo>
                      <a:pt x="903714" y="499924"/>
                      <a:pt x="899289" y="501004"/>
                      <a:pt x="895971" y="502623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3" name="Freeform 1085">
                <a:extLst>
                  <a:ext uri="{FF2B5EF4-FFF2-40B4-BE49-F238E27FC236}">
                    <a16:creationId xmlns:a16="http://schemas.microsoft.com/office/drawing/2014/main" id="{8E25A7AF-6CCA-45FC-A105-2EC0DD14E095}"/>
                  </a:ext>
                </a:extLst>
              </p:cNvPr>
              <p:cNvSpPr/>
              <p:nvPr/>
            </p:nvSpPr>
            <p:spPr>
              <a:xfrm>
                <a:off x="8857594" y="5706017"/>
                <a:ext cx="42034" cy="25906"/>
              </a:xfrm>
              <a:custGeom>
                <a:avLst/>
                <a:gdLst>
                  <a:gd name="connsiteX0" fmla="*/ -993 w 42034"/>
                  <a:gd name="connsiteY0" fmla="*/ 25334 h 25906"/>
                  <a:gd name="connsiteX1" fmla="*/ 20578 w 42034"/>
                  <a:gd name="connsiteY1" fmla="*/ -573 h 25906"/>
                  <a:gd name="connsiteX2" fmla="*/ 31639 w 42034"/>
                  <a:gd name="connsiteY2" fmla="*/ 10222 h 25906"/>
                  <a:gd name="connsiteX3" fmla="*/ 41042 w 42034"/>
                  <a:gd name="connsiteY3" fmla="*/ 25334 h 25906"/>
                  <a:gd name="connsiteX4" fmla="*/ -993 w 42034"/>
                  <a:gd name="connsiteY4" fmla="*/ 25334 h 2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034" h="25906">
                    <a:moveTo>
                      <a:pt x="-993" y="25334"/>
                    </a:moveTo>
                    <a:cubicBezTo>
                      <a:pt x="7303" y="17778"/>
                      <a:pt x="14494" y="8603"/>
                      <a:pt x="20578" y="-573"/>
                    </a:cubicBezTo>
                    <a:lnTo>
                      <a:pt x="31639" y="10222"/>
                    </a:lnTo>
                    <a:lnTo>
                      <a:pt x="41042" y="25334"/>
                    </a:lnTo>
                    <a:lnTo>
                      <a:pt x="-993" y="25334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4" name="Freeform 1086">
                <a:extLst>
                  <a:ext uri="{FF2B5EF4-FFF2-40B4-BE49-F238E27FC236}">
                    <a16:creationId xmlns:a16="http://schemas.microsoft.com/office/drawing/2014/main" id="{AB9CB59B-FAA6-4A2A-8898-B39612FC418B}"/>
                  </a:ext>
                </a:extLst>
              </p:cNvPr>
              <p:cNvSpPr/>
              <p:nvPr/>
            </p:nvSpPr>
            <p:spPr>
              <a:xfrm>
                <a:off x="4696018" y="4533704"/>
                <a:ext cx="1182765" cy="935940"/>
              </a:xfrm>
              <a:custGeom>
                <a:avLst/>
                <a:gdLst>
                  <a:gd name="connsiteX0" fmla="*/ 906638 w 1182765"/>
                  <a:gd name="connsiteY0" fmla="*/ 676367 h 935940"/>
                  <a:gd name="connsiteX1" fmla="*/ 896682 w 1182765"/>
                  <a:gd name="connsiteY1" fmla="*/ 684463 h 935940"/>
                  <a:gd name="connsiteX2" fmla="*/ 891704 w 1182765"/>
                  <a:gd name="connsiteY2" fmla="*/ 684463 h 935940"/>
                  <a:gd name="connsiteX3" fmla="*/ 884514 w 1182765"/>
                  <a:gd name="connsiteY3" fmla="*/ 677986 h 935940"/>
                  <a:gd name="connsiteX4" fmla="*/ 885067 w 1182765"/>
                  <a:gd name="connsiteY4" fmla="*/ 670970 h 935940"/>
                  <a:gd name="connsiteX5" fmla="*/ 892258 w 1182765"/>
                  <a:gd name="connsiteY5" fmla="*/ 665572 h 935940"/>
                  <a:gd name="connsiteX6" fmla="*/ 895576 w 1182765"/>
                  <a:gd name="connsiteY6" fmla="*/ 659096 h 935940"/>
                  <a:gd name="connsiteX7" fmla="*/ 908297 w 1182765"/>
                  <a:gd name="connsiteY7" fmla="*/ 651540 h 935940"/>
                  <a:gd name="connsiteX8" fmla="*/ 921018 w 1182765"/>
                  <a:gd name="connsiteY8" fmla="*/ 660715 h 935940"/>
                  <a:gd name="connsiteX9" fmla="*/ 915487 w 1182765"/>
                  <a:gd name="connsiteY9" fmla="*/ 669890 h 935940"/>
                  <a:gd name="connsiteX10" fmla="*/ 906638 w 1182765"/>
                  <a:gd name="connsiteY10" fmla="*/ 676367 h 935940"/>
                  <a:gd name="connsiteX11" fmla="*/ 30540 w 1182765"/>
                  <a:gd name="connsiteY11" fmla="*/ 731958 h 935940"/>
                  <a:gd name="connsiteX12" fmla="*/ 65938 w 1182765"/>
                  <a:gd name="connsiteY12" fmla="*/ 694717 h 935940"/>
                  <a:gd name="connsiteX13" fmla="*/ 70363 w 1182765"/>
                  <a:gd name="connsiteY13" fmla="*/ 684463 h 935940"/>
                  <a:gd name="connsiteX14" fmla="*/ 80872 w 1182765"/>
                  <a:gd name="connsiteY14" fmla="*/ 679065 h 935940"/>
                  <a:gd name="connsiteX15" fmla="*/ 93593 w 1182765"/>
                  <a:gd name="connsiteY15" fmla="*/ 682304 h 935940"/>
                  <a:gd name="connsiteX16" fmla="*/ 100783 w 1182765"/>
                  <a:gd name="connsiteY16" fmla="*/ 665572 h 935940"/>
                  <a:gd name="connsiteX17" fmla="*/ 96911 w 1182765"/>
                  <a:gd name="connsiteY17" fmla="*/ 661794 h 935940"/>
                  <a:gd name="connsiteX18" fmla="*/ 87509 w 1182765"/>
                  <a:gd name="connsiteY18" fmla="*/ 663413 h 935940"/>
                  <a:gd name="connsiteX19" fmla="*/ 70916 w 1182765"/>
                  <a:gd name="connsiteY19" fmla="*/ 631030 h 935940"/>
                  <a:gd name="connsiteX20" fmla="*/ 75894 w 1182765"/>
                  <a:gd name="connsiteY20" fmla="*/ 625093 h 935940"/>
                  <a:gd name="connsiteX21" fmla="*/ 83084 w 1182765"/>
                  <a:gd name="connsiteY21" fmla="*/ 600266 h 935940"/>
                  <a:gd name="connsiteX22" fmla="*/ 98017 w 1182765"/>
                  <a:gd name="connsiteY22" fmla="*/ 593249 h 935940"/>
                  <a:gd name="connsiteX23" fmla="*/ 113504 w 1182765"/>
                  <a:gd name="connsiteY23" fmla="*/ 560866 h 935940"/>
                  <a:gd name="connsiteX24" fmla="*/ 98570 w 1182765"/>
                  <a:gd name="connsiteY24" fmla="*/ 551691 h 935940"/>
                  <a:gd name="connsiteX25" fmla="*/ 90827 w 1182765"/>
                  <a:gd name="connsiteY25" fmla="*/ 522006 h 935940"/>
                  <a:gd name="connsiteX26" fmla="*/ 93593 w 1182765"/>
                  <a:gd name="connsiteY26" fmla="*/ 509592 h 935940"/>
                  <a:gd name="connsiteX27" fmla="*/ 81978 w 1182765"/>
                  <a:gd name="connsiteY27" fmla="*/ 493940 h 935940"/>
                  <a:gd name="connsiteX28" fmla="*/ 83637 w 1182765"/>
                  <a:gd name="connsiteY28" fmla="*/ 481527 h 935940"/>
                  <a:gd name="connsiteX29" fmla="*/ 116269 w 1182765"/>
                  <a:gd name="connsiteY29" fmla="*/ 498258 h 935940"/>
                  <a:gd name="connsiteX30" fmla="*/ 125119 w 1182765"/>
                  <a:gd name="connsiteY30" fmla="*/ 496099 h 935940"/>
                  <a:gd name="connsiteX31" fmla="*/ 132309 w 1182765"/>
                  <a:gd name="connsiteY31" fmla="*/ 476669 h 935940"/>
                  <a:gd name="connsiteX32" fmla="*/ 146136 w 1182765"/>
                  <a:gd name="connsiteY32" fmla="*/ 455080 h 935940"/>
                  <a:gd name="connsiteX33" fmla="*/ 142818 w 1182765"/>
                  <a:gd name="connsiteY33" fmla="*/ 443746 h 935940"/>
                  <a:gd name="connsiteX34" fmla="*/ 136734 w 1182765"/>
                  <a:gd name="connsiteY34" fmla="*/ 439428 h 935940"/>
                  <a:gd name="connsiteX35" fmla="*/ 138393 w 1182765"/>
                  <a:gd name="connsiteY35" fmla="*/ 430253 h 935940"/>
                  <a:gd name="connsiteX36" fmla="*/ 151114 w 1182765"/>
                  <a:gd name="connsiteY36" fmla="*/ 422157 h 935940"/>
                  <a:gd name="connsiteX37" fmla="*/ 161623 w 1182765"/>
                  <a:gd name="connsiteY37" fmla="*/ 416220 h 935940"/>
                  <a:gd name="connsiteX38" fmla="*/ 159964 w 1182765"/>
                  <a:gd name="connsiteY38" fmla="*/ 404346 h 935940"/>
                  <a:gd name="connsiteX39" fmla="*/ 167154 w 1182765"/>
                  <a:gd name="connsiteY39" fmla="*/ 397870 h 935940"/>
                  <a:gd name="connsiteX40" fmla="*/ 163282 w 1182765"/>
                  <a:gd name="connsiteY40" fmla="*/ 389774 h 935940"/>
                  <a:gd name="connsiteX41" fmla="*/ 172685 w 1182765"/>
                  <a:gd name="connsiteY41" fmla="*/ 360629 h 935940"/>
                  <a:gd name="connsiteX42" fmla="*/ 162729 w 1182765"/>
                  <a:gd name="connsiteY42" fmla="*/ 343358 h 935940"/>
                  <a:gd name="connsiteX43" fmla="*/ 171026 w 1182765"/>
                  <a:gd name="connsiteY43" fmla="*/ 343897 h 935940"/>
                  <a:gd name="connsiteX44" fmla="*/ 190384 w 1182765"/>
                  <a:gd name="connsiteY44" fmla="*/ 325547 h 935940"/>
                  <a:gd name="connsiteX45" fmla="*/ 214720 w 1182765"/>
                  <a:gd name="connsiteY45" fmla="*/ 319610 h 935940"/>
                  <a:gd name="connsiteX46" fmla="*/ 239609 w 1182765"/>
                  <a:gd name="connsiteY46" fmla="*/ 298561 h 935940"/>
                  <a:gd name="connsiteX47" fmla="*/ 235737 w 1182765"/>
                  <a:gd name="connsiteY47" fmla="*/ 273194 h 935940"/>
                  <a:gd name="connsiteX48" fmla="*/ 215273 w 1182765"/>
                  <a:gd name="connsiteY48" fmla="*/ 268336 h 935940"/>
                  <a:gd name="connsiteX49" fmla="*/ 218591 w 1182765"/>
                  <a:gd name="connsiteY49" fmla="*/ 238651 h 935940"/>
                  <a:gd name="connsiteX50" fmla="*/ 201999 w 1182765"/>
                  <a:gd name="connsiteY50" fmla="*/ 234333 h 935940"/>
                  <a:gd name="connsiteX51" fmla="*/ 196468 w 1182765"/>
                  <a:gd name="connsiteY51" fmla="*/ 226777 h 935940"/>
                  <a:gd name="connsiteX52" fmla="*/ 183194 w 1182765"/>
                  <a:gd name="connsiteY52" fmla="*/ 228396 h 935940"/>
                  <a:gd name="connsiteX53" fmla="*/ 175450 w 1182765"/>
                  <a:gd name="connsiteY53" fmla="*/ 226777 h 935940"/>
                  <a:gd name="connsiteX54" fmla="*/ 162729 w 1182765"/>
                  <a:gd name="connsiteY54" fmla="*/ 223539 h 935940"/>
                  <a:gd name="connsiteX55" fmla="*/ 157751 w 1182765"/>
                  <a:gd name="connsiteY55" fmla="*/ 228936 h 935940"/>
                  <a:gd name="connsiteX56" fmla="*/ 136181 w 1182765"/>
                  <a:gd name="connsiteY56" fmla="*/ 235953 h 935940"/>
                  <a:gd name="connsiteX57" fmla="*/ 129544 w 1182765"/>
                  <a:gd name="connsiteY57" fmla="*/ 228396 h 935940"/>
                  <a:gd name="connsiteX58" fmla="*/ 110738 w 1182765"/>
                  <a:gd name="connsiteY58" fmla="*/ 219761 h 935940"/>
                  <a:gd name="connsiteX59" fmla="*/ 96911 w 1182765"/>
                  <a:gd name="connsiteY59" fmla="*/ 222460 h 935940"/>
                  <a:gd name="connsiteX60" fmla="*/ 96358 w 1182765"/>
                  <a:gd name="connsiteY60" fmla="*/ 213824 h 935940"/>
                  <a:gd name="connsiteX61" fmla="*/ 81978 w 1182765"/>
                  <a:gd name="connsiteY61" fmla="*/ 224079 h 935940"/>
                  <a:gd name="connsiteX62" fmla="*/ 73681 w 1182765"/>
                  <a:gd name="connsiteY62" fmla="*/ 222999 h 935940"/>
                  <a:gd name="connsiteX63" fmla="*/ 66491 w 1182765"/>
                  <a:gd name="connsiteY63" fmla="*/ 212745 h 935940"/>
                  <a:gd name="connsiteX64" fmla="*/ 78106 w 1182765"/>
                  <a:gd name="connsiteY64" fmla="*/ 196553 h 935940"/>
                  <a:gd name="connsiteX65" fmla="*/ 71469 w 1182765"/>
                  <a:gd name="connsiteY65" fmla="*/ 182520 h 935940"/>
                  <a:gd name="connsiteX66" fmla="*/ 22797 w 1182765"/>
                  <a:gd name="connsiteY66" fmla="*/ 194934 h 935940"/>
                  <a:gd name="connsiteX67" fmla="*/ 12288 w 1182765"/>
                  <a:gd name="connsiteY67" fmla="*/ 198172 h 935940"/>
                  <a:gd name="connsiteX68" fmla="*/ 7863 w 1182765"/>
                  <a:gd name="connsiteY68" fmla="*/ 198172 h 935940"/>
                  <a:gd name="connsiteX69" fmla="*/ 5651 w 1182765"/>
                  <a:gd name="connsiteY69" fmla="*/ 198172 h 935940"/>
                  <a:gd name="connsiteX70" fmla="*/ 13947 w 1182765"/>
                  <a:gd name="connsiteY70" fmla="*/ 177123 h 935940"/>
                  <a:gd name="connsiteX71" fmla="*/ 26115 w 1182765"/>
                  <a:gd name="connsiteY71" fmla="*/ 171186 h 935940"/>
                  <a:gd name="connsiteX72" fmla="*/ 33306 w 1182765"/>
                  <a:gd name="connsiteY72" fmla="*/ 163090 h 935940"/>
                  <a:gd name="connsiteX73" fmla="*/ 43814 w 1182765"/>
                  <a:gd name="connsiteY73" fmla="*/ 158772 h 935940"/>
                  <a:gd name="connsiteX74" fmla="*/ 44367 w 1182765"/>
                  <a:gd name="connsiteY74" fmla="*/ 154454 h 935940"/>
                  <a:gd name="connsiteX75" fmla="*/ 40496 w 1182765"/>
                  <a:gd name="connsiteY75" fmla="*/ 152835 h 935940"/>
                  <a:gd name="connsiteX76" fmla="*/ 33859 w 1182765"/>
                  <a:gd name="connsiteY76" fmla="*/ 156074 h 935940"/>
                  <a:gd name="connsiteX77" fmla="*/ 24456 w 1182765"/>
                  <a:gd name="connsiteY77" fmla="*/ 157153 h 935940"/>
                  <a:gd name="connsiteX78" fmla="*/ 23350 w 1182765"/>
                  <a:gd name="connsiteY78" fmla="*/ 156074 h 935940"/>
                  <a:gd name="connsiteX79" fmla="*/ 24456 w 1182765"/>
                  <a:gd name="connsiteY79" fmla="*/ 152835 h 935940"/>
                  <a:gd name="connsiteX80" fmla="*/ 41049 w 1182765"/>
                  <a:gd name="connsiteY80" fmla="*/ 144739 h 935940"/>
                  <a:gd name="connsiteX81" fmla="*/ 25562 w 1182765"/>
                  <a:gd name="connsiteY81" fmla="*/ 138263 h 935940"/>
                  <a:gd name="connsiteX82" fmla="*/ 32199 w 1182765"/>
                  <a:gd name="connsiteY82" fmla="*/ 127468 h 935940"/>
                  <a:gd name="connsiteX83" fmla="*/ 33859 w 1182765"/>
                  <a:gd name="connsiteY83" fmla="*/ 117753 h 935940"/>
                  <a:gd name="connsiteX84" fmla="*/ 39943 w 1182765"/>
                  <a:gd name="connsiteY84" fmla="*/ 113435 h 935940"/>
                  <a:gd name="connsiteX85" fmla="*/ 39390 w 1182765"/>
                  <a:gd name="connsiteY85" fmla="*/ 111277 h 935940"/>
                  <a:gd name="connsiteX86" fmla="*/ 31646 w 1182765"/>
                  <a:gd name="connsiteY86" fmla="*/ 108578 h 935940"/>
                  <a:gd name="connsiteX87" fmla="*/ 24456 w 1182765"/>
                  <a:gd name="connsiteY87" fmla="*/ 114515 h 935940"/>
                  <a:gd name="connsiteX88" fmla="*/ 10076 w 1182765"/>
                  <a:gd name="connsiteY88" fmla="*/ 118293 h 935940"/>
                  <a:gd name="connsiteX89" fmla="*/ 10629 w 1182765"/>
                  <a:gd name="connsiteY89" fmla="*/ 114515 h 935940"/>
                  <a:gd name="connsiteX90" fmla="*/ 29434 w 1182765"/>
                  <a:gd name="connsiteY90" fmla="*/ 96164 h 935940"/>
                  <a:gd name="connsiteX91" fmla="*/ 35518 w 1182765"/>
                  <a:gd name="connsiteY91" fmla="*/ 90767 h 935940"/>
                  <a:gd name="connsiteX92" fmla="*/ 16713 w 1182765"/>
                  <a:gd name="connsiteY92" fmla="*/ 94545 h 935940"/>
                  <a:gd name="connsiteX93" fmla="*/ 11182 w 1182765"/>
                  <a:gd name="connsiteY93" fmla="*/ 92386 h 935940"/>
                  <a:gd name="connsiteX94" fmla="*/ 12841 w 1182765"/>
                  <a:gd name="connsiteY94" fmla="*/ 73496 h 935940"/>
                  <a:gd name="connsiteX95" fmla="*/ 9523 w 1182765"/>
                  <a:gd name="connsiteY95" fmla="*/ 70797 h 935940"/>
                  <a:gd name="connsiteX96" fmla="*/ -433 w 1182765"/>
                  <a:gd name="connsiteY96" fmla="*/ 71877 h 935940"/>
                  <a:gd name="connsiteX97" fmla="*/ 1226 w 1182765"/>
                  <a:gd name="connsiteY97" fmla="*/ 67019 h 935940"/>
                  <a:gd name="connsiteX98" fmla="*/ 6204 w 1182765"/>
                  <a:gd name="connsiteY98" fmla="*/ 56764 h 935940"/>
                  <a:gd name="connsiteX99" fmla="*/ 20584 w 1182765"/>
                  <a:gd name="connsiteY99" fmla="*/ 53526 h 935940"/>
                  <a:gd name="connsiteX100" fmla="*/ 18925 w 1182765"/>
                  <a:gd name="connsiteY100" fmla="*/ 45430 h 935940"/>
                  <a:gd name="connsiteX101" fmla="*/ 38837 w 1182765"/>
                  <a:gd name="connsiteY101" fmla="*/ 42732 h 935940"/>
                  <a:gd name="connsiteX102" fmla="*/ 41049 w 1182765"/>
                  <a:gd name="connsiteY102" fmla="*/ 36255 h 935940"/>
                  <a:gd name="connsiteX103" fmla="*/ 48792 w 1182765"/>
                  <a:gd name="connsiteY103" fmla="*/ 33556 h 935940"/>
                  <a:gd name="connsiteX104" fmla="*/ 56535 w 1182765"/>
                  <a:gd name="connsiteY104" fmla="*/ 37874 h 935940"/>
                  <a:gd name="connsiteX105" fmla="*/ 74787 w 1182765"/>
                  <a:gd name="connsiteY105" fmla="*/ 39493 h 935940"/>
                  <a:gd name="connsiteX106" fmla="*/ 86402 w 1182765"/>
                  <a:gd name="connsiteY106" fmla="*/ 36255 h 935940"/>
                  <a:gd name="connsiteX107" fmla="*/ 102442 w 1182765"/>
                  <a:gd name="connsiteY107" fmla="*/ 40033 h 935940"/>
                  <a:gd name="connsiteX108" fmla="*/ 105761 w 1182765"/>
                  <a:gd name="connsiteY108" fmla="*/ 35715 h 935940"/>
                  <a:gd name="connsiteX109" fmla="*/ 98017 w 1182765"/>
                  <a:gd name="connsiteY109" fmla="*/ 25461 h 935940"/>
                  <a:gd name="connsiteX110" fmla="*/ 100230 w 1182765"/>
                  <a:gd name="connsiteY110" fmla="*/ 17365 h 935940"/>
                  <a:gd name="connsiteX111" fmla="*/ 122353 w 1182765"/>
                  <a:gd name="connsiteY111" fmla="*/ 11428 h 935940"/>
                  <a:gd name="connsiteX112" fmla="*/ 135075 w 1182765"/>
                  <a:gd name="connsiteY112" fmla="*/ -446 h 935940"/>
                  <a:gd name="connsiteX113" fmla="*/ 143924 w 1182765"/>
                  <a:gd name="connsiteY113" fmla="*/ 4951 h 935940"/>
                  <a:gd name="connsiteX114" fmla="*/ 156092 w 1182765"/>
                  <a:gd name="connsiteY114" fmla="*/ 2792 h 935940"/>
                  <a:gd name="connsiteX115" fmla="*/ 159964 w 1182765"/>
                  <a:gd name="connsiteY115" fmla="*/ 9269 h 935940"/>
                  <a:gd name="connsiteX116" fmla="*/ 176556 w 1182765"/>
                  <a:gd name="connsiteY116" fmla="*/ 13587 h 935940"/>
                  <a:gd name="connsiteX117" fmla="*/ 185959 w 1182765"/>
                  <a:gd name="connsiteY117" fmla="*/ 28159 h 935940"/>
                  <a:gd name="connsiteX118" fmla="*/ 209742 w 1182765"/>
                  <a:gd name="connsiteY118" fmla="*/ 37334 h 935940"/>
                  <a:gd name="connsiteX119" fmla="*/ 216932 w 1182765"/>
                  <a:gd name="connsiteY119" fmla="*/ 37334 h 935940"/>
                  <a:gd name="connsiteX120" fmla="*/ 238503 w 1182765"/>
                  <a:gd name="connsiteY120" fmla="*/ 40573 h 935940"/>
                  <a:gd name="connsiteX121" fmla="*/ 262286 w 1182765"/>
                  <a:gd name="connsiteY121" fmla="*/ 46510 h 935940"/>
                  <a:gd name="connsiteX122" fmla="*/ 273348 w 1182765"/>
                  <a:gd name="connsiteY122" fmla="*/ 44891 h 935940"/>
                  <a:gd name="connsiteX123" fmla="*/ 301002 w 1182765"/>
                  <a:gd name="connsiteY123" fmla="*/ 49748 h 935940"/>
                  <a:gd name="connsiteX124" fmla="*/ 309299 w 1182765"/>
                  <a:gd name="connsiteY124" fmla="*/ 42192 h 935940"/>
                  <a:gd name="connsiteX125" fmla="*/ 317042 w 1182765"/>
                  <a:gd name="connsiteY125" fmla="*/ 43271 h 935940"/>
                  <a:gd name="connsiteX126" fmla="*/ 326444 w 1182765"/>
                  <a:gd name="connsiteY126" fmla="*/ 55145 h 935940"/>
                  <a:gd name="connsiteX127" fmla="*/ 345803 w 1182765"/>
                  <a:gd name="connsiteY127" fmla="*/ 58923 h 935940"/>
                  <a:gd name="connsiteX128" fmla="*/ 349121 w 1182765"/>
                  <a:gd name="connsiteY128" fmla="*/ 64860 h 935940"/>
                  <a:gd name="connsiteX129" fmla="*/ 359077 w 1182765"/>
                  <a:gd name="connsiteY129" fmla="*/ 67019 h 935940"/>
                  <a:gd name="connsiteX130" fmla="*/ 365714 w 1182765"/>
                  <a:gd name="connsiteY130" fmla="*/ 71877 h 935940"/>
                  <a:gd name="connsiteX131" fmla="*/ 397240 w 1182765"/>
                  <a:gd name="connsiteY131" fmla="*/ 83211 h 935940"/>
                  <a:gd name="connsiteX132" fmla="*/ 422682 w 1182765"/>
                  <a:gd name="connsiteY132" fmla="*/ 88068 h 935940"/>
                  <a:gd name="connsiteX133" fmla="*/ 461952 w 1182765"/>
                  <a:gd name="connsiteY133" fmla="*/ 92386 h 935940"/>
                  <a:gd name="connsiteX134" fmla="*/ 478545 w 1182765"/>
                  <a:gd name="connsiteY134" fmla="*/ 89148 h 935940"/>
                  <a:gd name="connsiteX135" fmla="*/ 490160 w 1182765"/>
                  <a:gd name="connsiteY135" fmla="*/ 95085 h 935940"/>
                  <a:gd name="connsiteX136" fmla="*/ 501221 w 1182765"/>
                  <a:gd name="connsiteY136" fmla="*/ 89688 h 935940"/>
                  <a:gd name="connsiteX137" fmla="*/ 510071 w 1182765"/>
                  <a:gd name="connsiteY137" fmla="*/ 90767 h 935940"/>
                  <a:gd name="connsiteX138" fmla="*/ 515049 w 1182765"/>
                  <a:gd name="connsiteY138" fmla="*/ 98863 h 935940"/>
                  <a:gd name="connsiteX139" fmla="*/ 542150 w 1182765"/>
                  <a:gd name="connsiteY139" fmla="*/ 109657 h 935940"/>
                  <a:gd name="connsiteX140" fmla="*/ 545469 w 1182765"/>
                  <a:gd name="connsiteY140" fmla="*/ 111816 h 935940"/>
                  <a:gd name="connsiteX141" fmla="*/ 548787 w 1182765"/>
                  <a:gd name="connsiteY141" fmla="*/ 116134 h 935940"/>
                  <a:gd name="connsiteX142" fmla="*/ 552106 w 1182765"/>
                  <a:gd name="connsiteY142" fmla="*/ 116134 h 935940"/>
                  <a:gd name="connsiteX143" fmla="*/ 556531 w 1182765"/>
                  <a:gd name="connsiteY143" fmla="*/ 111277 h 935940"/>
                  <a:gd name="connsiteX144" fmla="*/ 577548 w 1182765"/>
                  <a:gd name="connsiteY144" fmla="*/ 106419 h 935940"/>
                  <a:gd name="connsiteX145" fmla="*/ 580314 w 1182765"/>
                  <a:gd name="connsiteY145" fmla="*/ 111816 h 935940"/>
                  <a:gd name="connsiteX146" fmla="*/ 588610 w 1182765"/>
                  <a:gd name="connsiteY146" fmla="*/ 113975 h 935940"/>
                  <a:gd name="connsiteX147" fmla="*/ 599672 w 1182765"/>
                  <a:gd name="connsiteY147" fmla="*/ 119372 h 935940"/>
                  <a:gd name="connsiteX148" fmla="*/ 635070 w 1182765"/>
                  <a:gd name="connsiteY148" fmla="*/ 129627 h 935940"/>
                  <a:gd name="connsiteX149" fmla="*/ 645025 w 1182765"/>
                  <a:gd name="connsiteY149" fmla="*/ 127468 h 935940"/>
                  <a:gd name="connsiteX150" fmla="*/ 660512 w 1182765"/>
                  <a:gd name="connsiteY150" fmla="*/ 123690 h 935940"/>
                  <a:gd name="connsiteX151" fmla="*/ 667702 w 1182765"/>
                  <a:gd name="connsiteY151" fmla="*/ 131246 h 935940"/>
                  <a:gd name="connsiteX152" fmla="*/ 671574 w 1182765"/>
                  <a:gd name="connsiteY152" fmla="*/ 132865 h 935940"/>
                  <a:gd name="connsiteX153" fmla="*/ 698675 w 1182765"/>
                  <a:gd name="connsiteY153" fmla="*/ 138802 h 935940"/>
                  <a:gd name="connsiteX154" fmla="*/ 689826 w 1182765"/>
                  <a:gd name="connsiteY154" fmla="*/ 164169 h 935940"/>
                  <a:gd name="connsiteX155" fmla="*/ 705866 w 1182765"/>
                  <a:gd name="connsiteY155" fmla="*/ 164709 h 935940"/>
                  <a:gd name="connsiteX156" fmla="*/ 725224 w 1182765"/>
                  <a:gd name="connsiteY156" fmla="*/ 177123 h 935940"/>
                  <a:gd name="connsiteX157" fmla="*/ 749007 w 1182765"/>
                  <a:gd name="connsiteY157" fmla="*/ 180361 h 935940"/>
                  <a:gd name="connsiteX158" fmla="*/ 750113 w 1182765"/>
                  <a:gd name="connsiteY158" fmla="*/ 184139 h 935940"/>
                  <a:gd name="connsiteX159" fmla="*/ 752878 w 1182765"/>
                  <a:gd name="connsiteY159" fmla="*/ 192235 h 935940"/>
                  <a:gd name="connsiteX160" fmla="*/ 764493 w 1182765"/>
                  <a:gd name="connsiteY160" fmla="*/ 202490 h 935940"/>
                  <a:gd name="connsiteX161" fmla="*/ 794360 w 1182765"/>
                  <a:gd name="connsiteY161" fmla="*/ 204649 h 935940"/>
                  <a:gd name="connsiteX162" fmla="*/ 806528 w 1182765"/>
                  <a:gd name="connsiteY162" fmla="*/ 217602 h 935940"/>
                  <a:gd name="connsiteX163" fmla="*/ 833630 w 1182765"/>
                  <a:gd name="connsiteY163" fmla="*/ 220301 h 935940"/>
                  <a:gd name="connsiteX164" fmla="*/ 842479 w 1182765"/>
                  <a:gd name="connsiteY164" fmla="*/ 224618 h 935940"/>
                  <a:gd name="connsiteX165" fmla="*/ 849669 w 1182765"/>
                  <a:gd name="connsiteY165" fmla="*/ 219761 h 935940"/>
                  <a:gd name="connsiteX166" fmla="*/ 869028 w 1182765"/>
                  <a:gd name="connsiteY166" fmla="*/ 222460 h 935940"/>
                  <a:gd name="connsiteX167" fmla="*/ 871793 w 1182765"/>
                  <a:gd name="connsiteY167" fmla="*/ 222999 h 935940"/>
                  <a:gd name="connsiteX168" fmla="*/ 875665 w 1182765"/>
                  <a:gd name="connsiteY168" fmla="*/ 207887 h 935940"/>
                  <a:gd name="connsiteX169" fmla="*/ 882302 w 1182765"/>
                  <a:gd name="connsiteY169" fmla="*/ 208966 h 935940"/>
                  <a:gd name="connsiteX170" fmla="*/ 909403 w 1182765"/>
                  <a:gd name="connsiteY170" fmla="*/ 219221 h 935940"/>
                  <a:gd name="connsiteX171" fmla="*/ 918253 w 1182765"/>
                  <a:gd name="connsiteY171" fmla="*/ 225158 h 935940"/>
                  <a:gd name="connsiteX172" fmla="*/ 933739 w 1182765"/>
                  <a:gd name="connsiteY172" fmla="*/ 227317 h 935940"/>
                  <a:gd name="connsiteX173" fmla="*/ 940377 w 1182765"/>
                  <a:gd name="connsiteY173" fmla="*/ 243509 h 935940"/>
                  <a:gd name="connsiteX174" fmla="*/ 939823 w 1182765"/>
                  <a:gd name="connsiteY174" fmla="*/ 259161 h 935940"/>
                  <a:gd name="connsiteX175" fmla="*/ 944801 w 1182765"/>
                  <a:gd name="connsiteY175" fmla="*/ 260240 h 935940"/>
                  <a:gd name="connsiteX176" fmla="*/ 960841 w 1182765"/>
                  <a:gd name="connsiteY176" fmla="*/ 256462 h 935940"/>
                  <a:gd name="connsiteX177" fmla="*/ 964713 w 1182765"/>
                  <a:gd name="connsiteY177" fmla="*/ 257542 h 935940"/>
                  <a:gd name="connsiteX178" fmla="*/ 982412 w 1182765"/>
                  <a:gd name="connsiteY178" fmla="*/ 263479 h 935940"/>
                  <a:gd name="connsiteX179" fmla="*/ 994026 w 1182765"/>
                  <a:gd name="connsiteY179" fmla="*/ 275352 h 935940"/>
                  <a:gd name="connsiteX180" fmla="*/ 1013938 w 1182765"/>
                  <a:gd name="connsiteY180" fmla="*/ 267796 h 935940"/>
                  <a:gd name="connsiteX181" fmla="*/ 1048229 w 1182765"/>
                  <a:gd name="connsiteY181" fmla="*/ 282369 h 935940"/>
                  <a:gd name="connsiteX182" fmla="*/ 1053760 w 1182765"/>
                  <a:gd name="connsiteY182" fmla="*/ 272114 h 935940"/>
                  <a:gd name="connsiteX183" fmla="*/ 1066482 w 1182765"/>
                  <a:gd name="connsiteY183" fmla="*/ 266177 h 935940"/>
                  <a:gd name="connsiteX184" fmla="*/ 1089711 w 1182765"/>
                  <a:gd name="connsiteY184" fmla="*/ 270495 h 935940"/>
                  <a:gd name="connsiteX185" fmla="*/ 1094689 w 1182765"/>
                  <a:gd name="connsiteY185" fmla="*/ 281289 h 935940"/>
                  <a:gd name="connsiteX186" fmla="*/ 1103539 w 1182765"/>
                  <a:gd name="connsiteY186" fmla="*/ 287226 h 935940"/>
                  <a:gd name="connsiteX187" fmla="*/ 1100773 w 1182765"/>
                  <a:gd name="connsiteY187" fmla="*/ 293703 h 935940"/>
                  <a:gd name="connsiteX188" fmla="*/ 1089158 w 1182765"/>
                  <a:gd name="connsiteY188" fmla="*/ 294782 h 935940"/>
                  <a:gd name="connsiteX189" fmla="*/ 1088605 w 1182765"/>
                  <a:gd name="connsiteY189" fmla="*/ 304497 h 935940"/>
                  <a:gd name="connsiteX190" fmla="*/ 1095795 w 1182765"/>
                  <a:gd name="connsiteY190" fmla="*/ 313673 h 935940"/>
                  <a:gd name="connsiteX191" fmla="*/ 1095795 w 1182765"/>
                  <a:gd name="connsiteY191" fmla="*/ 328785 h 935940"/>
                  <a:gd name="connsiteX192" fmla="*/ 1087499 w 1182765"/>
                  <a:gd name="connsiteY192" fmla="*/ 342818 h 935940"/>
                  <a:gd name="connsiteX193" fmla="*/ 1049889 w 1182765"/>
                  <a:gd name="connsiteY193" fmla="*/ 360629 h 935940"/>
                  <a:gd name="connsiteX194" fmla="*/ 1047676 w 1182765"/>
                  <a:gd name="connsiteY194" fmla="*/ 362788 h 935940"/>
                  <a:gd name="connsiteX195" fmla="*/ 1029977 w 1182765"/>
                  <a:gd name="connsiteY195" fmla="*/ 371423 h 935940"/>
                  <a:gd name="connsiteX196" fmla="*/ 1004535 w 1182765"/>
                  <a:gd name="connsiteY196" fmla="*/ 381138 h 935940"/>
                  <a:gd name="connsiteX197" fmla="*/ 984624 w 1182765"/>
                  <a:gd name="connsiteY197" fmla="*/ 403807 h 935940"/>
                  <a:gd name="connsiteX198" fmla="*/ 912169 w 1182765"/>
                  <a:gd name="connsiteY198" fmla="*/ 413522 h 935940"/>
                  <a:gd name="connsiteX199" fmla="*/ 898342 w 1182765"/>
                  <a:gd name="connsiteY199" fmla="*/ 420538 h 935940"/>
                  <a:gd name="connsiteX200" fmla="*/ 883961 w 1182765"/>
                  <a:gd name="connsiteY200" fmla="*/ 422697 h 935940"/>
                  <a:gd name="connsiteX201" fmla="*/ 858519 w 1182765"/>
                  <a:gd name="connsiteY201" fmla="*/ 441047 h 935940"/>
                  <a:gd name="connsiteX202" fmla="*/ 867368 w 1182765"/>
                  <a:gd name="connsiteY202" fmla="*/ 460478 h 935940"/>
                  <a:gd name="connsiteX203" fmla="*/ 851329 w 1182765"/>
                  <a:gd name="connsiteY203" fmla="*/ 474510 h 935940"/>
                  <a:gd name="connsiteX204" fmla="*/ 849669 w 1182765"/>
                  <a:gd name="connsiteY204" fmla="*/ 468034 h 935940"/>
                  <a:gd name="connsiteX205" fmla="*/ 831970 w 1182765"/>
                  <a:gd name="connsiteY205" fmla="*/ 484765 h 935940"/>
                  <a:gd name="connsiteX206" fmla="*/ 825886 w 1182765"/>
                  <a:gd name="connsiteY206" fmla="*/ 493401 h 935940"/>
                  <a:gd name="connsiteX207" fmla="*/ 797679 w 1182765"/>
                  <a:gd name="connsiteY207" fmla="*/ 523085 h 935940"/>
                  <a:gd name="connsiteX208" fmla="*/ 790489 w 1182765"/>
                  <a:gd name="connsiteY208" fmla="*/ 529022 h 935940"/>
                  <a:gd name="connsiteX209" fmla="*/ 763387 w 1182765"/>
                  <a:gd name="connsiteY209" fmla="*/ 555469 h 935940"/>
                  <a:gd name="connsiteX210" fmla="*/ 741263 w 1182765"/>
                  <a:gd name="connsiteY210" fmla="*/ 611060 h 935940"/>
                  <a:gd name="connsiteX211" fmla="*/ 744582 w 1182765"/>
                  <a:gd name="connsiteY211" fmla="*/ 629951 h 935940"/>
                  <a:gd name="connsiteX212" fmla="*/ 744029 w 1182765"/>
                  <a:gd name="connsiteY212" fmla="*/ 634808 h 935940"/>
                  <a:gd name="connsiteX213" fmla="*/ 765599 w 1182765"/>
                  <a:gd name="connsiteY213" fmla="*/ 668811 h 935940"/>
                  <a:gd name="connsiteX214" fmla="*/ 786617 w 1182765"/>
                  <a:gd name="connsiteY214" fmla="*/ 690939 h 935940"/>
                  <a:gd name="connsiteX215" fmla="*/ 773343 w 1182765"/>
                  <a:gd name="connsiteY215" fmla="*/ 695257 h 935940"/>
                  <a:gd name="connsiteX216" fmla="*/ 768365 w 1182765"/>
                  <a:gd name="connsiteY216" fmla="*/ 701734 h 935940"/>
                  <a:gd name="connsiteX217" fmla="*/ 757856 w 1182765"/>
                  <a:gd name="connsiteY217" fmla="*/ 700654 h 935940"/>
                  <a:gd name="connsiteX218" fmla="*/ 755644 w 1182765"/>
                  <a:gd name="connsiteY218" fmla="*/ 708211 h 935940"/>
                  <a:gd name="connsiteX219" fmla="*/ 754538 w 1182765"/>
                  <a:gd name="connsiteY219" fmla="*/ 709290 h 935940"/>
                  <a:gd name="connsiteX220" fmla="*/ 744582 w 1182765"/>
                  <a:gd name="connsiteY220" fmla="*/ 708211 h 935940"/>
                  <a:gd name="connsiteX221" fmla="*/ 727436 w 1182765"/>
                  <a:gd name="connsiteY221" fmla="*/ 715767 h 935940"/>
                  <a:gd name="connsiteX222" fmla="*/ 720799 w 1182765"/>
                  <a:gd name="connsiteY222" fmla="*/ 727101 h 935940"/>
                  <a:gd name="connsiteX223" fmla="*/ 712503 w 1182765"/>
                  <a:gd name="connsiteY223" fmla="*/ 728720 h 935940"/>
                  <a:gd name="connsiteX224" fmla="*/ 707525 w 1182765"/>
                  <a:gd name="connsiteY224" fmla="*/ 744912 h 935940"/>
                  <a:gd name="connsiteX225" fmla="*/ 697016 w 1182765"/>
                  <a:gd name="connsiteY225" fmla="*/ 751928 h 935940"/>
                  <a:gd name="connsiteX226" fmla="*/ 684295 w 1182765"/>
                  <a:gd name="connsiteY226" fmla="*/ 785391 h 935940"/>
                  <a:gd name="connsiteX227" fmla="*/ 672680 w 1182765"/>
                  <a:gd name="connsiteY227" fmla="*/ 802122 h 935940"/>
                  <a:gd name="connsiteX228" fmla="*/ 685954 w 1182765"/>
                  <a:gd name="connsiteY228" fmla="*/ 793487 h 935940"/>
                  <a:gd name="connsiteX229" fmla="*/ 688720 w 1182765"/>
                  <a:gd name="connsiteY229" fmla="*/ 795106 h 935940"/>
                  <a:gd name="connsiteX230" fmla="*/ 688167 w 1182765"/>
                  <a:gd name="connsiteY230" fmla="*/ 803742 h 935940"/>
                  <a:gd name="connsiteX231" fmla="*/ 684848 w 1182765"/>
                  <a:gd name="connsiteY231" fmla="*/ 809678 h 935940"/>
                  <a:gd name="connsiteX232" fmla="*/ 664937 w 1182765"/>
                  <a:gd name="connsiteY232" fmla="*/ 813457 h 935940"/>
                  <a:gd name="connsiteX233" fmla="*/ 656087 w 1182765"/>
                  <a:gd name="connsiteY233" fmla="*/ 811298 h 935940"/>
                  <a:gd name="connsiteX234" fmla="*/ 647238 w 1182765"/>
                  <a:gd name="connsiteY234" fmla="*/ 816155 h 935940"/>
                  <a:gd name="connsiteX235" fmla="*/ 630092 w 1182765"/>
                  <a:gd name="connsiteY235" fmla="*/ 810218 h 935940"/>
                  <a:gd name="connsiteX236" fmla="*/ 607968 w 1182765"/>
                  <a:gd name="connsiteY236" fmla="*/ 824791 h 935940"/>
                  <a:gd name="connsiteX237" fmla="*/ 599119 w 1182765"/>
                  <a:gd name="connsiteY237" fmla="*/ 824791 h 935940"/>
                  <a:gd name="connsiteX238" fmla="*/ 588610 w 1182765"/>
                  <a:gd name="connsiteY238" fmla="*/ 828569 h 935940"/>
                  <a:gd name="connsiteX239" fmla="*/ 577548 w 1182765"/>
                  <a:gd name="connsiteY239" fmla="*/ 839903 h 935940"/>
                  <a:gd name="connsiteX240" fmla="*/ 563168 w 1182765"/>
                  <a:gd name="connsiteY240" fmla="*/ 874445 h 935940"/>
                  <a:gd name="connsiteX241" fmla="*/ 552106 w 1182765"/>
                  <a:gd name="connsiteY241" fmla="*/ 882541 h 935940"/>
                  <a:gd name="connsiteX242" fmla="*/ 534960 w 1182765"/>
                  <a:gd name="connsiteY242" fmla="*/ 899812 h 935940"/>
                  <a:gd name="connsiteX243" fmla="*/ 523345 w 1182765"/>
                  <a:gd name="connsiteY243" fmla="*/ 891177 h 935940"/>
                  <a:gd name="connsiteX244" fmla="*/ 520580 w 1182765"/>
                  <a:gd name="connsiteY244" fmla="*/ 884160 h 935940"/>
                  <a:gd name="connsiteX245" fmla="*/ 503987 w 1182765"/>
                  <a:gd name="connsiteY245" fmla="*/ 878763 h 935940"/>
                  <a:gd name="connsiteX246" fmla="*/ 491266 w 1182765"/>
                  <a:gd name="connsiteY246" fmla="*/ 884160 h 935940"/>
                  <a:gd name="connsiteX247" fmla="*/ 476885 w 1182765"/>
                  <a:gd name="connsiteY247" fmla="*/ 896574 h 935940"/>
                  <a:gd name="connsiteX248" fmla="*/ 468589 w 1182765"/>
                  <a:gd name="connsiteY248" fmla="*/ 894955 h 935940"/>
                  <a:gd name="connsiteX249" fmla="*/ 462505 w 1182765"/>
                  <a:gd name="connsiteY249" fmla="*/ 885240 h 935940"/>
                  <a:gd name="connsiteX250" fmla="*/ 421023 w 1182765"/>
                  <a:gd name="connsiteY250" fmla="*/ 883621 h 935940"/>
                  <a:gd name="connsiteX251" fmla="*/ 408302 w 1182765"/>
                  <a:gd name="connsiteY251" fmla="*/ 887399 h 935940"/>
                  <a:gd name="connsiteX252" fmla="*/ 393922 w 1182765"/>
                  <a:gd name="connsiteY252" fmla="*/ 879843 h 935940"/>
                  <a:gd name="connsiteX253" fmla="*/ 376223 w 1182765"/>
                  <a:gd name="connsiteY253" fmla="*/ 878763 h 935940"/>
                  <a:gd name="connsiteX254" fmla="*/ 370692 w 1182765"/>
                  <a:gd name="connsiteY254" fmla="*/ 874985 h 935940"/>
                  <a:gd name="connsiteX255" fmla="*/ 348568 w 1182765"/>
                  <a:gd name="connsiteY255" fmla="*/ 872826 h 935940"/>
                  <a:gd name="connsiteX256" fmla="*/ 335294 w 1182765"/>
                  <a:gd name="connsiteY256" fmla="*/ 875525 h 935940"/>
                  <a:gd name="connsiteX257" fmla="*/ 320360 w 1182765"/>
                  <a:gd name="connsiteY257" fmla="*/ 871747 h 935940"/>
                  <a:gd name="connsiteX258" fmla="*/ 308192 w 1182765"/>
                  <a:gd name="connsiteY258" fmla="*/ 883081 h 935940"/>
                  <a:gd name="connsiteX259" fmla="*/ 283303 w 1182765"/>
                  <a:gd name="connsiteY259" fmla="*/ 894955 h 935940"/>
                  <a:gd name="connsiteX260" fmla="*/ 246799 w 1182765"/>
                  <a:gd name="connsiteY260" fmla="*/ 892256 h 935940"/>
                  <a:gd name="connsiteX261" fmla="*/ 224675 w 1182765"/>
                  <a:gd name="connsiteY261" fmla="*/ 908988 h 935940"/>
                  <a:gd name="connsiteX262" fmla="*/ 213061 w 1182765"/>
                  <a:gd name="connsiteY262" fmla="*/ 926798 h 935940"/>
                  <a:gd name="connsiteX263" fmla="*/ 205317 w 1182765"/>
                  <a:gd name="connsiteY263" fmla="*/ 924640 h 935940"/>
                  <a:gd name="connsiteX264" fmla="*/ 202552 w 1182765"/>
                  <a:gd name="connsiteY264" fmla="*/ 932735 h 935940"/>
                  <a:gd name="connsiteX265" fmla="*/ 194808 w 1182765"/>
                  <a:gd name="connsiteY265" fmla="*/ 935434 h 935940"/>
                  <a:gd name="connsiteX266" fmla="*/ 174897 w 1182765"/>
                  <a:gd name="connsiteY266" fmla="*/ 924640 h 935940"/>
                  <a:gd name="connsiteX267" fmla="*/ 168260 w 1182765"/>
                  <a:gd name="connsiteY267" fmla="*/ 923560 h 935940"/>
                  <a:gd name="connsiteX268" fmla="*/ 140605 w 1182765"/>
                  <a:gd name="connsiteY268" fmla="*/ 901971 h 935940"/>
                  <a:gd name="connsiteX269" fmla="*/ 130097 w 1182765"/>
                  <a:gd name="connsiteY269" fmla="*/ 885240 h 935940"/>
                  <a:gd name="connsiteX270" fmla="*/ 126778 w 1182765"/>
                  <a:gd name="connsiteY270" fmla="*/ 871747 h 935940"/>
                  <a:gd name="connsiteX271" fmla="*/ 127331 w 1182765"/>
                  <a:gd name="connsiteY271" fmla="*/ 869588 h 935940"/>
                  <a:gd name="connsiteX272" fmla="*/ 138393 w 1182765"/>
                  <a:gd name="connsiteY272" fmla="*/ 869588 h 935940"/>
                  <a:gd name="connsiteX273" fmla="*/ 128437 w 1182765"/>
                  <a:gd name="connsiteY273" fmla="*/ 851237 h 935940"/>
                  <a:gd name="connsiteX274" fmla="*/ 126225 w 1182765"/>
                  <a:gd name="connsiteY274" fmla="*/ 840443 h 935940"/>
                  <a:gd name="connsiteX275" fmla="*/ 128991 w 1182765"/>
                  <a:gd name="connsiteY275" fmla="*/ 830188 h 935940"/>
                  <a:gd name="connsiteX276" fmla="*/ 109632 w 1182765"/>
                  <a:gd name="connsiteY276" fmla="*/ 801583 h 935940"/>
                  <a:gd name="connsiteX277" fmla="*/ 96358 w 1182765"/>
                  <a:gd name="connsiteY277" fmla="*/ 792947 h 935940"/>
                  <a:gd name="connsiteX278" fmla="*/ 93040 w 1182765"/>
                  <a:gd name="connsiteY278" fmla="*/ 787550 h 935940"/>
                  <a:gd name="connsiteX279" fmla="*/ 86402 w 1182765"/>
                  <a:gd name="connsiteY279" fmla="*/ 783772 h 935940"/>
                  <a:gd name="connsiteX280" fmla="*/ 87509 w 1182765"/>
                  <a:gd name="connsiteY280" fmla="*/ 768120 h 935940"/>
                  <a:gd name="connsiteX281" fmla="*/ 81978 w 1182765"/>
                  <a:gd name="connsiteY281" fmla="*/ 769199 h 935940"/>
                  <a:gd name="connsiteX282" fmla="*/ 79212 w 1182765"/>
                  <a:gd name="connsiteY282" fmla="*/ 776755 h 935940"/>
                  <a:gd name="connsiteX283" fmla="*/ 66491 w 1182765"/>
                  <a:gd name="connsiteY283" fmla="*/ 771358 h 935940"/>
                  <a:gd name="connsiteX284" fmla="*/ 49345 w 1182765"/>
                  <a:gd name="connsiteY284" fmla="*/ 774057 h 935940"/>
                  <a:gd name="connsiteX285" fmla="*/ 37730 w 1182765"/>
                  <a:gd name="connsiteY285" fmla="*/ 771358 h 935940"/>
                  <a:gd name="connsiteX286" fmla="*/ 30540 w 1182765"/>
                  <a:gd name="connsiteY286" fmla="*/ 731958 h 935940"/>
                  <a:gd name="connsiteX287" fmla="*/ 1166038 w 1182765"/>
                  <a:gd name="connsiteY287" fmla="*/ 554929 h 935940"/>
                  <a:gd name="connsiteX288" fmla="*/ 1182078 w 1182765"/>
                  <a:gd name="connsiteY288" fmla="*/ 578677 h 935940"/>
                  <a:gd name="connsiteX289" fmla="*/ 1179865 w 1182765"/>
                  <a:gd name="connsiteY289" fmla="*/ 585154 h 935940"/>
                  <a:gd name="connsiteX290" fmla="*/ 1169910 w 1182765"/>
                  <a:gd name="connsiteY290" fmla="*/ 584074 h 935940"/>
                  <a:gd name="connsiteX291" fmla="*/ 1152764 w 1182765"/>
                  <a:gd name="connsiteY291" fmla="*/ 572200 h 935940"/>
                  <a:gd name="connsiteX292" fmla="*/ 1140596 w 1182765"/>
                  <a:gd name="connsiteY292" fmla="*/ 568962 h 935940"/>
                  <a:gd name="connsiteX293" fmla="*/ 1140043 w 1182765"/>
                  <a:gd name="connsiteY293" fmla="*/ 554929 h 935940"/>
                  <a:gd name="connsiteX294" fmla="*/ 1166038 w 1182765"/>
                  <a:gd name="connsiteY294" fmla="*/ 554929 h 935940"/>
                  <a:gd name="connsiteX295" fmla="*/ 1048783 w 1182765"/>
                  <a:gd name="connsiteY295" fmla="*/ 568962 h 935940"/>
                  <a:gd name="connsiteX296" fmla="*/ 1065928 w 1182765"/>
                  <a:gd name="connsiteY296" fmla="*/ 564104 h 935940"/>
                  <a:gd name="connsiteX297" fmla="*/ 1076990 w 1182765"/>
                  <a:gd name="connsiteY297" fmla="*/ 564104 h 935940"/>
                  <a:gd name="connsiteX298" fmla="*/ 1076990 w 1182765"/>
                  <a:gd name="connsiteY298" fmla="*/ 567882 h 935940"/>
                  <a:gd name="connsiteX299" fmla="*/ 1070906 w 1182765"/>
                  <a:gd name="connsiteY299" fmla="*/ 571661 h 935940"/>
                  <a:gd name="connsiteX300" fmla="*/ 1071459 w 1182765"/>
                  <a:gd name="connsiteY300" fmla="*/ 585154 h 935940"/>
                  <a:gd name="connsiteX301" fmla="*/ 1096349 w 1182765"/>
                  <a:gd name="connsiteY301" fmla="*/ 590551 h 935940"/>
                  <a:gd name="connsiteX302" fmla="*/ 1081968 w 1182765"/>
                  <a:gd name="connsiteY302" fmla="*/ 625093 h 935940"/>
                  <a:gd name="connsiteX303" fmla="*/ 1065928 w 1182765"/>
                  <a:gd name="connsiteY303" fmla="*/ 641825 h 935940"/>
                  <a:gd name="connsiteX304" fmla="*/ 1058738 w 1182765"/>
                  <a:gd name="connsiteY304" fmla="*/ 641285 h 935940"/>
                  <a:gd name="connsiteX305" fmla="*/ 1050995 w 1182765"/>
                  <a:gd name="connsiteY305" fmla="*/ 635888 h 935940"/>
                  <a:gd name="connsiteX306" fmla="*/ 1036615 w 1182765"/>
                  <a:gd name="connsiteY306" fmla="*/ 628331 h 935940"/>
                  <a:gd name="connsiteX307" fmla="*/ 1028318 w 1182765"/>
                  <a:gd name="connsiteY307" fmla="*/ 611060 h 935940"/>
                  <a:gd name="connsiteX308" fmla="*/ 1016703 w 1182765"/>
                  <a:gd name="connsiteY308" fmla="*/ 612679 h 935940"/>
                  <a:gd name="connsiteX309" fmla="*/ 1010619 w 1182765"/>
                  <a:gd name="connsiteY309" fmla="*/ 617537 h 935940"/>
                  <a:gd name="connsiteX310" fmla="*/ 1007301 w 1182765"/>
                  <a:gd name="connsiteY310" fmla="*/ 616997 h 935940"/>
                  <a:gd name="connsiteX311" fmla="*/ 999004 w 1182765"/>
                  <a:gd name="connsiteY311" fmla="*/ 607822 h 935940"/>
                  <a:gd name="connsiteX312" fmla="*/ 998451 w 1182765"/>
                  <a:gd name="connsiteY312" fmla="*/ 604044 h 935940"/>
                  <a:gd name="connsiteX313" fmla="*/ 1017256 w 1182765"/>
                  <a:gd name="connsiteY313" fmla="*/ 586233 h 935940"/>
                  <a:gd name="connsiteX314" fmla="*/ 1020575 w 1182765"/>
                  <a:gd name="connsiteY314" fmla="*/ 584614 h 935940"/>
                  <a:gd name="connsiteX315" fmla="*/ 1048783 w 1182765"/>
                  <a:gd name="connsiteY315" fmla="*/ 568962 h 935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1182765" h="935940">
                    <a:moveTo>
                      <a:pt x="906638" y="676367"/>
                    </a:moveTo>
                    <a:cubicBezTo>
                      <a:pt x="904426" y="677986"/>
                      <a:pt x="898342" y="683923"/>
                      <a:pt x="896682" y="684463"/>
                    </a:cubicBezTo>
                    <a:cubicBezTo>
                      <a:pt x="895576" y="685002"/>
                      <a:pt x="892811" y="684463"/>
                      <a:pt x="891704" y="684463"/>
                    </a:cubicBezTo>
                    <a:cubicBezTo>
                      <a:pt x="890045" y="683383"/>
                      <a:pt x="885067" y="679605"/>
                      <a:pt x="884514" y="677986"/>
                    </a:cubicBezTo>
                    <a:cubicBezTo>
                      <a:pt x="883961" y="676907"/>
                      <a:pt x="884514" y="672589"/>
                      <a:pt x="885067" y="670970"/>
                    </a:cubicBezTo>
                    <a:cubicBezTo>
                      <a:pt x="886174" y="669350"/>
                      <a:pt x="890598" y="667192"/>
                      <a:pt x="892258" y="665572"/>
                    </a:cubicBezTo>
                    <a:cubicBezTo>
                      <a:pt x="893364" y="663953"/>
                      <a:pt x="893917" y="660715"/>
                      <a:pt x="895576" y="659096"/>
                    </a:cubicBezTo>
                    <a:cubicBezTo>
                      <a:pt x="897235" y="657477"/>
                      <a:pt x="906085" y="652079"/>
                      <a:pt x="908297" y="651540"/>
                    </a:cubicBezTo>
                    <a:cubicBezTo>
                      <a:pt x="913828" y="649920"/>
                      <a:pt x="924337" y="653159"/>
                      <a:pt x="921018" y="660715"/>
                    </a:cubicBezTo>
                    <a:cubicBezTo>
                      <a:pt x="920465" y="662334"/>
                      <a:pt x="916594" y="668271"/>
                      <a:pt x="915487" y="669890"/>
                    </a:cubicBezTo>
                    <a:cubicBezTo>
                      <a:pt x="912722" y="672049"/>
                      <a:pt x="909403" y="674208"/>
                      <a:pt x="906638" y="676367"/>
                    </a:cubicBezTo>
                    <a:close/>
                    <a:moveTo>
                      <a:pt x="30540" y="731958"/>
                    </a:moveTo>
                    <a:lnTo>
                      <a:pt x="65938" y="694717"/>
                    </a:lnTo>
                    <a:lnTo>
                      <a:pt x="70363" y="684463"/>
                    </a:lnTo>
                    <a:lnTo>
                      <a:pt x="80872" y="679065"/>
                    </a:lnTo>
                    <a:lnTo>
                      <a:pt x="93593" y="682304"/>
                    </a:lnTo>
                    <a:lnTo>
                      <a:pt x="100783" y="665572"/>
                    </a:lnTo>
                    <a:lnTo>
                      <a:pt x="96911" y="661794"/>
                    </a:lnTo>
                    <a:lnTo>
                      <a:pt x="87509" y="663413"/>
                    </a:lnTo>
                    <a:lnTo>
                      <a:pt x="70916" y="631030"/>
                    </a:lnTo>
                    <a:cubicBezTo>
                      <a:pt x="73128" y="629411"/>
                      <a:pt x="75341" y="627792"/>
                      <a:pt x="75894" y="625093"/>
                    </a:cubicBezTo>
                    <a:cubicBezTo>
                      <a:pt x="77553" y="618616"/>
                      <a:pt x="77553" y="604584"/>
                      <a:pt x="83084" y="600266"/>
                    </a:cubicBezTo>
                    <a:cubicBezTo>
                      <a:pt x="87509" y="597028"/>
                      <a:pt x="93040" y="595408"/>
                      <a:pt x="98017" y="593249"/>
                    </a:cubicBezTo>
                    <a:lnTo>
                      <a:pt x="113504" y="560866"/>
                    </a:lnTo>
                    <a:lnTo>
                      <a:pt x="98570" y="551691"/>
                    </a:lnTo>
                    <a:lnTo>
                      <a:pt x="90827" y="522006"/>
                    </a:lnTo>
                    <a:lnTo>
                      <a:pt x="93593" y="509592"/>
                    </a:lnTo>
                    <a:lnTo>
                      <a:pt x="81978" y="493940"/>
                    </a:lnTo>
                    <a:lnTo>
                      <a:pt x="83637" y="481527"/>
                    </a:lnTo>
                    <a:cubicBezTo>
                      <a:pt x="99124" y="482066"/>
                      <a:pt x="98570" y="497718"/>
                      <a:pt x="116269" y="498258"/>
                    </a:cubicBezTo>
                    <a:cubicBezTo>
                      <a:pt x="119035" y="498258"/>
                      <a:pt x="122353" y="496639"/>
                      <a:pt x="125119" y="496099"/>
                    </a:cubicBezTo>
                    <a:lnTo>
                      <a:pt x="132309" y="476669"/>
                    </a:lnTo>
                    <a:lnTo>
                      <a:pt x="146136" y="455080"/>
                    </a:lnTo>
                    <a:lnTo>
                      <a:pt x="142818" y="443746"/>
                    </a:lnTo>
                    <a:lnTo>
                      <a:pt x="136734" y="439428"/>
                    </a:lnTo>
                    <a:lnTo>
                      <a:pt x="138393" y="430253"/>
                    </a:lnTo>
                    <a:lnTo>
                      <a:pt x="151114" y="422157"/>
                    </a:lnTo>
                    <a:lnTo>
                      <a:pt x="161623" y="416220"/>
                    </a:lnTo>
                    <a:lnTo>
                      <a:pt x="159964" y="404346"/>
                    </a:lnTo>
                    <a:lnTo>
                      <a:pt x="167154" y="397870"/>
                    </a:lnTo>
                    <a:lnTo>
                      <a:pt x="163282" y="389774"/>
                    </a:lnTo>
                    <a:lnTo>
                      <a:pt x="172685" y="360629"/>
                    </a:lnTo>
                    <a:lnTo>
                      <a:pt x="162729" y="343358"/>
                    </a:lnTo>
                    <a:cubicBezTo>
                      <a:pt x="164941" y="343358"/>
                      <a:pt x="168260" y="344437"/>
                      <a:pt x="171026" y="343897"/>
                    </a:cubicBezTo>
                    <a:cubicBezTo>
                      <a:pt x="176003" y="343358"/>
                      <a:pt x="183194" y="328785"/>
                      <a:pt x="190384" y="325547"/>
                    </a:cubicBezTo>
                    <a:cubicBezTo>
                      <a:pt x="198127" y="321769"/>
                      <a:pt x="206976" y="322308"/>
                      <a:pt x="214720" y="319610"/>
                    </a:cubicBezTo>
                    <a:cubicBezTo>
                      <a:pt x="220804" y="316911"/>
                      <a:pt x="228547" y="302878"/>
                      <a:pt x="239609" y="298561"/>
                    </a:cubicBezTo>
                    <a:lnTo>
                      <a:pt x="235737" y="273194"/>
                    </a:lnTo>
                    <a:lnTo>
                      <a:pt x="215273" y="268336"/>
                    </a:lnTo>
                    <a:lnTo>
                      <a:pt x="218591" y="238651"/>
                    </a:lnTo>
                    <a:lnTo>
                      <a:pt x="201999" y="234333"/>
                    </a:lnTo>
                    <a:lnTo>
                      <a:pt x="196468" y="226777"/>
                    </a:lnTo>
                    <a:lnTo>
                      <a:pt x="183194" y="228396"/>
                    </a:lnTo>
                    <a:lnTo>
                      <a:pt x="175450" y="226777"/>
                    </a:lnTo>
                    <a:lnTo>
                      <a:pt x="162729" y="223539"/>
                    </a:lnTo>
                    <a:lnTo>
                      <a:pt x="157751" y="228936"/>
                    </a:lnTo>
                    <a:lnTo>
                      <a:pt x="136181" y="235953"/>
                    </a:lnTo>
                    <a:lnTo>
                      <a:pt x="129544" y="228396"/>
                    </a:lnTo>
                    <a:lnTo>
                      <a:pt x="110738" y="219761"/>
                    </a:lnTo>
                    <a:lnTo>
                      <a:pt x="96911" y="222460"/>
                    </a:lnTo>
                    <a:lnTo>
                      <a:pt x="96358" y="213824"/>
                    </a:lnTo>
                    <a:lnTo>
                      <a:pt x="81978" y="224079"/>
                    </a:lnTo>
                    <a:lnTo>
                      <a:pt x="73681" y="222999"/>
                    </a:lnTo>
                    <a:lnTo>
                      <a:pt x="66491" y="212745"/>
                    </a:lnTo>
                    <a:lnTo>
                      <a:pt x="78106" y="196553"/>
                    </a:lnTo>
                    <a:lnTo>
                      <a:pt x="71469" y="182520"/>
                    </a:lnTo>
                    <a:cubicBezTo>
                      <a:pt x="63173" y="188457"/>
                      <a:pt x="43814" y="176583"/>
                      <a:pt x="22797" y="194934"/>
                    </a:cubicBezTo>
                    <a:cubicBezTo>
                      <a:pt x="17819" y="194934"/>
                      <a:pt x="13947" y="197632"/>
                      <a:pt x="12288" y="198172"/>
                    </a:cubicBezTo>
                    <a:cubicBezTo>
                      <a:pt x="10629" y="198712"/>
                      <a:pt x="9523" y="197632"/>
                      <a:pt x="7863" y="198172"/>
                    </a:cubicBezTo>
                    <a:cubicBezTo>
                      <a:pt x="7310" y="198172"/>
                      <a:pt x="5651" y="198712"/>
                      <a:pt x="5651" y="198172"/>
                    </a:cubicBezTo>
                    <a:cubicBezTo>
                      <a:pt x="5098" y="197632"/>
                      <a:pt x="12841" y="178742"/>
                      <a:pt x="13947" y="177123"/>
                    </a:cubicBezTo>
                    <a:cubicBezTo>
                      <a:pt x="17266" y="174424"/>
                      <a:pt x="22797" y="173884"/>
                      <a:pt x="26115" y="171186"/>
                    </a:cubicBezTo>
                    <a:cubicBezTo>
                      <a:pt x="28881" y="169027"/>
                      <a:pt x="30540" y="165249"/>
                      <a:pt x="33306" y="163090"/>
                    </a:cubicBezTo>
                    <a:cubicBezTo>
                      <a:pt x="34965" y="161471"/>
                      <a:pt x="42155" y="160391"/>
                      <a:pt x="43814" y="158772"/>
                    </a:cubicBezTo>
                    <a:cubicBezTo>
                      <a:pt x="44367" y="158232"/>
                      <a:pt x="44367" y="155534"/>
                      <a:pt x="44367" y="154454"/>
                    </a:cubicBezTo>
                    <a:cubicBezTo>
                      <a:pt x="43814" y="153915"/>
                      <a:pt x="41602" y="152835"/>
                      <a:pt x="40496" y="152835"/>
                    </a:cubicBezTo>
                    <a:cubicBezTo>
                      <a:pt x="39390" y="153375"/>
                      <a:pt x="35518" y="155534"/>
                      <a:pt x="33859" y="156074"/>
                    </a:cubicBezTo>
                    <a:cubicBezTo>
                      <a:pt x="31093" y="156613"/>
                      <a:pt x="27775" y="157153"/>
                      <a:pt x="24456" y="157153"/>
                    </a:cubicBezTo>
                    <a:cubicBezTo>
                      <a:pt x="24456" y="156613"/>
                      <a:pt x="23350" y="156613"/>
                      <a:pt x="23350" y="156074"/>
                    </a:cubicBezTo>
                    <a:cubicBezTo>
                      <a:pt x="22797" y="155534"/>
                      <a:pt x="23903" y="153375"/>
                      <a:pt x="24456" y="152835"/>
                    </a:cubicBezTo>
                    <a:cubicBezTo>
                      <a:pt x="27222" y="149057"/>
                      <a:pt x="39390" y="150137"/>
                      <a:pt x="41049" y="144739"/>
                    </a:cubicBezTo>
                    <a:cubicBezTo>
                      <a:pt x="42708" y="139882"/>
                      <a:pt x="26668" y="141501"/>
                      <a:pt x="25562" y="138263"/>
                    </a:cubicBezTo>
                    <a:cubicBezTo>
                      <a:pt x="23903" y="134485"/>
                      <a:pt x="31093" y="130167"/>
                      <a:pt x="32199" y="127468"/>
                    </a:cubicBezTo>
                    <a:cubicBezTo>
                      <a:pt x="33306" y="125309"/>
                      <a:pt x="32752" y="119372"/>
                      <a:pt x="33859" y="117753"/>
                    </a:cubicBezTo>
                    <a:cubicBezTo>
                      <a:pt x="34965" y="116134"/>
                      <a:pt x="39390" y="114515"/>
                      <a:pt x="39943" y="113435"/>
                    </a:cubicBezTo>
                    <a:cubicBezTo>
                      <a:pt x="39943" y="112896"/>
                      <a:pt x="39943" y="111816"/>
                      <a:pt x="39390" y="111277"/>
                    </a:cubicBezTo>
                    <a:cubicBezTo>
                      <a:pt x="38283" y="108578"/>
                      <a:pt x="33859" y="108578"/>
                      <a:pt x="31646" y="108578"/>
                    </a:cubicBezTo>
                    <a:cubicBezTo>
                      <a:pt x="28328" y="109118"/>
                      <a:pt x="27222" y="112896"/>
                      <a:pt x="24456" y="114515"/>
                    </a:cubicBezTo>
                    <a:cubicBezTo>
                      <a:pt x="22797" y="115594"/>
                      <a:pt x="11735" y="120992"/>
                      <a:pt x="10076" y="118293"/>
                    </a:cubicBezTo>
                    <a:cubicBezTo>
                      <a:pt x="9523" y="117753"/>
                      <a:pt x="10076" y="115594"/>
                      <a:pt x="10629" y="114515"/>
                    </a:cubicBezTo>
                    <a:cubicBezTo>
                      <a:pt x="13394" y="104800"/>
                      <a:pt x="21138" y="101562"/>
                      <a:pt x="29434" y="96164"/>
                    </a:cubicBezTo>
                    <a:cubicBezTo>
                      <a:pt x="30540" y="95085"/>
                      <a:pt x="37177" y="92386"/>
                      <a:pt x="35518" y="90767"/>
                    </a:cubicBezTo>
                    <a:cubicBezTo>
                      <a:pt x="33306" y="88068"/>
                      <a:pt x="20031" y="94005"/>
                      <a:pt x="16713" y="94545"/>
                    </a:cubicBezTo>
                    <a:cubicBezTo>
                      <a:pt x="15607" y="94545"/>
                      <a:pt x="11735" y="94005"/>
                      <a:pt x="11182" y="92386"/>
                    </a:cubicBezTo>
                    <a:cubicBezTo>
                      <a:pt x="10076" y="88608"/>
                      <a:pt x="13394" y="77814"/>
                      <a:pt x="12841" y="73496"/>
                    </a:cubicBezTo>
                    <a:cubicBezTo>
                      <a:pt x="12841" y="72416"/>
                      <a:pt x="10629" y="70797"/>
                      <a:pt x="9523" y="70797"/>
                    </a:cubicBezTo>
                    <a:cubicBezTo>
                      <a:pt x="7863" y="70797"/>
                      <a:pt x="673" y="74575"/>
                      <a:pt x="-433" y="71877"/>
                    </a:cubicBezTo>
                    <a:cubicBezTo>
                      <a:pt x="-986" y="71337"/>
                      <a:pt x="673" y="67559"/>
                      <a:pt x="1226" y="67019"/>
                    </a:cubicBezTo>
                    <a:cubicBezTo>
                      <a:pt x="2332" y="64321"/>
                      <a:pt x="4545" y="58384"/>
                      <a:pt x="6204" y="56764"/>
                    </a:cubicBezTo>
                    <a:cubicBezTo>
                      <a:pt x="8970" y="55145"/>
                      <a:pt x="19478" y="54606"/>
                      <a:pt x="20584" y="53526"/>
                    </a:cubicBezTo>
                    <a:cubicBezTo>
                      <a:pt x="23350" y="51907"/>
                      <a:pt x="18372" y="48129"/>
                      <a:pt x="18925" y="45430"/>
                    </a:cubicBezTo>
                    <a:cubicBezTo>
                      <a:pt x="19478" y="43271"/>
                      <a:pt x="35518" y="44351"/>
                      <a:pt x="38837" y="42732"/>
                    </a:cubicBezTo>
                    <a:cubicBezTo>
                      <a:pt x="39943" y="42192"/>
                      <a:pt x="39943" y="37334"/>
                      <a:pt x="41049" y="36255"/>
                    </a:cubicBezTo>
                    <a:cubicBezTo>
                      <a:pt x="41602" y="35176"/>
                      <a:pt x="47686" y="33556"/>
                      <a:pt x="48792" y="33556"/>
                    </a:cubicBezTo>
                    <a:cubicBezTo>
                      <a:pt x="52111" y="33556"/>
                      <a:pt x="53770" y="37334"/>
                      <a:pt x="56535" y="37874"/>
                    </a:cubicBezTo>
                    <a:cubicBezTo>
                      <a:pt x="59854" y="38954"/>
                      <a:pt x="71469" y="39493"/>
                      <a:pt x="74787" y="39493"/>
                    </a:cubicBezTo>
                    <a:cubicBezTo>
                      <a:pt x="78659" y="38954"/>
                      <a:pt x="82531" y="36255"/>
                      <a:pt x="86402" y="36255"/>
                    </a:cubicBezTo>
                    <a:cubicBezTo>
                      <a:pt x="89721" y="36255"/>
                      <a:pt x="99677" y="41112"/>
                      <a:pt x="102442" y="40033"/>
                    </a:cubicBezTo>
                    <a:cubicBezTo>
                      <a:pt x="103548" y="39493"/>
                      <a:pt x="105208" y="36255"/>
                      <a:pt x="105761" y="35715"/>
                    </a:cubicBezTo>
                    <a:cubicBezTo>
                      <a:pt x="107973" y="30858"/>
                      <a:pt x="98570" y="29239"/>
                      <a:pt x="98017" y="25461"/>
                    </a:cubicBezTo>
                    <a:cubicBezTo>
                      <a:pt x="97464" y="23841"/>
                      <a:pt x="99677" y="18444"/>
                      <a:pt x="100230" y="17365"/>
                    </a:cubicBezTo>
                    <a:cubicBezTo>
                      <a:pt x="102995" y="13587"/>
                      <a:pt x="117929" y="13047"/>
                      <a:pt x="122353" y="11428"/>
                    </a:cubicBezTo>
                    <a:cubicBezTo>
                      <a:pt x="128991" y="9269"/>
                      <a:pt x="125119" y="1173"/>
                      <a:pt x="135075" y="-446"/>
                    </a:cubicBezTo>
                    <a:cubicBezTo>
                      <a:pt x="139499" y="-986"/>
                      <a:pt x="138946" y="4951"/>
                      <a:pt x="143924" y="4951"/>
                    </a:cubicBezTo>
                    <a:cubicBezTo>
                      <a:pt x="146136" y="4411"/>
                      <a:pt x="154433" y="1713"/>
                      <a:pt x="156092" y="2792"/>
                    </a:cubicBezTo>
                    <a:cubicBezTo>
                      <a:pt x="156645" y="3332"/>
                      <a:pt x="158304" y="8729"/>
                      <a:pt x="159964" y="9269"/>
                    </a:cubicBezTo>
                    <a:cubicBezTo>
                      <a:pt x="163835" y="11428"/>
                      <a:pt x="172685" y="10888"/>
                      <a:pt x="176556" y="13587"/>
                    </a:cubicBezTo>
                    <a:cubicBezTo>
                      <a:pt x="179875" y="15745"/>
                      <a:pt x="183194" y="24921"/>
                      <a:pt x="185959" y="28159"/>
                    </a:cubicBezTo>
                    <a:cubicBezTo>
                      <a:pt x="192596" y="36795"/>
                      <a:pt x="199786" y="36255"/>
                      <a:pt x="209742" y="37334"/>
                    </a:cubicBezTo>
                    <a:cubicBezTo>
                      <a:pt x="211954" y="37334"/>
                      <a:pt x="215826" y="38414"/>
                      <a:pt x="216932" y="37334"/>
                    </a:cubicBezTo>
                    <a:cubicBezTo>
                      <a:pt x="217485" y="36795"/>
                      <a:pt x="231313" y="38954"/>
                      <a:pt x="238503" y="40573"/>
                    </a:cubicBezTo>
                    <a:cubicBezTo>
                      <a:pt x="246246" y="42192"/>
                      <a:pt x="253989" y="45430"/>
                      <a:pt x="262286" y="46510"/>
                    </a:cubicBezTo>
                    <a:cubicBezTo>
                      <a:pt x="266157" y="47049"/>
                      <a:pt x="270029" y="44891"/>
                      <a:pt x="273348" y="44891"/>
                    </a:cubicBezTo>
                    <a:cubicBezTo>
                      <a:pt x="282750" y="45430"/>
                      <a:pt x="291600" y="49748"/>
                      <a:pt x="301002" y="49748"/>
                    </a:cubicBezTo>
                    <a:cubicBezTo>
                      <a:pt x="307639" y="49748"/>
                      <a:pt x="306533" y="43811"/>
                      <a:pt x="309299" y="42192"/>
                    </a:cubicBezTo>
                    <a:cubicBezTo>
                      <a:pt x="310405" y="41652"/>
                      <a:pt x="315936" y="42732"/>
                      <a:pt x="317042" y="43271"/>
                    </a:cubicBezTo>
                    <a:cubicBezTo>
                      <a:pt x="320913" y="45430"/>
                      <a:pt x="320360" y="52986"/>
                      <a:pt x="326444" y="55145"/>
                    </a:cubicBezTo>
                    <a:cubicBezTo>
                      <a:pt x="330869" y="56764"/>
                      <a:pt x="342484" y="56764"/>
                      <a:pt x="345803" y="58923"/>
                    </a:cubicBezTo>
                    <a:cubicBezTo>
                      <a:pt x="346909" y="60003"/>
                      <a:pt x="347462" y="63781"/>
                      <a:pt x="349121" y="64860"/>
                    </a:cubicBezTo>
                    <a:cubicBezTo>
                      <a:pt x="350780" y="65940"/>
                      <a:pt x="356864" y="65940"/>
                      <a:pt x="359077" y="67019"/>
                    </a:cubicBezTo>
                    <a:cubicBezTo>
                      <a:pt x="361842" y="68099"/>
                      <a:pt x="363502" y="70797"/>
                      <a:pt x="365714" y="71877"/>
                    </a:cubicBezTo>
                    <a:cubicBezTo>
                      <a:pt x="375670" y="76734"/>
                      <a:pt x="386731" y="79973"/>
                      <a:pt x="397240" y="83211"/>
                    </a:cubicBezTo>
                    <a:cubicBezTo>
                      <a:pt x="405537" y="86449"/>
                      <a:pt x="413833" y="87529"/>
                      <a:pt x="422682" y="88068"/>
                    </a:cubicBezTo>
                    <a:cubicBezTo>
                      <a:pt x="435957" y="90227"/>
                      <a:pt x="449231" y="92386"/>
                      <a:pt x="461952" y="92386"/>
                    </a:cubicBezTo>
                    <a:cubicBezTo>
                      <a:pt x="467483" y="92386"/>
                      <a:pt x="473014" y="89688"/>
                      <a:pt x="478545" y="89148"/>
                    </a:cubicBezTo>
                    <a:cubicBezTo>
                      <a:pt x="489053" y="88608"/>
                      <a:pt x="481310" y="96164"/>
                      <a:pt x="490160" y="95085"/>
                    </a:cubicBezTo>
                    <a:cubicBezTo>
                      <a:pt x="493478" y="94545"/>
                      <a:pt x="497350" y="90767"/>
                      <a:pt x="501221" y="89688"/>
                    </a:cubicBezTo>
                    <a:cubicBezTo>
                      <a:pt x="502328" y="89688"/>
                      <a:pt x="508965" y="90227"/>
                      <a:pt x="510071" y="90767"/>
                    </a:cubicBezTo>
                    <a:cubicBezTo>
                      <a:pt x="513389" y="91846"/>
                      <a:pt x="512836" y="96704"/>
                      <a:pt x="515049" y="98863"/>
                    </a:cubicBezTo>
                    <a:cubicBezTo>
                      <a:pt x="517261" y="101022"/>
                      <a:pt x="537726" y="108038"/>
                      <a:pt x="542150" y="109657"/>
                    </a:cubicBezTo>
                    <a:cubicBezTo>
                      <a:pt x="543256" y="110197"/>
                      <a:pt x="544916" y="110737"/>
                      <a:pt x="545469" y="111816"/>
                    </a:cubicBezTo>
                    <a:cubicBezTo>
                      <a:pt x="546575" y="112896"/>
                      <a:pt x="547681" y="115594"/>
                      <a:pt x="548787" y="116134"/>
                    </a:cubicBezTo>
                    <a:cubicBezTo>
                      <a:pt x="549340" y="116134"/>
                      <a:pt x="551000" y="116674"/>
                      <a:pt x="552106" y="116134"/>
                    </a:cubicBezTo>
                    <a:cubicBezTo>
                      <a:pt x="552659" y="116134"/>
                      <a:pt x="554871" y="112356"/>
                      <a:pt x="556531" y="111277"/>
                    </a:cubicBezTo>
                    <a:cubicBezTo>
                      <a:pt x="559296" y="109118"/>
                      <a:pt x="574230" y="103720"/>
                      <a:pt x="577548" y="106419"/>
                    </a:cubicBezTo>
                    <a:cubicBezTo>
                      <a:pt x="579207" y="106959"/>
                      <a:pt x="578654" y="110197"/>
                      <a:pt x="580314" y="111816"/>
                    </a:cubicBezTo>
                    <a:cubicBezTo>
                      <a:pt x="581420" y="112896"/>
                      <a:pt x="586951" y="113435"/>
                      <a:pt x="588610" y="113975"/>
                    </a:cubicBezTo>
                    <a:cubicBezTo>
                      <a:pt x="592482" y="115594"/>
                      <a:pt x="595800" y="117753"/>
                      <a:pt x="599672" y="119372"/>
                    </a:cubicBezTo>
                    <a:cubicBezTo>
                      <a:pt x="609628" y="123690"/>
                      <a:pt x="624008" y="130167"/>
                      <a:pt x="635070" y="129627"/>
                    </a:cubicBezTo>
                    <a:cubicBezTo>
                      <a:pt x="638388" y="129627"/>
                      <a:pt x="641707" y="127468"/>
                      <a:pt x="645025" y="127468"/>
                    </a:cubicBezTo>
                    <a:cubicBezTo>
                      <a:pt x="652769" y="126389"/>
                      <a:pt x="652216" y="130707"/>
                      <a:pt x="660512" y="123690"/>
                    </a:cubicBezTo>
                    <a:lnTo>
                      <a:pt x="667702" y="131246"/>
                    </a:lnTo>
                    <a:lnTo>
                      <a:pt x="671574" y="132865"/>
                    </a:lnTo>
                    <a:lnTo>
                      <a:pt x="698675" y="138802"/>
                    </a:lnTo>
                    <a:lnTo>
                      <a:pt x="689826" y="164169"/>
                    </a:lnTo>
                    <a:lnTo>
                      <a:pt x="705866" y="164709"/>
                    </a:lnTo>
                    <a:lnTo>
                      <a:pt x="725224" y="177123"/>
                    </a:lnTo>
                    <a:lnTo>
                      <a:pt x="749007" y="180361"/>
                    </a:lnTo>
                    <a:lnTo>
                      <a:pt x="750113" y="184139"/>
                    </a:lnTo>
                    <a:lnTo>
                      <a:pt x="752878" y="192235"/>
                    </a:lnTo>
                    <a:lnTo>
                      <a:pt x="764493" y="202490"/>
                    </a:lnTo>
                    <a:lnTo>
                      <a:pt x="794360" y="204649"/>
                    </a:lnTo>
                    <a:lnTo>
                      <a:pt x="806528" y="217602"/>
                    </a:lnTo>
                    <a:lnTo>
                      <a:pt x="833630" y="220301"/>
                    </a:lnTo>
                    <a:lnTo>
                      <a:pt x="842479" y="224618"/>
                    </a:lnTo>
                    <a:lnTo>
                      <a:pt x="849669" y="219761"/>
                    </a:lnTo>
                    <a:lnTo>
                      <a:pt x="869028" y="222460"/>
                    </a:lnTo>
                    <a:lnTo>
                      <a:pt x="871793" y="222999"/>
                    </a:lnTo>
                    <a:lnTo>
                      <a:pt x="875665" y="207887"/>
                    </a:lnTo>
                    <a:lnTo>
                      <a:pt x="882302" y="208966"/>
                    </a:lnTo>
                    <a:lnTo>
                      <a:pt x="909403" y="219221"/>
                    </a:lnTo>
                    <a:lnTo>
                      <a:pt x="918253" y="225158"/>
                    </a:lnTo>
                    <a:lnTo>
                      <a:pt x="933739" y="227317"/>
                    </a:lnTo>
                    <a:lnTo>
                      <a:pt x="940377" y="243509"/>
                    </a:lnTo>
                    <a:lnTo>
                      <a:pt x="939823" y="259161"/>
                    </a:lnTo>
                    <a:lnTo>
                      <a:pt x="944801" y="260240"/>
                    </a:lnTo>
                    <a:lnTo>
                      <a:pt x="960841" y="256462"/>
                    </a:lnTo>
                    <a:lnTo>
                      <a:pt x="964713" y="257542"/>
                    </a:lnTo>
                    <a:lnTo>
                      <a:pt x="982412" y="263479"/>
                    </a:lnTo>
                    <a:lnTo>
                      <a:pt x="994026" y="275352"/>
                    </a:lnTo>
                    <a:lnTo>
                      <a:pt x="1013938" y="267796"/>
                    </a:lnTo>
                    <a:lnTo>
                      <a:pt x="1048229" y="282369"/>
                    </a:lnTo>
                    <a:lnTo>
                      <a:pt x="1053760" y="272114"/>
                    </a:lnTo>
                    <a:lnTo>
                      <a:pt x="1066482" y="266177"/>
                    </a:lnTo>
                    <a:lnTo>
                      <a:pt x="1089711" y="270495"/>
                    </a:lnTo>
                    <a:cubicBezTo>
                      <a:pt x="1090818" y="272114"/>
                      <a:pt x="1093583" y="280210"/>
                      <a:pt x="1094689" y="281289"/>
                    </a:cubicBezTo>
                    <a:cubicBezTo>
                      <a:pt x="1096349" y="282909"/>
                      <a:pt x="1102433" y="283988"/>
                      <a:pt x="1103539" y="287226"/>
                    </a:cubicBezTo>
                    <a:cubicBezTo>
                      <a:pt x="1104092" y="288306"/>
                      <a:pt x="1101879" y="293703"/>
                      <a:pt x="1100773" y="293703"/>
                    </a:cubicBezTo>
                    <a:cubicBezTo>
                      <a:pt x="1099667" y="294243"/>
                      <a:pt x="1091924" y="288306"/>
                      <a:pt x="1089158" y="294782"/>
                    </a:cubicBezTo>
                    <a:cubicBezTo>
                      <a:pt x="1089158" y="295862"/>
                      <a:pt x="1088605" y="303958"/>
                      <a:pt x="1088605" y="304497"/>
                    </a:cubicBezTo>
                    <a:cubicBezTo>
                      <a:pt x="1089711" y="308276"/>
                      <a:pt x="1094689" y="309895"/>
                      <a:pt x="1095795" y="313673"/>
                    </a:cubicBezTo>
                    <a:cubicBezTo>
                      <a:pt x="1096902" y="316371"/>
                      <a:pt x="1096902" y="326086"/>
                      <a:pt x="1095795" y="328785"/>
                    </a:cubicBezTo>
                    <a:cubicBezTo>
                      <a:pt x="1095242" y="332023"/>
                      <a:pt x="1089711" y="340119"/>
                      <a:pt x="1087499" y="342818"/>
                    </a:cubicBezTo>
                    <a:cubicBezTo>
                      <a:pt x="1081415" y="349295"/>
                      <a:pt x="1058185" y="355231"/>
                      <a:pt x="1049889" y="360629"/>
                    </a:cubicBezTo>
                    <a:cubicBezTo>
                      <a:pt x="1048783" y="361168"/>
                      <a:pt x="1048783" y="361708"/>
                      <a:pt x="1047676" y="362788"/>
                    </a:cubicBezTo>
                    <a:cubicBezTo>
                      <a:pt x="1043252" y="366026"/>
                      <a:pt x="1035508" y="369264"/>
                      <a:pt x="1029977" y="371423"/>
                    </a:cubicBezTo>
                    <a:cubicBezTo>
                      <a:pt x="1021681" y="375201"/>
                      <a:pt x="1012278" y="376820"/>
                      <a:pt x="1004535" y="381138"/>
                    </a:cubicBezTo>
                    <a:cubicBezTo>
                      <a:pt x="994580" y="386535"/>
                      <a:pt x="995686" y="399489"/>
                      <a:pt x="984624" y="403807"/>
                    </a:cubicBezTo>
                    <a:cubicBezTo>
                      <a:pt x="961394" y="412442"/>
                      <a:pt x="935952" y="406505"/>
                      <a:pt x="912169" y="413522"/>
                    </a:cubicBezTo>
                    <a:cubicBezTo>
                      <a:pt x="907191" y="415141"/>
                      <a:pt x="903319" y="418919"/>
                      <a:pt x="898342" y="420538"/>
                    </a:cubicBezTo>
                    <a:cubicBezTo>
                      <a:pt x="893917" y="422157"/>
                      <a:pt x="888939" y="421617"/>
                      <a:pt x="883961" y="422697"/>
                    </a:cubicBezTo>
                    <a:cubicBezTo>
                      <a:pt x="877877" y="424316"/>
                      <a:pt x="862391" y="436190"/>
                      <a:pt x="858519" y="441047"/>
                    </a:cubicBezTo>
                    <a:cubicBezTo>
                      <a:pt x="849116" y="452382"/>
                      <a:pt x="864050" y="450223"/>
                      <a:pt x="867368" y="460478"/>
                    </a:cubicBezTo>
                    <a:cubicBezTo>
                      <a:pt x="869028" y="465875"/>
                      <a:pt x="854647" y="477749"/>
                      <a:pt x="851329" y="474510"/>
                    </a:cubicBezTo>
                    <a:cubicBezTo>
                      <a:pt x="850776" y="473431"/>
                      <a:pt x="850776" y="469653"/>
                      <a:pt x="849669" y="468034"/>
                    </a:cubicBezTo>
                    <a:cubicBezTo>
                      <a:pt x="840820" y="465875"/>
                      <a:pt x="835289" y="478288"/>
                      <a:pt x="831970" y="484765"/>
                    </a:cubicBezTo>
                    <a:cubicBezTo>
                      <a:pt x="830311" y="487464"/>
                      <a:pt x="828652" y="491242"/>
                      <a:pt x="825886" y="493401"/>
                    </a:cubicBezTo>
                    <a:cubicBezTo>
                      <a:pt x="817590" y="503655"/>
                      <a:pt x="807634" y="513910"/>
                      <a:pt x="797679" y="523085"/>
                    </a:cubicBezTo>
                    <a:cubicBezTo>
                      <a:pt x="795466" y="525244"/>
                      <a:pt x="792701" y="526863"/>
                      <a:pt x="790489" y="529022"/>
                    </a:cubicBezTo>
                    <a:cubicBezTo>
                      <a:pt x="781639" y="537118"/>
                      <a:pt x="771683" y="546294"/>
                      <a:pt x="763387" y="555469"/>
                    </a:cubicBezTo>
                    <a:cubicBezTo>
                      <a:pt x="751772" y="568422"/>
                      <a:pt x="741816" y="593789"/>
                      <a:pt x="741263" y="611060"/>
                    </a:cubicBezTo>
                    <a:cubicBezTo>
                      <a:pt x="741263" y="616997"/>
                      <a:pt x="743476" y="623474"/>
                      <a:pt x="744582" y="629951"/>
                    </a:cubicBezTo>
                    <a:cubicBezTo>
                      <a:pt x="744582" y="631570"/>
                      <a:pt x="744029" y="633189"/>
                      <a:pt x="744029" y="634808"/>
                    </a:cubicBezTo>
                    <a:cubicBezTo>
                      <a:pt x="745135" y="642904"/>
                      <a:pt x="758409" y="663413"/>
                      <a:pt x="765599" y="668811"/>
                    </a:cubicBezTo>
                    <a:cubicBezTo>
                      <a:pt x="770577" y="672589"/>
                      <a:pt x="791042" y="682304"/>
                      <a:pt x="786617" y="690939"/>
                    </a:cubicBezTo>
                    <a:cubicBezTo>
                      <a:pt x="784405" y="696337"/>
                      <a:pt x="777214" y="693098"/>
                      <a:pt x="773343" y="695257"/>
                    </a:cubicBezTo>
                    <a:cubicBezTo>
                      <a:pt x="771130" y="696337"/>
                      <a:pt x="771683" y="700115"/>
                      <a:pt x="768365" y="701734"/>
                    </a:cubicBezTo>
                    <a:cubicBezTo>
                      <a:pt x="765046" y="701734"/>
                      <a:pt x="761175" y="699035"/>
                      <a:pt x="757856" y="700654"/>
                    </a:cubicBezTo>
                    <a:cubicBezTo>
                      <a:pt x="756750" y="702813"/>
                      <a:pt x="756750" y="706052"/>
                      <a:pt x="755644" y="708211"/>
                    </a:cubicBezTo>
                    <a:lnTo>
                      <a:pt x="754538" y="709290"/>
                    </a:lnTo>
                    <a:cubicBezTo>
                      <a:pt x="751219" y="709290"/>
                      <a:pt x="747901" y="707671"/>
                      <a:pt x="744582" y="708211"/>
                    </a:cubicBezTo>
                    <a:cubicBezTo>
                      <a:pt x="740710" y="708750"/>
                      <a:pt x="729648" y="713068"/>
                      <a:pt x="727436" y="715767"/>
                    </a:cubicBezTo>
                    <a:cubicBezTo>
                      <a:pt x="725224" y="717926"/>
                      <a:pt x="722458" y="725482"/>
                      <a:pt x="720799" y="727101"/>
                    </a:cubicBezTo>
                    <a:cubicBezTo>
                      <a:pt x="719140" y="728180"/>
                      <a:pt x="714162" y="727641"/>
                      <a:pt x="712503" y="728720"/>
                    </a:cubicBezTo>
                    <a:cubicBezTo>
                      <a:pt x="710843" y="730879"/>
                      <a:pt x="709184" y="742213"/>
                      <a:pt x="707525" y="744912"/>
                    </a:cubicBezTo>
                    <a:cubicBezTo>
                      <a:pt x="705312" y="748150"/>
                      <a:pt x="699228" y="746531"/>
                      <a:pt x="697016" y="751928"/>
                    </a:cubicBezTo>
                    <a:cubicBezTo>
                      <a:pt x="693144" y="762723"/>
                      <a:pt x="692038" y="777295"/>
                      <a:pt x="684295" y="785391"/>
                    </a:cubicBezTo>
                    <a:cubicBezTo>
                      <a:pt x="680423" y="788090"/>
                      <a:pt x="668255" y="796725"/>
                      <a:pt x="672680" y="802122"/>
                    </a:cubicBezTo>
                    <a:cubicBezTo>
                      <a:pt x="684848" y="804821"/>
                      <a:pt x="680976" y="793487"/>
                      <a:pt x="685954" y="793487"/>
                    </a:cubicBezTo>
                    <a:cubicBezTo>
                      <a:pt x="686507" y="793487"/>
                      <a:pt x="688720" y="794027"/>
                      <a:pt x="688720" y="795106"/>
                    </a:cubicBezTo>
                    <a:cubicBezTo>
                      <a:pt x="689826" y="796185"/>
                      <a:pt x="688720" y="802122"/>
                      <a:pt x="688167" y="803742"/>
                    </a:cubicBezTo>
                    <a:cubicBezTo>
                      <a:pt x="687613" y="804821"/>
                      <a:pt x="685401" y="809139"/>
                      <a:pt x="684848" y="809678"/>
                    </a:cubicBezTo>
                    <a:cubicBezTo>
                      <a:pt x="682636" y="812377"/>
                      <a:pt x="668255" y="813457"/>
                      <a:pt x="664937" y="813457"/>
                    </a:cubicBezTo>
                    <a:cubicBezTo>
                      <a:pt x="662171" y="812917"/>
                      <a:pt x="658853" y="811298"/>
                      <a:pt x="656087" y="811298"/>
                    </a:cubicBezTo>
                    <a:cubicBezTo>
                      <a:pt x="651662" y="811298"/>
                      <a:pt x="650003" y="815076"/>
                      <a:pt x="647238" y="816155"/>
                    </a:cubicBezTo>
                    <a:cubicBezTo>
                      <a:pt x="642813" y="817235"/>
                      <a:pt x="641707" y="808599"/>
                      <a:pt x="630092" y="810218"/>
                    </a:cubicBezTo>
                    <a:cubicBezTo>
                      <a:pt x="608521" y="812917"/>
                      <a:pt x="611287" y="822632"/>
                      <a:pt x="607968" y="824791"/>
                    </a:cubicBezTo>
                    <a:cubicBezTo>
                      <a:pt x="606309" y="825870"/>
                      <a:pt x="601331" y="824251"/>
                      <a:pt x="599119" y="824791"/>
                    </a:cubicBezTo>
                    <a:cubicBezTo>
                      <a:pt x="595800" y="825330"/>
                      <a:pt x="591929" y="826950"/>
                      <a:pt x="588610" y="828569"/>
                    </a:cubicBezTo>
                    <a:cubicBezTo>
                      <a:pt x="585845" y="830728"/>
                      <a:pt x="579207" y="836665"/>
                      <a:pt x="577548" y="839903"/>
                    </a:cubicBezTo>
                    <a:cubicBezTo>
                      <a:pt x="571464" y="850697"/>
                      <a:pt x="569805" y="864191"/>
                      <a:pt x="563168" y="874445"/>
                    </a:cubicBezTo>
                    <a:cubicBezTo>
                      <a:pt x="561508" y="877144"/>
                      <a:pt x="554871" y="879843"/>
                      <a:pt x="552106" y="882541"/>
                    </a:cubicBezTo>
                    <a:cubicBezTo>
                      <a:pt x="545469" y="889018"/>
                      <a:pt x="544363" y="894955"/>
                      <a:pt x="534960" y="899812"/>
                    </a:cubicBezTo>
                    <a:cubicBezTo>
                      <a:pt x="531642" y="899273"/>
                      <a:pt x="525004" y="893875"/>
                      <a:pt x="523345" y="891177"/>
                    </a:cubicBezTo>
                    <a:cubicBezTo>
                      <a:pt x="521686" y="889018"/>
                      <a:pt x="521686" y="886319"/>
                      <a:pt x="520580" y="884160"/>
                    </a:cubicBezTo>
                    <a:cubicBezTo>
                      <a:pt x="518367" y="880382"/>
                      <a:pt x="507859" y="878223"/>
                      <a:pt x="503987" y="878763"/>
                    </a:cubicBezTo>
                    <a:cubicBezTo>
                      <a:pt x="501221" y="879303"/>
                      <a:pt x="493478" y="882541"/>
                      <a:pt x="491266" y="884160"/>
                    </a:cubicBezTo>
                    <a:cubicBezTo>
                      <a:pt x="485735" y="888478"/>
                      <a:pt x="485735" y="895494"/>
                      <a:pt x="476885" y="896574"/>
                    </a:cubicBezTo>
                    <a:cubicBezTo>
                      <a:pt x="475779" y="896574"/>
                      <a:pt x="469695" y="895494"/>
                      <a:pt x="468589" y="894955"/>
                    </a:cubicBezTo>
                    <a:cubicBezTo>
                      <a:pt x="466930" y="893336"/>
                      <a:pt x="464717" y="886319"/>
                      <a:pt x="462505" y="885240"/>
                    </a:cubicBezTo>
                    <a:cubicBezTo>
                      <a:pt x="455868" y="883081"/>
                      <a:pt x="428766" y="881462"/>
                      <a:pt x="421023" y="883621"/>
                    </a:cubicBezTo>
                    <a:cubicBezTo>
                      <a:pt x="418811" y="884160"/>
                      <a:pt x="409961" y="887399"/>
                      <a:pt x="408302" y="887399"/>
                    </a:cubicBezTo>
                    <a:cubicBezTo>
                      <a:pt x="407749" y="887399"/>
                      <a:pt x="398346" y="880382"/>
                      <a:pt x="393922" y="879843"/>
                    </a:cubicBezTo>
                    <a:cubicBezTo>
                      <a:pt x="388391" y="878763"/>
                      <a:pt x="381754" y="880382"/>
                      <a:pt x="376223" y="878763"/>
                    </a:cubicBezTo>
                    <a:cubicBezTo>
                      <a:pt x="374010" y="878223"/>
                      <a:pt x="372904" y="875525"/>
                      <a:pt x="370692" y="874985"/>
                    </a:cubicBezTo>
                    <a:cubicBezTo>
                      <a:pt x="367373" y="874445"/>
                      <a:pt x="351887" y="872826"/>
                      <a:pt x="348568" y="872826"/>
                    </a:cubicBezTo>
                    <a:cubicBezTo>
                      <a:pt x="344143" y="872826"/>
                      <a:pt x="339719" y="875525"/>
                      <a:pt x="335294" y="875525"/>
                    </a:cubicBezTo>
                    <a:cubicBezTo>
                      <a:pt x="331422" y="875525"/>
                      <a:pt x="323679" y="871207"/>
                      <a:pt x="320360" y="871747"/>
                    </a:cubicBezTo>
                    <a:cubicBezTo>
                      <a:pt x="317042" y="872826"/>
                      <a:pt x="311511" y="880922"/>
                      <a:pt x="308192" y="883081"/>
                    </a:cubicBezTo>
                    <a:cubicBezTo>
                      <a:pt x="303215" y="886319"/>
                      <a:pt x="288281" y="894415"/>
                      <a:pt x="283303" y="894955"/>
                    </a:cubicBezTo>
                    <a:cubicBezTo>
                      <a:pt x="274454" y="896574"/>
                      <a:pt x="257861" y="886859"/>
                      <a:pt x="246799" y="892256"/>
                    </a:cubicBezTo>
                    <a:cubicBezTo>
                      <a:pt x="241821" y="894415"/>
                      <a:pt x="228547" y="905210"/>
                      <a:pt x="224675" y="908988"/>
                    </a:cubicBezTo>
                    <a:cubicBezTo>
                      <a:pt x="221357" y="912226"/>
                      <a:pt x="215826" y="925179"/>
                      <a:pt x="213061" y="926798"/>
                    </a:cubicBezTo>
                    <a:cubicBezTo>
                      <a:pt x="211954" y="927338"/>
                      <a:pt x="207530" y="923560"/>
                      <a:pt x="205317" y="924640"/>
                    </a:cubicBezTo>
                    <a:cubicBezTo>
                      <a:pt x="203658" y="925179"/>
                      <a:pt x="203658" y="931116"/>
                      <a:pt x="202552" y="932735"/>
                    </a:cubicBezTo>
                    <a:cubicBezTo>
                      <a:pt x="201446" y="933815"/>
                      <a:pt x="196468" y="934894"/>
                      <a:pt x="194808" y="935434"/>
                    </a:cubicBezTo>
                    <a:cubicBezTo>
                      <a:pt x="184300" y="935974"/>
                      <a:pt x="182640" y="927878"/>
                      <a:pt x="174897" y="924640"/>
                    </a:cubicBezTo>
                    <a:cubicBezTo>
                      <a:pt x="173238" y="923560"/>
                      <a:pt x="169919" y="924640"/>
                      <a:pt x="168260" y="923560"/>
                    </a:cubicBezTo>
                    <a:cubicBezTo>
                      <a:pt x="162729" y="920861"/>
                      <a:pt x="145030" y="906289"/>
                      <a:pt x="140605" y="901971"/>
                    </a:cubicBezTo>
                    <a:cubicBezTo>
                      <a:pt x="137840" y="899273"/>
                      <a:pt x="131756" y="889018"/>
                      <a:pt x="130097" y="885240"/>
                    </a:cubicBezTo>
                    <a:cubicBezTo>
                      <a:pt x="129544" y="883621"/>
                      <a:pt x="126778" y="872826"/>
                      <a:pt x="126778" y="871747"/>
                    </a:cubicBezTo>
                    <a:cubicBezTo>
                      <a:pt x="126778" y="871207"/>
                      <a:pt x="126778" y="870127"/>
                      <a:pt x="127331" y="869588"/>
                    </a:cubicBezTo>
                    <a:cubicBezTo>
                      <a:pt x="129544" y="867969"/>
                      <a:pt x="135075" y="870127"/>
                      <a:pt x="138393" y="869588"/>
                    </a:cubicBezTo>
                    <a:cubicBezTo>
                      <a:pt x="146689" y="862032"/>
                      <a:pt x="132309" y="856095"/>
                      <a:pt x="128437" y="851237"/>
                    </a:cubicBezTo>
                    <a:cubicBezTo>
                      <a:pt x="126778" y="849078"/>
                      <a:pt x="125119" y="843141"/>
                      <a:pt x="126225" y="840443"/>
                    </a:cubicBezTo>
                    <a:cubicBezTo>
                      <a:pt x="127331" y="836665"/>
                      <a:pt x="132309" y="837204"/>
                      <a:pt x="128991" y="830188"/>
                    </a:cubicBezTo>
                    <a:cubicBezTo>
                      <a:pt x="125672" y="822092"/>
                      <a:pt x="116269" y="806440"/>
                      <a:pt x="109632" y="801583"/>
                    </a:cubicBezTo>
                    <a:cubicBezTo>
                      <a:pt x="105208" y="798884"/>
                      <a:pt x="99677" y="796725"/>
                      <a:pt x="96358" y="792947"/>
                    </a:cubicBezTo>
                    <a:cubicBezTo>
                      <a:pt x="94699" y="791868"/>
                      <a:pt x="94146" y="789169"/>
                      <a:pt x="93040" y="787550"/>
                    </a:cubicBezTo>
                    <a:cubicBezTo>
                      <a:pt x="91380" y="786470"/>
                      <a:pt x="87509" y="784851"/>
                      <a:pt x="86402" y="783772"/>
                    </a:cubicBezTo>
                    <a:cubicBezTo>
                      <a:pt x="82531" y="779454"/>
                      <a:pt x="93593" y="771358"/>
                      <a:pt x="87509" y="768120"/>
                    </a:cubicBezTo>
                    <a:cubicBezTo>
                      <a:pt x="85849" y="767580"/>
                      <a:pt x="83084" y="768120"/>
                      <a:pt x="81978" y="769199"/>
                    </a:cubicBezTo>
                    <a:cubicBezTo>
                      <a:pt x="81425" y="770818"/>
                      <a:pt x="80318" y="775676"/>
                      <a:pt x="79212" y="776755"/>
                    </a:cubicBezTo>
                    <a:cubicBezTo>
                      <a:pt x="74787" y="779994"/>
                      <a:pt x="71469" y="771898"/>
                      <a:pt x="66491" y="771358"/>
                    </a:cubicBezTo>
                    <a:cubicBezTo>
                      <a:pt x="65385" y="770818"/>
                      <a:pt x="52664" y="774057"/>
                      <a:pt x="49345" y="774057"/>
                    </a:cubicBezTo>
                    <a:cubicBezTo>
                      <a:pt x="46580" y="774057"/>
                      <a:pt x="40496" y="772438"/>
                      <a:pt x="37730" y="771358"/>
                    </a:cubicBezTo>
                    <a:cubicBezTo>
                      <a:pt x="36624" y="757865"/>
                      <a:pt x="35518" y="744912"/>
                      <a:pt x="30540" y="731958"/>
                    </a:cubicBezTo>
                    <a:close/>
                    <a:moveTo>
                      <a:pt x="1166038" y="554929"/>
                    </a:moveTo>
                    <a:cubicBezTo>
                      <a:pt x="1171016" y="557088"/>
                      <a:pt x="1180972" y="573280"/>
                      <a:pt x="1182078" y="578677"/>
                    </a:cubicBezTo>
                    <a:cubicBezTo>
                      <a:pt x="1182631" y="579756"/>
                      <a:pt x="1181525" y="584614"/>
                      <a:pt x="1179865" y="585154"/>
                    </a:cubicBezTo>
                    <a:cubicBezTo>
                      <a:pt x="1178206" y="586233"/>
                      <a:pt x="1172122" y="584614"/>
                      <a:pt x="1169910" y="584074"/>
                    </a:cubicBezTo>
                    <a:cubicBezTo>
                      <a:pt x="1163826" y="580836"/>
                      <a:pt x="1159401" y="574899"/>
                      <a:pt x="1152764" y="572200"/>
                    </a:cubicBezTo>
                    <a:cubicBezTo>
                      <a:pt x="1149445" y="570041"/>
                      <a:pt x="1144468" y="570581"/>
                      <a:pt x="1140596" y="568962"/>
                    </a:cubicBezTo>
                    <a:cubicBezTo>
                      <a:pt x="1135065" y="566263"/>
                      <a:pt x="1134512" y="557628"/>
                      <a:pt x="1140043" y="554929"/>
                    </a:cubicBezTo>
                    <a:cubicBezTo>
                      <a:pt x="1146680" y="551691"/>
                      <a:pt x="1158848" y="552230"/>
                      <a:pt x="1166038" y="554929"/>
                    </a:cubicBezTo>
                    <a:close/>
                    <a:moveTo>
                      <a:pt x="1048783" y="568962"/>
                    </a:moveTo>
                    <a:cubicBezTo>
                      <a:pt x="1052101" y="567343"/>
                      <a:pt x="1062057" y="564644"/>
                      <a:pt x="1065928" y="564104"/>
                    </a:cubicBezTo>
                    <a:cubicBezTo>
                      <a:pt x="1067588" y="563565"/>
                      <a:pt x="1075884" y="563565"/>
                      <a:pt x="1076990" y="564104"/>
                    </a:cubicBezTo>
                    <a:cubicBezTo>
                      <a:pt x="1077543" y="564644"/>
                      <a:pt x="1077543" y="567343"/>
                      <a:pt x="1076990" y="567882"/>
                    </a:cubicBezTo>
                    <a:cubicBezTo>
                      <a:pt x="1076437" y="568962"/>
                      <a:pt x="1071459" y="570581"/>
                      <a:pt x="1070906" y="571661"/>
                    </a:cubicBezTo>
                    <a:cubicBezTo>
                      <a:pt x="1069800" y="573819"/>
                      <a:pt x="1070353" y="583534"/>
                      <a:pt x="1071459" y="585154"/>
                    </a:cubicBezTo>
                    <a:cubicBezTo>
                      <a:pt x="1076437" y="591091"/>
                      <a:pt x="1094689" y="584614"/>
                      <a:pt x="1096349" y="590551"/>
                    </a:cubicBezTo>
                    <a:cubicBezTo>
                      <a:pt x="1097455" y="594869"/>
                      <a:pt x="1084180" y="620775"/>
                      <a:pt x="1081968" y="625093"/>
                    </a:cubicBezTo>
                    <a:cubicBezTo>
                      <a:pt x="1079756" y="628871"/>
                      <a:pt x="1069800" y="641285"/>
                      <a:pt x="1065928" y="641825"/>
                    </a:cubicBezTo>
                    <a:cubicBezTo>
                      <a:pt x="1064269" y="642364"/>
                      <a:pt x="1060398" y="641825"/>
                      <a:pt x="1058738" y="641285"/>
                    </a:cubicBezTo>
                    <a:cubicBezTo>
                      <a:pt x="1055973" y="640205"/>
                      <a:pt x="1053760" y="636967"/>
                      <a:pt x="1050995" y="635888"/>
                    </a:cubicBezTo>
                    <a:cubicBezTo>
                      <a:pt x="1047676" y="633729"/>
                      <a:pt x="1038827" y="631030"/>
                      <a:pt x="1036615" y="628331"/>
                    </a:cubicBezTo>
                    <a:cubicBezTo>
                      <a:pt x="1033296" y="625093"/>
                      <a:pt x="1031637" y="612679"/>
                      <a:pt x="1028318" y="611060"/>
                    </a:cubicBezTo>
                    <a:cubicBezTo>
                      <a:pt x="1025553" y="609441"/>
                      <a:pt x="1019469" y="611600"/>
                      <a:pt x="1016703" y="612679"/>
                    </a:cubicBezTo>
                    <a:cubicBezTo>
                      <a:pt x="1015044" y="613759"/>
                      <a:pt x="1011725" y="617537"/>
                      <a:pt x="1010619" y="617537"/>
                    </a:cubicBezTo>
                    <a:cubicBezTo>
                      <a:pt x="1010066" y="618077"/>
                      <a:pt x="1007854" y="617537"/>
                      <a:pt x="1007301" y="616997"/>
                    </a:cubicBezTo>
                    <a:cubicBezTo>
                      <a:pt x="1006194" y="616458"/>
                      <a:pt x="999557" y="609441"/>
                      <a:pt x="999004" y="607822"/>
                    </a:cubicBezTo>
                    <a:cubicBezTo>
                      <a:pt x="998451" y="607282"/>
                      <a:pt x="998451" y="605123"/>
                      <a:pt x="998451" y="604044"/>
                    </a:cubicBezTo>
                    <a:cubicBezTo>
                      <a:pt x="999557" y="600266"/>
                      <a:pt x="1013385" y="588392"/>
                      <a:pt x="1017256" y="586233"/>
                    </a:cubicBezTo>
                    <a:lnTo>
                      <a:pt x="1020575" y="584614"/>
                    </a:lnTo>
                    <a:cubicBezTo>
                      <a:pt x="1030531" y="580296"/>
                      <a:pt x="1038827" y="573280"/>
                      <a:pt x="1048783" y="568962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5" name="Freeform 1087">
                <a:extLst>
                  <a:ext uri="{FF2B5EF4-FFF2-40B4-BE49-F238E27FC236}">
                    <a16:creationId xmlns:a16="http://schemas.microsoft.com/office/drawing/2014/main" id="{21F14798-B079-44A7-8B5B-F3C112F83D47}"/>
                  </a:ext>
                </a:extLst>
              </p:cNvPr>
              <p:cNvSpPr/>
              <p:nvPr/>
            </p:nvSpPr>
            <p:spPr>
              <a:xfrm>
                <a:off x="7076085" y="2619400"/>
                <a:ext cx="388823" cy="271615"/>
              </a:xfrm>
              <a:custGeom>
                <a:avLst/>
                <a:gdLst>
                  <a:gd name="connsiteX0" fmla="*/ 81066 w 388823"/>
                  <a:gd name="connsiteY0" fmla="*/ 196206 h 271615"/>
                  <a:gd name="connsiteX1" fmla="*/ 74428 w 388823"/>
                  <a:gd name="connsiteY1" fmla="*/ 202683 h 271615"/>
                  <a:gd name="connsiteX2" fmla="*/ 68898 w 388823"/>
                  <a:gd name="connsiteY2" fmla="*/ 215096 h 271615"/>
                  <a:gd name="connsiteX3" fmla="*/ 57283 w 388823"/>
                  <a:gd name="connsiteY3" fmla="*/ 227510 h 271615"/>
                  <a:gd name="connsiteX4" fmla="*/ 43455 w 388823"/>
                  <a:gd name="connsiteY4" fmla="*/ 233987 h 271615"/>
                  <a:gd name="connsiteX5" fmla="*/ 26863 w 388823"/>
                  <a:gd name="connsiteY5" fmla="*/ 271228 h 271615"/>
                  <a:gd name="connsiteX6" fmla="*/ 21332 w 388823"/>
                  <a:gd name="connsiteY6" fmla="*/ 269069 h 271615"/>
                  <a:gd name="connsiteX7" fmla="*/ 22991 w 388823"/>
                  <a:gd name="connsiteY7" fmla="*/ 243702 h 271615"/>
                  <a:gd name="connsiteX8" fmla="*/ 10823 w 388823"/>
                  <a:gd name="connsiteY8" fmla="*/ 239384 h 271615"/>
                  <a:gd name="connsiteX9" fmla="*/ 5845 w 388823"/>
                  <a:gd name="connsiteY9" fmla="*/ 233987 h 271615"/>
                  <a:gd name="connsiteX10" fmla="*/ 5292 w 388823"/>
                  <a:gd name="connsiteY10" fmla="*/ 226970 h 271615"/>
                  <a:gd name="connsiteX11" fmla="*/ 1420 w 388823"/>
                  <a:gd name="connsiteY11" fmla="*/ 218874 h 271615"/>
                  <a:gd name="connsiteX12" fmla="*/ 3080 w 388823"/>
                  <a:gd name="connsiteY12" fmla="*/ 211858 h 271615"/>
                  <a:gd name="connsiteX13" fmla="*/ 14141 w 388823"/>
                  <a:gd name="connsiteY13" fmla="*/ 212937 h 271615"/>
                  <a:gd name="connsiteX14" fmla="*/ 18566 w 388823"/>
                  <a:gd name="connsiteY14" fmla="*/ 203222 h 271615"/>
                  <a:gd name="connsiteX15" fmla="*/ 27416 w 388823"/>
                  <a:gd name="connsiteY15" fmla="*/ 199444 h 271615"/>
                  <a:gd name="connsiteX16" fmla="*/ 30734 w 388823"/>
                  <a:gd name="connsiteY16" fmla="*/ 191348 h 271615"/>
                  <a:gd name="connsiteX17" fmla="*/ 37371 w 388823"/>
                  <a:gd name="connsiteY17" fmla="*/ 188650 h 271615"/>
                  <a:gd name="connsiteX18" fmla="*/ 43455 w 388823"/>
                  <a:gd name="connsiteY18" fmla="*/ 189729 h 271615"/>
                  <a:gd name="connsiteX19" fmla="*/ 57283 w 388823"/>
                  <a:gd name="connsiteY19" fmla="*/ 187570 h 271615"/>
                  <a:gd name="connsiteX20" fmla="*/ 79959 w 388823"/>
                  <a:gd name="connsiteY20" fmla="*/ 195127 h 271615"/>
                  <a:gd name="connsiteX21" fmla="*/ 81066 w 388823"/>
                  <a:gd name="connsiteY21" fmla="*/ 196206 h 271615"/>
                  <a:gd name="connsiteX22" fmla="*/ 55623 w 388823"/>
                  <a:gd name="connsiteY22" fmla="*/ 157346 h 271615"/>
                  <a:gd name="connsiteX23" fmla="*/ 49539 w 388823"/>
                  <a:gd name="connsiteY23" fmla="*/ 160045 h 271615"/>
                  <a:gd name="connsiteX24" fmla="*/ 40690 w 388823"/>
                  <a:gd name="connsiteY24" fmla="*/ 176776 h 271615"/>
                  <a:gd name="connsiteX25" fmla="*/ 36818 w 388823"/>
                  <a:gd name="connsiteY25" fmla="*/ 177855 h 271615"/>
                  <a:gd name="connsiteX26" fmla="*/ 23544 w 388823"/>
                  <a:gd name="connsiteY26" fmla="*/ 163283 h 271615"/>
                  <a:gd name="connsiteX27" fmla="*/ 6951 w 388823"/>
                  <a:gd name="connsiteY27" fmla="*/ 160045 h 271615"/>
                  <a:gd name="connsiteX28" fmla="*/ 867 w 388823"/>
                  <a:gd name="connsiteY28" fmla="*/ 156806 h 271615"/>
                  <a:gd name="connsiteX29" fmla="*/ -792 w 388823"/>
                  <a:gd name="connsiteY29" fmla="*/ 155727 h 271615"/>
                  <a:gd name="connsiteX30" fmla="*/ 867 w 388823"/>
                  <a:gd name="connsiteY30" fmla="*/ 154108 h 271615"/>
                  <a:gd name="connsiteX31" fmla="*/ 21332 w 388823"/>
                  <a:gd name="connsiteY31" fmla="*/ 149790 h 271615"/>
                  <a:gd name="connsiteX32" fmla="*/ 32393 w 388823"/>
                  <a:gd name="connsiteY32" fmla="*/ 136297 h 271615"/>
                  <a:gd name="connsiteX33" fmla="*/ 36818 w 388823"/>
                  <a:gd name="connsiteY33" fmla="*/ 138456 h 271615"/>
                  <a:gd name="connsiteX34" fmla="*/ 48433 w 388823"/>
                  <a:gd name="connsiteY34" fmla="*/ 141694 h 271615"/>
                  <a:gd name="connsiteX35" fmla="*/ 55623 w 388823"/>
                  <a:gd name="connsiteY35" fmla="*/ 155727 h 271615"/>
                  <a:gd name="connsiteX36" fmla="*/ 55623 w 388823"/>
                  <a:gd name="connsiteY36" fmla="*/ 157346 h 271615"/>
                  <a:gd name="connsiteX37" fmla="*/ 355399 w 388823"/>
                  <a:gd name="connsiteY37" fmla="*/ 14859 h 271615"/>
                  <a:gd name="connsiteX38" fmla="*/ 347103 w 388823"/>
                  <a:gd name="connsiteY38" fmla="*/ 25653 h 271615"/>
                  <a:gd name="connsiteX39" fmla="*/ 331616 w 388823"/>
                  <a:gd name="connsiteY39" fmla="*/ 38607 h 271615"/>
                  <a:gd name="connsiteX40" fmla="*/ 332722 w 388823"/>
                  <a:gd name="connsiteY40" fmla="*/ 62894 h 271615"/>
                  <a:gd name="connsiteX41" fmla="*/ 328851 w 388823"/>
                  <a:gd name="connsiteY41" fmla="*/ 94198 h 271615"/>
                  <a:gd name="connsiteX42" fmla="*/ 352081 w 388823"/>
                  <a:gd name="connsiteY42" fmla="*/ 159505 h 271615"/>
                  <a:gd name="connsiteX43" fmla="*/ 365355 w 388823"/>
                  <a:gd name="connsiteY43" fmla="*/ 177316 h 271615"/>
                  <a:gd name="connsiteX44" fmla="*/ 380288 w 388823"/>
                  <a:gd name="connsiteY44" fmla="*/ 181094 h 271615"/>
                  <a:gd name="connsiteX45" fmla="*/ 388032 w 388823"/>
                  <a:gd name="connsiteY45" fmla="*/ 189190 h 271615"/>
                  <a:gd name="connsiteX46" fmla="*/ 375311 w 388823"/>
                  <a:gd name="connsiteY46" fmla="*/ 202143 h 271615"/>
                  <a:gd name="connsiteX47" fmla="*/ 364249 w 388823"/>
                  <a:gd name="connsiteY47" fmla="*/ 239384 h 271615"/>
                  <a:gd name="connsiteX48" fmla="*/ 336041 w 388823"/>
                  <a:gd name="connsiteY48" fmla="*/ 238304 h 271615"/>
                  <a:gd name="connsiteX49" fmla="*/ 322767 w 388823"/>
                  <a:gd name="connsiteY49" fmla="*/ 253956 h 271615"/>
                  <a:gd name="connsiteX50" fmla="*/ 286263 w 388823"/>
                  <a:gd name="connsiteY50" fmla="*/ 242622 h 271615"/>
                  <a:gd name="connsiteX51" fmla="*/ 277966 w 388823"/>
                  <a:gd name="connsiteY51" fmla="*/ 223192 h 271615"/>
                  <a:gd name="connsiteX52" fmla="*/ 203299 w 388823"/>
                  <a:gd name="connsiteY52" fmla="*/ 215636 h 271615"/>
                  <a:gd name="connsiteX53" fmla="*/ 196662 w 388823"/>
                  <a:gd name="connsiteY53" fmla="*/ 228589 h 271615"/>
                  <a:gd name="connsiteX54" fmla="*/ 181728 w 388823"/>
                  <a:gd name="connsiteY54" fmla="*/ 233447 h 271615"/>
                  <a:gd name="connsiteX55" fmla="*/ 164582 w 388823"/>
                  <a:gd name="connsiteY55" fmla="*/ 259354 h 271615"/>
                  <a:gd name="connsiteX56" fmla="*/ 164582 w 388823"/>
                  <a:gd name="connsiteY56" fmla="*/ 238844 h 271615"/>
                  <a:gd name="connsiteX57" fmla="*/ 169560 w 388823"/>
                  <a:gd name="connsiteY57" fmla="*/ 194047 h 271615"/>
                  <a:gd name="connsiteX58" fmla="*/ 166795 w 388823"/>
                  <a:gd name="connsiteY58" fmla="*/ 192428 h 271615"/>
                  <a:gd name="connsiteX59" fmla="*/ 153521 w 388823"/>
                  <a:gd name="connsiteY59" fmla="*/ 194047 h 271615"/>
                  <a:gd name="connsiteX60" fmla="*/ 149649 w 388823"/>
                  <a:gd name="connsiteY60" fmla="*/ 199444 h 271615"/>
                  <a:gd name="connsiteX61" fmla="*/ 139140 w 388823"/>
                  <a:gd name="connsiteY61" fmla="*/ 205921 h 271615"/>
                  <a:gd name="connsiteX62" fmla="*/ 115910 w 388823"/>
                  <a:gd name="connsiteY62" fmla="*/ 192428 h 271615"/>
                  <a:gd name="connsiteX63" fmla="*/ 99318 w 388823"/>
                  <a:gd name="connsiteY63" fmla="*/ 169220 h 271615"/>
                  <a:gd name="connsiteX64" fmla="*/ 105402 w 388823"/>
                  <a:gd name="connsiteY64" fmla="*/ 156806 h 271615"/>
                  <a:gd name="connsiteX65" fmla="*/ 103742 w 388823"/>
                  <a:gd name="connsiteY65" fmla="*/ 154647 h 271615"/>
                  <a:gd name="connsiteX66" fmla="*/ 93234 w 388823"/>
                  <a:gd name="connsiteY66" fmla="*/ 155187 h 271615"/>
                  <a:gd name="connsiteX67" fmla="*/ 90468 w 388823"/>
                  <a:gd name="connsiteY67" fmla="*/ 154108 h 271615"/>
                  <a:gd name="connsiteX68" fmla="*/ 88256 w 388823"/>
                  <a:gd name="connsiteY68" fmla="*/ 136297 h 271615"/>
                  <a:gd name="connsiteX69" fmla="*/ 89915 w 388823"/>
                  <a:gd name="connsiteY69" fmla="*/ 129280 h 271615"/>
                  <a:gd name="connsiteX70" fmla="*/ 82725 w 388823"/>
                  <a:gd name="connsiteY70" fmla="*/ 124963 h 271615"/>
                  <a:gd name="connsiteX71" fmla="*/ 82725 w 388823"/>
                  <a:gd name="connsiteY71" fmla="*/ 103913 h 271615"/>
                  <a:gd name="connsiteX72" fmla="*/ 93787 w 388823"/>
                  <a:gd name="connsiteY72" fmla="*/ 96357 h 271615"/>
                  <a:gd name="connsiteX73" fmla="*/ 107061 w 388823"/>
                  <a:gd name="connsiteY73" fmla="*/ 91500 h 271615"/>
                  <a:gd name="connsiteX74" fmla="*/ 113145 w 388823"/>
                  <a:gd name="connsiteY74" fmla="*/ 78007 h 271615"/>
                  <a:gd name="connsiteX75" fmla="*/ 120888 w 388823"/>
                  <a:gd name="connsiteY75" fmla="*/ 73689 h 271615"/>
                  <a:gd name="connsiteX76" fmla="*/ 127525 w 388823"/>
                  <a:gd name="connsiteY76" fmla="*/ 65053 h 271615"/>
                  <a:gd name="connsiteX77" fmla="*/ 146884 w 388823"/>
                  <a:gd name="connsiteY77" fmla="*/ 58577 h 271615"/>
                  <a:gd name="connsiteX78" fmla="*/ 147990 w 388823"/>
                  <a:gd name="connsiteY78" fmla="*/ 48322 h 271615"/>
                  <a:gd name="connsiteX79" fmla="*/ 167348 w 388823"/>
                  <a:gd name="connsiteY79" fmla="*/ 47242 h 271615"/>
                  <a:gd name="connsiteX80" fmla="*/ 171220 w 388823"/>
                  <a:gd name="connsiteY80" fmla="*/ 45083 h 271615"/>
                  <a:gd name="connsiteX81" fmla="*/ 187812 w 388823"/>
                  <a:gd name="connsiteY81" fmla="*/ 39686 h 271615"/>
                  <a:gd name="connsiteX82" fmla="*/ 188365 w 388823"/>
                  <a:gd name="connsiteY82" fmla="*/ 28352 h 271615"/>
                  <a:gd name="connsiteX83" fmla="*/ 200533 w 388823"/>
                  <a:gd name="connsiteY83" fmla="*/ 28892 h 271615"/>
                  <a:gd name="connsiteX84" fmla="*/ 212701 w 388823"/>
                  <a:gd name="connsiteY84" fmla="*/ 22955 h 271615"/>
                  <a:gd name="connsiteX85" fmla="*/ 229294 w 388823"/>
                  <a:gd name="connsiteY85" fmla="*/ 21336 h 271615"/>
                  <a:gd name="connsiteX86" fmla="*/ 249206 w 388823"/>
                  <a:gd name="connsiteY86" fmla="*/ 22955 h 271615"/>
                  <a:gd name="connsiteX87" fmla="*/ 259714 w 388823"/>
                  <a:gd name="connsiteY87" fmla="*/ 19716 h 271615"/>
                  <a:gd name="connsiteX88" fmla="*/ 290134 w 388823"/>
                  <a:gd name="connsiteY88" fmla="*/ 24574 h 271615"/>
                  <a:gd name="connsiteX89" fmla="*/ 329957 w 388823"/>
                  <a:gd name="connsiteY89" fmla="*/ 11081 h 271615"/>
                  <a:gd name="connsiteX90" fmla="*/ 332169 w 388823"/>
                  <a:gd name="connsiteY90" fmla="*/ 286 h 271615"/>
                  <a:gd name="connsiteX91" fmla="*/ 340466 w 388823"/>
                  <a:gd name="connsiteY91" fmla="*/ 286 h 271615"/>
                  <a:gd name="connsiteX92" fmla="*/ 355399 w 388823"/>
                  <a:gd name="connsiteY92" fmla="*/ 14859 h 271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388823" h="271615">
                    <a:moveTo>
                      <a:pt x="81066" y="196206"/>
                    </a:moveTo>
                    <a:cubicBezTo>
                      <a:pt x="81066" y="198365"/>
                      <a:pt x="76088" y="199984"/>
                      <a:pt x="74428" y="202683"/>
                    </a:cubicBezTo>
                    <a:cubicBezTo>
                      <a:pt x="72216" y="206461"/>
                      <a:pt x="71110" y="211318"/>
                      <a:pt x="68898" y="215096"/>
                    </a:cubicBezTo>
                    <a:cubicBezTo>
                      <a:pt x="66685" y="217795"/>
                      <a:pt x="60048" y="225891"/>
                      <a:pt x="57283" y="227510"/>
                    </a:cubicBezTo>
                    <a:cubicBezTo>
                      <a:pt x="53411" y="230748"/>
                      <a:pt x="47327" y="230748"/>
                      <a:pt x="43455" y="233987"/>
                    </a:cubicBezTo>
                    <a:cubicBezTo>
                      <a:pt x="32947" y="241003"/>
                      <a:pt x="31840" y="268529"/>
                      <a:pt x="26863" y="271228"/>
                    </a:cubicBezTo>
                    <a:cubicBezTo>
                      <a:pt x="26309" y="271767"/>
                      <a:pt x="22438" y="271228"/>
                      <a:pt x="21332" y="269069"/>
                    </a:cubicBezTo>
                    <a:cubicBezTo>
                      <a:pt x="15801" y="258814"/>
                      <a:pt x="30181" y="248559"/>
                      <a:pt x="22991" y="243702"/>
                    </a:cubicBezTo>
                    <a:cubicBezTo>
                      <a:pt x="19672" y="241543"/>
                      <a:pt x="14695" y="241543"/>
                      <a:pt x="10823" y="239384"/>
                    </a:cubicBezTo>
                    <a:cubicBezTo>
                      <a:pt x="9717" y="238844"/>
                      <a:pt x="6398" y="235066"/>
                      <a:pt x="5845" y="233987"/>
                    </a:cubicBezTo>
                    <a:cubicBezTo>
                      <a:pt x="5292" y="231828"/>
                      <a:pt x="5845" y="229129"/>
                      <a:pt x="5292" y="226970"/>
                    </a:cubicBezTo>
                    <a:cubicBezTo>
                      <a:pt x="4186" y="224272"/>
                      <a:pt x="1973" y="221573"/>
                      <a:pt x="1420" y="218874"/>
                    </a:cubicBezTo>
                    <a:cubicBezTo>
                      <a:pt x="1420" y="217795"/>
                      <a:pt x="2526" y="212937"/>
                      <a:pt x="3080" y="211858"/>
                    </a:cubicBezTo>
                    <a:cubicBezTo>
                      <a:pt x="4739" y="209699"/>
                      <a:pt x="11376" y="213477"/>
                      <a:pt x="14141" y="212937"/>
                    </a:cubicBezTo>
                    <a:cubicBezTo>
                      <a:pt x="16354" y="212398"/>
                      <a:pt x="16907" y="204842"/>
                      <a:pt x="18566" y="203222"/>
                    </a:cubicBezTo>
                    <a:cubicBezTo>
                      <a:pt x="19672" y="202143"/>
                      <a:pt x="25756" y="201064"/>
                      <a:pt x="27416" y="199444"/>
                    </a:cubicBezTo>
                    <a:cubicBezTo>
                      <a:pt x="28522" y="197825"/>
                      <a:pt x="29628" y="192428"/>
                      <a:pt x="30734" y="191348"/>
                    </a:cubicBezTo>
                    <a:cubicBezTo>
                      <a:pt x="31840" y="190269"/>
                      <a:pt x="36265" y="188650"/>
                      <a:pt x="37371" y="188650"/>
                    </a:cubicBezTo>
                    <a:cubicBezTo>
                      <a:pt x="39584" y="188650"/>
                      <a:pt x="41796" y="189729"/>
                      <a:pt x="43455" y="189729"/>
                    </a:cubicBezTo>
                    <a:cubicBezTo>
                      <a:pt x="48986" y="189190"/>
                      <a:pt x="50092" y="185951"/>
                      <a:pt x="57283" y="187570"/>
                    </a:cubicBezTo>
                    <a:cubicBezTo>
                      <a:pt x="59495" y="188110"/>
                      <a:pt x="79406" y="194587"/>
                      <a:pt x="79959" y="195127"/>
                    </a:cubicBezTo>
                    <a:cubicBezTo>
                      <a:pt x="80512" y="195127"/>
                      <a:pt x="81066" y="195666"/>
                      <a:pt x="81066" y="196206"/>
                    </a:cubicBezTo>
                    <a:close/>
                    <a:moveTo>
                      <a:pt x="55623" y="157346"/>
                    </a:moveTo>
                    <a:cubicBezTo>
                      <a:pt x="53964" y="157886"/>
                      <a:pt x="50645" y="158965"/>
                      <a:pt x="49539" y="160045"/>
                    </a:cubicBezTo>
                    <a:cubicBezTo>
                      <a:pt x="46221" y="164362"/>
                      <a:pt x="44561" y="172998"/>
                      <a:pt x="40690" y="176776"/>
                    </a:cubicBezTo>
                    <a:cubicBezTo>
                      <a:pt x="40137" y="177855"/>
                      <a:pt x="37371" y="177855"/>
                      <a:pt x="36818" y="177855"/>
                    </a:cubicBezTo>
                    <a:cubicBezTo>
                      <a:pt x="31287" y="176776"/>
                      <a:pt x="28522" y="165981"/>
                      <a:pt x="23544" y="163283"/>
                    </a:cubicBezTo>
                    <a:cubicBezTo>
                      <a:pt x="19672" y="161124"/>
                      <a:pt x="11376" y="161664"/>
                      <a:pt x="6951" y="160045"/>
                    </a:cubicBezTo>
                    <a:cubicBezTo>
                      <a:pt x="5845" y="160045"/>
                      <a:pt x="1973" y="157346"/>
                      <a:pt x="867" y="156806"/>
                    </a:cubicBezTo>
                    <a:cubicBezTo>
                      <a:pt x="867" y="156806"/>
                      <a:pt x="-239" y="155727"/>
                      <a:pt x="-792" y="155727"/>
                    </a:cubicBezTo>
                    <a:cubicBezTo>
                      <a:pt x="-792" y="155187"/>
                      <a:pt x="314" y="154108"/>
                      <a:pt x="867" y="154108"/>
                    </a:cubicBezTo>
                    <a:cubicBezTo>
                      <a:pt x="5292" y="151949"/>
                      <a:pt x="14695" y="156806"/>
                      <a:pt x="21332" y="149790"/>
                    </a:cubicBezTo>
                    <a:cubicBezTo>
                      <a:pt x="24097" y="146551"/>
                      <a:pt x="28522" y="137376"/>
                      <a:pt x="32393" y="136297"/>
                    </a:cubicBezTo>
                    <a:cubicBezTo>
                      <a:pt x="35712" y="135217"/>
                      <a:pt x="36265" y="137916"/>
                      <a:pt x="36818" y="138456"/>
                    </a:cubicBezTo>
                    <a:cubicBezTo>
                      <a:pt x="37924" y="138995"/>
                      <a:pt x="46221" y="140614"/>
                      <a:pt x="48433" y="141694"/>
                    </a:cubicBezTo>
                    <a:cubicBezTo>
                      <a:pt x="51199" y="142773"/>
                      <a:pt x="54517" y="152488"/>
                      <a:pt x="55623" y="155727"/>
                    </a:cubicBezTo>
                    <a:lnTo>
                      <a:pt x="55623" y="157346"/>
                    </a:lnTo>
                    <a:close/>
                    <a:moveTo>
                      <a:pt x="355399" y="14859"/>
                    </a:moveTo>
                    <a:lnTo>
                      <a:pt x="347103" y="25653"/>
                    </a:lnTo>
                    <a:lnTo>
                      <a:pt x="331616" y="38607"/>
                    </a:lnTo>
                    <a:lnTo>
                      <a:pt x="332722" y="62894"/>
                    </a:lnTo>
                    <a:lnTo>
                      <a:pt x="328851" y="94198"/>
                    </a:lnTo>
                    <a:lnTo>
                      <a:pt x="352081" y="159505"/>
                    </a:lnTo>
                    <a:lnTo>
                      <a:pt x="365355" y="177316"/>
                    </a:lnTo>
                    <a:lnTo>
                      <a:pt x="380288" y="181094"/>
                    </a:lnTo>
                    <a:lnTo>
                      <a:pt x="388032" y="189190"/>
                    </a:lnTo>
                    <a:lnTo>
                      <a:pt x="375311" y="202143"/>
                    </a:lnTo>
                    <a:lnTo>
                      <a:pt x="364249" y="239384"/>
                    </a:lnTo>
                    <a:lnTo>
                      <a:pt x="336041" y="238304"/>
                    </a:lnTo>
                    <a:lnTo>
                      <a:pt x="322767" y="253956"/>
                    </a:lnTo>
                    <a:lnTo>
                      <a:pt x="286263" y="242622"/>
                    </a:lnTo>
                    <a:lnTo>
                      <a:pt x="277966" y="223192"/>
                    </a:lnTo>
                    <a:lnTo>
                      <a:pt x="203299" y="215636"/>
                    </a:lnTo>
                    <a:lnTo>
                      <a:pt x="196662" y="228589"/>
                    </a:lnTo>
                    <a:lnTo>
                      <a:pt x="181728" y="233447"/>
                    </a:lnTo>
                    <a:lnTo>
                      <a:pt x="164582" y="259354"/>
                    </a:lnTo>
                    <a:cubicBezTo>
                      <a:pt x="164029" y="252877"/>
                      <a:pt x="164029" y="245321"/>
                      <a:pt x="164582" y="238844"/>
                    </a:cubicBezTo>
                    <a:cubicBezTo>
                      <a:pt x="165136" y="231828"/>
                      <a:pt x="170113" y="196206"/>
                      <a:pt x="169560" y="194047"/>
                    </a:cubicBezTo>
                    <a:cubicBezTo>
                      <a:pt x="169007" y="192968"/>
                      <a:pt x="167348" y="192428"/>
                      <a:pt x="166795" y="192428"/>
                    </a:cubicBezTo>
                    <a:cubicBezTo>
                      <a:pt x="162370" y="190809"/>
                      <a:pt x="156839" y="191348"/>
                      <a:pt x="153521" y="194047"/>
                    </a:cubicBezTo>
                    <a:cubicBezTo>
                      <a:pt x="151861" y="195666"/>
                      <a:pt x="151308" y="197825"/>
                      <a:pt x="149649" y="199444"/>
                    </a:cubicBezTo>
                    <a:cubicBezTo>
                      <a:pt x="147990" y="201064"/>
                      <a:pt x="141353" y="205381"/>
                      <a:pt x="139140" y="205921"/>
                    </a:cubicBezTo>
                    <a:cubicBezTo>
                      <a:pt x="133609" y="206461"/>
                      <a:pt x="119229" y="196206"/>
                      <a:pt x="115910" y="192428"/>
                    </a:cubicBezTo>
                    <a:cubicBezTo>
                      <a:pt x="112592" y="189190"/>
                      <a:pt x="100977" y="172458"/>
                      <a:pt x="99318" y="169220"/>
                    </a:cubicBezTo>
                    <a:cubicBezTo>
                      <a:pt x="97658" y="163283"/>
                      <a:pt x="104849" y="161124"/>
                      <a:pt x="105402" y="156806"/>
                    </a:cubicBezTo>
                    <a:lnTo>
                      <a:pt x="103742" y="154647"/>
                    </a:lnTo>
                    <a:cubicBezTo>
                      <a:pt x="100424" y="154647"/>
                      <a:pt x="95999" y="156266"/>
                      <a:pt x="93234" y="155187"/>
                    </a:cubicBezTo>
                    <a:cubicBezTo>
                      <a:pt x="92127" y="155187"/>
                      <a:pt x="91021" y="154647"/>
                      <a:pt x="90468" y="154108"/>
                    </a:cubicBezTo>
                    <a:cubicBezTo>
                      <a:pt x="89915" y="153028"/>
                      <a:pt x="88256" y="137916"/>
                      <a:pt x="88256" y="136297"/>
                    </a:cubicBezTo>
                    <a:cubicBezTo>
                      <a:pt x="88256" y="134678"/>
                      <a:pt x="90468" y="130360"/>
                      <a:pt x="89915" y="129280"/>
                    </a:cubicBezTo>
                    <a:cubicBezTo>
                      <a:pt x="89362" y="127121"/>
                      <a:pt x="84937" y="128201"/>
                      <a:pt x="82725" y="124963"/>
                    </a:cubicBezTo>
                    <a:cubicBezTo>
                      <a:pt x="82725" y="120105"/>
                      <a:pt x="81066" y="107152"/>
                      <a:pt x="82725" y="103913"/>
                    </a:cubicBezTo>
                    <a:cubicBezTo>
                      <a:pt x="83831" y="101215"/>
                      <a:pt x="91021" y="97437"/>
                      <a:pt x="93787" y="96357"/>
                    </a:cubicBezTo>
                    <a:cubicBezTo>
                      <a:pt x="98211" y="94198"/>
                      <a:pt x="103189" y="94198"/>
                      <a:pt x="107061" y="91500"/>
                    </a:cubicBezTo>
                    <a:cubicBezTo>
                      <a:pt x="107614" y="90960"/>
                      <a:pt x="111486" y="80165"/>
                      <a:pt x="113145" y="78007"/>
                    </a:cubicBezTo>
                    <a:cubicBezTo>
                      <a:pt x="114804" y="76387"/>
                      <a:pt x="119229" y="75308"/>
                      <a:pt x="120888" y="73689"/>
                    </a:cubicBezTo>
                    <a:cubicBezTo>
                      <a:pt x="123654" y="70990"/>
                      <a:pt x="124760" y="67212"/>
                      <a:pt x="127525" y="65053"/>
                    </a:cubicBezTo>
                    <a:cubicBezTo>
                      <a:pt x="131950" y="61275"/>
                      <a:pt x="145224" y="60196"/>
                      <a:pt x="146884" y="58577"/>
                    </a:cubicBezTo>
                    <a:cubicBezTo>
                      <a:pt x="147990" y="56957"/>
                      <a:pt x="147437" y="49941"/>
                      <a:pt x="147990" y="48322"/>
                    </a:cubicBezTo>
                    <a:cubicBezTo>
                      <a:pt x="149649" y="46163"/>
                      <a:pt x="164029" y="48322"/>
                      <a:pt x="167348" y="47242"/>
                    </a:cubicBezTo>
                    <a:cubicBezTo>
                      <a:pt x="169007" y="47242"/>
                      <a:pt x="170113" y="45623"/>
                      <a:pt x="171220" y="45083"/>
                    </a:cubicBezTo>
                    <a:cubicBezTo>
                      <a:pt x="176197" y="43464"/>
                      <a:pt x="185047" y="47782"/>
                      <a:pt x="187812" y="39686"/>
                    </a:cubicBezTo>
                    <a:cubicBezTo>
                      <a:pt x="188919" y="37527"/>
                      <a:pt x="188365" y="31051"/>
                      <a:pt x="188365" y="28352"/>
                    </a:cubicBezTo>
                    <a:cubicBezTo>
                      <a:pt x="192237" y="27812"/>
                      <a:pt x="197768" y="28892"/>
                      <a:pt x="200533" y="28892"/>
                    </a:cubicBezTo>
                    <a:cubicBezTo>
                      <a:pt x="204958" y="27812"/>
                      <a:pt x="208277" y="24034"/>
                      <a:pt x="212701" y="22955"/>
                    </a:cubicBezTo>
                    <a:cubicBezTo>
                      <a:pt x="217679" y="21875"/>
                      <a:pt x="223763" y="21336"/>
                      <a:pt x="229294" y="21336"/>
                    </a:cubicBezTo>
                    <a:cubicBezTo>
                      <a:pt x="235931" y="21336"/>
                      <a:pt x="242568" y="23495"/>
                      <a:pt x="249206" y="22955"/>
                    </a:cubicBezTo>
                    <a:cubicBezTo>
                      <a:pt x="252524" y="22415"/>
                      <a:pt x="256396" y="19716"/>
                      <a:pt x="259714" y="19716"/>
                    </a:cubicBezTo>
                    <a:cubicBezTo>
                      <a:pt x="269670" y="19716"/>
                      <a:pt x="279626" y="24034"/>
                      <a:pt x="290134" y="24574"/>
                    </a:cubicBezTo>
                    <a:cubicBezTo>
                      <a:pt x="300643" y="24574"/>
                      <a:pt x="322767" y="19716"/>
                      <a:pt x="329957" y="11081"/>
                    </a:cubicBezTo>
                    <a:cubicBezTo>
                      <a:pt x="331616" y="9462"/>
                      <a:pt x="332169" y="2985"/>
                      <a:pt x="332169" y="286"/>
                    </a:cubicBezTo>
                    <a:cubicBezTo>
                      <a:pt x="336041" y="286"/>
                      <a:pt x="338253" y="-793"/>
                      <a:pt x="340466" y="286"/>
                    </a:cubicBezTo>
                    <a:cubicBezTo>
                      <a:pt x="345997" y="2445"/>
                      <a:pt x="355399" y="8922"/>
                      <a:pt x="355399" y="14859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6" name="Freeform 1088">
                <a:extLst>
                  <a:ext uri="{FF2B5EF4-FFF2-40B4-BE49-F238E27FC236}">
                    <a16:creationId xmlns:a16="http://schemas.microsoft.com/office/drawing/2014/main" id="{DD30DC54-04A8-44B1-8E04-9AB096F0CF87}"/>
                  </a:ext>
                </a:extLst>
              </p:cNvPr>
              <p:cNvSpPr/>
              <p:nvPr/>
            </p:nvSpPr>
            <p:spPr>
              <a:xfrm>
                <a:off x="5343247" y="2398728"/>
                <a:ext cx="1360132" cy="975010"/>
              </a:xfrm>
              <a:custGeom>
                <a:avLst/>
                <a:gdLst>
                  <a:gd name="connsiteX0" fmla="*/ 918050 w 1360132"/>
                  <a:gd name="connsiteY0" fmla="*/ 708851 h 975010"/>
                  <a:gd name="connsiteX1" fmla="*/ 917497 w 1360132"/>
                  <a:gd name="connsiteY1" fmla="*/ 711550 h 975010"/>
                  <a:gd name="connsiteX2" fmla="*/ 911413 w 1360132"/>
                  <a:gd name="connsiteY2" fmla="*/ 730440 h 975010"/>
                  <a:gd name="connsiteX3" fmla="*/ 905328 w 1360132"/>
                  <a:gd name="connsiteY3" fmla="*/ 736377 h 975010"/>
                  <a:gd name="connsiteX4" fmla="*/ 902010 w 1360132"/>
                  <a:gd name="connsiteY4" fmla="*/ 734218 h 975010"/>
                  <a:gd name="connsiteX5" fmla="*/ 901457 w 1360132"/>
                  <a:gd name="connsiteY5" fmla="*/ 723964 h 975010"/>
                  <a:gd name="connsiteX6" fmla="*/ 904222 w 1360132"/>
                  <a:gd name="connsiteY6" fmla="*/ 721265 h 975010"/>
                  <a:gd name="connsiteX7" fmla="*/ 915284 w 1360132"/>
                  <a:gd name="connsiteY7" fmla="*/ 709391 h 975010"/>
                  <a:gd name="connsiteX8" fmla="*/ 918050 w 1360132"/>
                  <a:gd name="connsiteY8" fmla="*/ 708851 h 975010"/>
                  <a:gd name="connsiteX9" fmla="*/ -636 w 1360132"/>
                  <a:gd name="connsiteY9" fmla="*/ 8830 h 975010"/>
                  <a:gd name="connsiteX10" fmla="*/ 1023 w 1360132"/>
                  <a:gd name="connsiteY10" fmla="*/ 195 h 975010"/>
                  <a:gd name="connsiteX11" fmla="*/ 3235 w 1360132"/>
                  <a:gd name="connsiteY11" fmla="*/ 195 h 975010"/>
                  <a:gd name="connsiteX12" fmla="*/ 8213 w 1360132"/>
                  <a:gd name="connsiteY12" fmla="*/ 8291 h 975010"/>
                  <a:gd name="connsiteX13" fmla="*/ 10979 w 1360132"/>
                  <a:gd name="connsiteY13" fmla="*/ 18006 h 975010"/>
                  <a:gd name="connsiteX14" fmla="*/ 15956 w 1360132"/>
                  <a:gd name="connsiteY14" fmla="*/ 26101 h 975010"/>
                  <a:gd name="connsiteX15" fmla="*/ 19275 w 1360132"/>
                  <a:gd name="connsiteY15" fmla="*/ 29879 h 975010"/>
                  <a:gd name="connsiteX16" fmla="*/ 20381 w 1360132"/>
                  <a:gd name="connsiteY16" fmla="*/ 34197 h 975010"/>
                  <a:gd name="connsiteX17" fmla="*/ 17616 w 1360132"/>
                  <a:gd name="connsiteY17" fmla="*/ 41214 h 975010"/>
                  <a:gd name="connsiteX18" fmla="*/ 12085 w 1360132"/>
                  <a:gd name="connsiteY18" fmla="*/ 39594 h 975010"/>
                  <a:gd name="connsiteX19" fmla="*/ 10979 w 1360132"/>
                  <a:gd name="connsiteY19" fmla="*/ 37975 h 975010"/>
                  <a:gd name="connsiteX20" fmla="*/ 7660 w 1360132"/>
                  <a:gd name="connsiteY20" fmla="*/ 21244 h 975010"/>
                  <a:gd name="connsiteX21" fmla="*/ -636 w 1360132"/>
                  <a:gd name="connsiteY21" fmla="*/ 8830 h 975010"/>
                  <a:gd name="connsiteX22" fmla="*/ 910859 w 1360132"/>
                  <a:gd name="connsiteY22" fmla="*/ 944171 h 975010"/>
                  <a:gd name="connsiteX23" fmla="*/ 906988 w 1360132"/>
                  <a:gd name="connsiteY23" fmla="*/ 889659 h 975010"/>
                  <a:gd name="connsiteX24" fmla="*/ 895373 w 1360132"/>
                  <a:gd name="connsiteY24" fmla="*/ 883182 h 975010"/>
                  <a:gd name="connsiteX25" fmla="*/ 886523 w 1360132"/>
                  <a:gd name="connsiteY25" fmla="*/ 869149 h 975010"/>
                  <a:gd name="connsiteX26" fmla="*/ 874355 w 1360132"/>
                  <a:gd name="connsiteY26" fmla="*/ 876705 h 975010"/>
                  <a:gd name="connsiteX27" fmla="*/ 874355 w 1360132"/>
                  <a:gd name="connsiteY27" fmla="*/ 840544 h 975010"/>
                  <a:gd name="connsiteX28" fmla="*/ 872143 w 1360132"/>
                  <a:gd name="connsiteY28" fmla="*/ 836766 h 975010"/>
                  <a:gd name="connsiteX29" fmla="*/ 871037 w 1360132"/>
                  <a:gd name="connsiteY29" fmla="*/ 825971 h 975010"/>
                  <a:gd name="connsiteX30" fmla="*/ 876568 w 1360132"/>
                  <a:gd name="connsiteY30" fmla="*/ 837845 h 975010"/>
                  <a:gd name="connsiteX31" fmla="*/ 887630 w 1360132"/>
                  <a:gd name="connsiteY31" fmla="*/ 824352 h 975010"/>
                  <a:gd name="connsiteX32" fmla="*/ 880439 w 1360132"/>
                  <a:gd name="connsiteY32" fmla="*/ 812478 h 975010"/>
                  <a:gd name="connsiteX33" fmla="*/ 874355 w 1360132"/>
                  <a:gd name="connsiteY33" fmla="*/ 818415 h 975010"/>
                  <a:gd name="connsiteX34" fmla="*/ 870484 w 1360132"/>
                  <a:gd name="connsiteY34" fmla="*/ 817876 h 975010"/>
                  <a:gd name="connsiteX35" fmla="*/ 868824 w 1360132"/>
                  <a:gd name="connsiteY35" fmla="*/ 814097 h 975010"/>
                  <a:gd name="connsiteX36" fmla="*/ 869378 w 1360132"/>
                  <a:gd name="connsiteY36" fmla="*/ 802224 h 975010"/>
                  <a:gd name="connsiteX37" fmla="*/ 870484 w 1360132"/>
                  <a:gd name="connsiteY37" fmla="*/ 785492 h 975010"/>
                  <a:gd name="connsiteX38" fmla="*/ 881546 w 1360132"/>
                  <a:gd name="connsiteY38" fmla="*/ 785492 h 975010"/>
                  <a:gd name="connsiteX39" fmla="*/ 883205 w 1360132"/>
                  <a:gd name="connsiteY39" fmla="*/ 779015 h 975010"/>
                  <a:gd name="connsiteX40" fmla="*/ 870484 w 1360132"/>
                  <a:gd name="connsiteY40" fmla="*/ 763903 h 975010"/>
                  <a:gd name="connsiteX41" fmla="*/ 869931 w 1360132"/>
                  <a:gd name="connsiteY41" fmla="*/ 752569 h 975010"/>
                  <a:gd name="connsiteX42" fmla="*/ 871590 w 1360132"/>
                  <a:gd name="connsiteY42" fmla="*/ 741775 h 975010"/>
                  <a:gd name="connsiteX43" fmla="*/ 878780 w 1360132"/>
                  <a:gd name="connsiteY43" fmla="*/ 737996 h 975010"/>
                  <a:gd name="connsiteX44" fmla="*/ 875462 w 1360132"/>
                  <a:gd name="connsiteY44" fmla="*/ 743933 h 975010"/>
                  <a:gd name="connsiteX45" fmla="*/ 879886 w 1360132"/>
                  <a:gd name="connsiteY45" fmla="*/ 748791 h 975010"/>
                  <a:gd name="connsiteX46" fmla="*/ 881546 w 1360132"/>
                  <a:gd name="connsiteY46" fmla="*/ 752029 h 975010"/>
                  <a:gd name="connsiteX47" fmla="*/ 899244 w 1360132"/>
                  <a:gd name="connsiteY47" fmla="*/ 752569 h 975010"/>
                  <a:gd name="connsiteX48" fmla="*/ 908647 w 1360132"/>
                  <a:gd name="connsiteY48" fmla="*/ 760665 h 975010"/>
                  <a:gd name="connsiteX49" fmla="*/ 913072 w 1360132"/>
                  <a:gd name="connsiteY49" fmla="*/ 750950 h 975010"/>
                  <a:gd name="connsiteX50" fmla="*/ 914178 w 1360132"/>
                  <a:gd name="connsiteY50" fmla="*/ 743394 h 975010"/>
                  <a:gd name="connsiteX51" fmla="*/ 921921 w 1360132"/>
                  <a:gd name="connsiteY51" fmla="*/ 737996 h 975010"/>
                  <a:gd name="connsiteX52" fmla="*/ 928005 w 1360132"/>
                  <a:gd name="connsiteY52" fmla="*/ 728281 h 975010"/>
                  <a:gd name="connsiteX53" fmla="*/ 932983 w 1360132"/>
                  <a:gd name="connsiteY53" fmla="*/ 742854 h 975010"/>
                  <a:gd name="connsiteX54" fmla="*/ 930218 w 1360132"/>
                  <a:gd name="connsiteY54" fmla="*/ 748251 h 975010"/>
                  <a:gd name="connsiteX55" fmla="*/ 930771 w 1360132"/>
                  <a:gd name="connsiteY55" fmla="*/ 750950 h 975010"/>
                  <a:gd name="connsiteX56" fmla="*/ 938514 w 1360132"/>
                  <a:gd name="connsiteY56" fmla="*/ 748251 h 975010"/>
                  <a:gd name="connsiteX57" fmla="*/ 938514 w 1360132"/>
                  <a:gd name="connsiteY57" fmla="*/ 743933 h 975010"/>
                  <a:gd name="connsiteX58" fmla="*/ 940173 w 1360132"/>
                  <a:gd name="connsiteY58" fmla="*/ 742854 h 975010"/>
                  <a:gd name="connsiteX59" fmla="*/ 944598 w 1360132"/>
                  <a:gd name="connsiteY59" fmla="*/ 753648 h 975010"/>
                  <a:gd name="connsiteX60" fmla="*/ 952341 w 1360132"/>
                  <a:gd name="connsiteY60" fmla="*/ 752569 h 975010"/>
                  <a:gd name="connsiteX61" fmla="*/ 946257 w 1360132"/>
                  <a:gd name="connsiteY61" fmla="*/ 735838 h 975010"/>
                  <a:gd name="connsiteX62" fmla="*/ 942386 w 1360132"/>
                  <a:gd name="connsiteY62" fmla="*/ 716947 h 975010"/>
                  <a:gd name="connsiteX63" fmla="*/ 952341 w 1360132"/>
                  <a:gd name="connsiteY63" fmla="*/ 701295 h 975010"/>
                  <a:gd name="connsiteX64" fmla="*/ 967828 w 1360132"/>
                  <a:gd name="connsiteY64" fmla="*/ 705613 h 975010"/>
                  <a:gd name="connsiteX65" fmla="*/ 976124 w 1360132"/>
                  <a:gd name="connsiteY65" fmla="*/ 696977 h 975010"/>
                  <a:gd name="connsiteX66" fmla="*/ 984974 w 1360132"/>
                  <a:gd name="connsiteY66" fmla="*/ 692660 h 975010"/>
                  <a:gd name="connsiteX67" fmla="*/ 983314 w 1360132"/>
                  <a:gd name="connsiteY67" fmla="*/ 687262 h 975010"/>
                  <a:gd name="connsiteX68" fmla="*/ 975018 w 1360132"/>
                  <a:gd name="connsiteY68" fmla="*/ 687262 h 975010"/>
                  <a:gd name="connsiteX69" fmla="*/ 964509 w 1360132"/>
                  <a:gd name="connsiteY69" fmla="*/ 692120 h 975010"/>
                  <a:gd name="connsiteX70" fmla="*/ 955660 w 1360132"/>
                  <a:gd name="connsiteY70" fmla="*/ 692660 h 975010"/>
                  <a:gd name="connsiteX71" fmla="*/ 946257 w 1360132"/>
                  <a:gd name="connsiteY71" fmla="*/ 696438 h 975010"/>
                  <a:gd name="connsiteX72" fmla="*/ 920815 w 1360132"/>
                  <a:gd name="connsiteY72" fmla="*/ 699136 h 975010"/>
                  <a:gd name="connsiteX73" fmla="*/ 907541 w 1360132"/>
                  <a:gd name="connsiteY73" fmla="*/ 706153 h 975010"/>
                  <a:gd name="connsiteX74" fmla="*/ 897032 w 1360132"/>
                  <a:gd name="connsiteY74" fmla="*/ 719646 h 975010"/>
                  <a:gd name="connsiteX75" fmla="*/ 894267 w 1360132"/>
                  <a:gd name="connsiteY75" fmla="*/ 722344 h 975010"/>
                  <a:gd name="connsiteX76" fmla="*/ 892054 w 1360132"/>
                  <a:gd name="connsiteY76" fmla="*/ 727202 h 975010"/>
                  <a:gd name="connsiteX77" fmla="*/ 899244 w 1360132"/>
                  <a:gd name="connsiteY77" fmla="*/ 745013 h 975010"/>
                  <a:gd name="connsiteX78" fmla="*/ 893714 w 1360132"/>
                  <a:gd name="connsiteY78" fmla="*/ 737996 h 975010"/>
                  <a:gd name="connsiteX79" fmla="*/ 878227 w 1360132"/>
                  <a:gd name="connsiteY79" fmla="*/ 727202 h 975010"/>
                  <a:gd name="connsiteX80" fmla="*/ 883758 w 1360132"/>
                  <a:gd name="connsiteY80" fmla="*/ 709391 h 975010"/>
                  <a:gd name="connsiteX81" fmla="*/ 902563 w 1360132"/>
                  <a:gd name="connsiteY81" fmla="*/ 687262 h 975010"/>
                  <a:gd name="connsiteX82" fmla="*/ 913625 w 1360132"/>
                  <a:gd name="connsiteY82" fmla="*/ 689961 h 975010"/>
                  <a:gd name="connsiteX83" fmla="*/ 926899 w 1360132"/>
                  <a:gd name="connsiteY83" fmla="*/ 681865 h 975010"/>
                  <a:gd name="connsiteX84" fmla="*/ 941279 w 1360132"/>
                  <a:gd name="connsiteY84" fmla="*/ 680246 h 975010"/>
                  <a:gd name="connsiteX85" fmla="*/ 961744 w 1360132"/>
                  <a:gd name="connsiteY85" fmla="*/ 669452 h 975010"/>
                  <a:gd name="connsiteX86" fmla="*/ 987186 w 1360132"/>
                  <a:gd name="connsiteY86" fmla="*/ 631131 h 975010"/>
                  <a:gd name="connsiteX87" fmla="*/ 1008757 w 1360132"/>
                  <a:gd name="connsiteY87" fmla="*/ 625734 h 975010"/>
                  <a:gd name="connsiteX88" fmla="*/ 1018159 w 1360132"/>
                  <a:gd name="connsiteY88" fmla="*/ 613860 h 975010"/>
                  <a:gd name="connsiteX89" fmla="*/ 1027562 w 1360132"/>
                  <a:gd name="connsiteY89" fmla="*/ 613320 h 975010"/>
                  <a:gd name="connsiteX90" fmla="*/ 1019265 w 1360132"/>
                  <a:gd name="connsiteY90" fmla="*/ 634909 h 975010"/>
                  <a:gd name="connsiteX91" fmla="*/ 1027009 w 1360132"/>
                  <a:gd name="connsiteY91" fmla="*/ 651101 h 975010"/>
                  <a:gd name="connsiteX92" fmla="*/ 1016500 w 1360132"/>
                  <a:gd name="connsiteY92" fmla="*/ 692120 h 975010"/>
                  <a:gd name="connsiteX93" fmla="*/ 993270 w 1360132"/>
                  <a:gd name="connsiteY93" fmla="*/ 693739 h 975010"/>
                  <a:gd name="connsiteX94" fmla="*/ 1012075 w 1360132"/>
                  <a:gd name="connsiteY94" fmla="*/ 707772 h 975010"/>
                  <a:gd name="connsiteX95" fmla="*/ 1012075 w 1360132"/>
                  <a:gd name="connsiteY95" fmla="*/ 728281 h 975010"/>
                  <a:gd name="connsiteX96" fmla="*/ 1007097 w 1360132"/>
                  <a:gd name="connsiteY96" fmla="*/ 729361 h 975010"/>
                  <a:gd name="connsiteX97" fmla="*/ 1014841 w 1360132"/>
                  <a:gd name="connsiteY97" fmla="*/ 739076 h 975010"/>
                  <a:gd name="connsiteX98" fmla="*/ 1007651 w 1360132"/>
                  <a:gd name="connsiteY98" fmla="*/ 754728 h 975010"/>
                  <a:gd name="connsiteX99" fmla="*/ 1017053 w 1360132"/>
                  <a:gd name="connsiteY99" fmla="*/ 746092 h 975010"/>
                  <a:gd name="connsiteX100" fmla="*/ 1029774 w 1360132"/>
                  <a:gd name="connsiteY100" fmla="*/ 758506 h 975010"/>
                  <a:gd name="connsiteX101" fmla="*/ 1043601 w 1360132"/>
                  <a:gd name="connsiteY101" fmla="*/ 752029 h 975010"/>
                  <a:gd name="connsiteX102" fmla="*/ 1056876 w 1360132"/>
                  <a:gd name="connsiteY102" fmla="*/ 757966 h 975010"/>
                  <a:gd name="connsiteX103" fmla="*/ 1050239 w 1360132"/>
                  <a:gd name="connsiteY103" fmla="*/ 777936 h 975010"/>
                  <a:gd name="connsiteX104" fmla="*/ 1046920 w 1360132"/>
                  <a:gd name="connsiteY104" fmla="*/ 788191 h 975010"/>
                  <a:gd name="connsiteX105" fmla="*/ 1045261 w 1360132"/>
                  <a:gd name="connsiteY105" fmla="*/ 790889 h 975010"/>
                  <a:gd name="connsiteX106" fmla="*/ 1044708 w 1360132"/>
                  <a:gd name="connsiteY106" fmla="*/ 793588 h 975010"/>
                  <a:gd name="connsiteX107" fmla="*/ 1042495 w 1360132"/>
                  <a:gd name="connsiteY107" fmla="*/ 794128 h 975010"/>
                  <a:gd name="connsiteX108" fmla="*/ 1035858 w 1360132"/>
                  <a:gd name="connsiteY108" fmla="*/ 786572 h 975010"/>
                  <a:gd name="connsiteX109" fmla="*/ 1031433 w 1360132"/>
                  <a:gd name="connsiteY109" fmla="*/ 793048 h 975010"/>
                  <a:gd name="connsiteX110" fmla="*/ 1026456 w 1360132"/>
                  <a:gd name="connsiteY110" fmla="*/ 792509 h 975010"/>
                  <a:gd name="connsiteX111" fmla="*/ 1024796 w 1360132"/>
                  <a:gd name="connsiteY111" fmla="*/ 788191 h 975010"/>
                  <a:gd name="connsiteX112" fmla="*/ 1028668 w 1360132"/>
                  <a:gd name="connsiteY112" fmla="*/ 780095 h 975010"/>
                  <a:gd name="connsiteX113" fmla="*/ 1023137 w 1360132"/>
                  <a:gd name="connsiteY113" fmla="*/ 779555 h 975010"/>
                  <a:gd name="connsiteX114" fmla="*/ 1010969 w 1360132"/>
                  <a:gd name="connsiteY114" fmla="*/ 808160 h 975010"/>
                  <a:gd name="connsiteX115" fmla="*/ 1012628 w 1360132"/>
                  <a:gd name="connsiteY115" fmla="*/ 827591 h 975010"/>
                  <a:gd name="connsiteX116" fmla="*/ 1001567 w 1360132"/>
                  <a:gd name="connsiteY116" fmla="*/ 828130 h 975010"/>
                  <a:gd name="connsiteX117" fmla="*/ 994929 w 1360132"/>
                  <a:gd name="connsiteY117" fmla="*/ 831908 h 975010"/>
                  <a:gd name="connsiteX118" fmla="*/ 994929 w 1360132"/>
                  <a:gd name="connsiteY118" fmla="*/ 833527 h 975010"/>
                  <a:gd name="connsiteX119" fmla="*/ 998801 w 1360132"/>
                  <a:gd name="connsiteY119" fmla="*/ 835147 h 975010"/>
                  <a:gd name="connsiteX120" fmla="*/ 998248 w 1360132"/>
                  <a:gd name="connsiteY120" fmla="*/ 848640 h 975010"/>
                  <a:gd name="connsiteX121" fmla="*/ 984421 w 1360132"/>
                  <a:gd name="connsiteY121" fmla="*/ 851338 h 975010"/>
                  <a:gd name="connsiteX122" fmla="*/ 973359 w 1360132"/>
                  <a:gd name="connsiteY122" fmla="*/ 849179 h 975010"/>
                  <a:gd name="connsiteX123" fmla="*/ 971146 w 1360132"/>
                  <a:gd name="connsiteY123" fmla="*/ 850259 h 975010"/>
                  <a:gd name="connsiteX124" fmla="*/ 983868 w 1360132"/>
                  <a:gd name="connsiteY124" fmla="*/ 861593 h 975010"/>
                  <a:gd name="connsiteX125" fmla="*/ 981655 w 1360132"/>
                  <a:gd name="connsiteY125" fmla="*/ 866451 h 975010"/>
                  <a:gd name="connsiteX126" fmla="*/ 975018 w 1360132"/>
                  <a:gd name="connsiteY126" fmla="*/ 866990 h 975010"/>
                  <a:gd name="connsiteX127" fmla="*/ 966169 w 1360132"/>
                  <a:gd name="connsiteY127" fmla="*/ 874546 h 975010"/>
                  <a:gd name="connsiteX128" fmla="*/ 977230 w 1360132"/>
                  <a:gd name="connsiteY128" fmla="*/ 878325 h 975010"/>
                  <a:gd name="connsiteX129" fmla="*/ 972806 w 1360132"/>
                  <a:gd name="connsiteY129" fmla="*/ 885341 h 975010"/>
                  <a:gd name="connsiteX130" fmla="*/ 978890 w 1360132"/>
                  <a:gd name="connsiteY130" fmla="*/ 908009 h 975010"/>
                  <a:gd name="connsiteX131" fmla="*/ 963956 w 1360132"/>
                  <a:gd name="connsiteY131" fmla="*/ 921502 h 975010"/>
                  <a:gd name="connsiteX132" fmla="*/ 981102 w 1360132"/>
                  <a:gd name="connsiteY132" fmla="*/ 937154 h 975010"/>
                  <a:gd name="connsiteX133" fmla="*/ 986080 w 1360132"/>
                  <a:gd name="connsiteY133" fmla="*/ 946869 h 975010"/>
                  <a:gd name="connsiteX134" fmla="*/ 973359 w 1360132"/>
                  <a:gd name="connsiteY134" fmla="*/ 945250 h 975010"/>
                  <a:gd name="connsiteX135" fmla="*/ 968934 w 1360132"/>
                  <a:gd name="connsiteY135" fmla="*/ 954426 h 975010"/>
                  <a:gd name="connsiteX136" fmla="*/ 955660 w 1360132"/>
                  <a:gd name="connsiteY136" fmla="*/ 957124 h 975010"/>
                  <a:gd name="connsiteX137" fmla="*/ 937961 w 1360132"/>
                  <a:gd name="connsiteY137" fmla="*/ 948489 h 975010"/>
                  <a:gd name="connsiteX138" fmla="*/ 910859 w 1360132"/>
                  <a:gd name="connsiteY138" fmla="*/ 944171 h 975010"/>
                  <a:gd name="connsiteX139" fmla="*/ 1140393 w 1360132"/>
                  <a:gd name="connsiteY139" fmla="*/ 957664 h 975010"/>
                  <a:gd name="connsiteX140" fmla="*/ 1139286 w 1360132"/>
                  <a:gd name="connsiteY140" fmla="*/ 960362 h 975010"/>
                  <a:gd name="connsiteX141" fmla="*/ 1140393 w 1360132"/>
                  <a:gd name="connsiteY141" fmla="*/ 974395 h 975010"/>
                  <a:gd name="connsiteX142" fmla="*/ 1137074 w 1360132"/>
                  <a:gd name="connsiteY142" fmla="*/ 974395 h 975010"/>
                  <a:gd name="connsiteX143" fmla="*/ 1133756 w 1360132"/>
                  <a:gd name="connsiteY143" fmla="*/ 970077 h 975010"/>
                  <a:gd name="connsiteX144" fmla="*/ 1132649 w 1360132"/>
                  <a:gd name="connsiteY144" fmla="*/ 956584 h 975010"/>
                  <a:gd name="connsiteX145" fmla="*/ 1122141 w 1360132"/>
                  <a:gd name="connsiteY145" fmla="*/ 941472 h 975010"/>
                  <a:gd name="connsiteX146" fmla="*/ 1122694 w 1360132"/>
                  <a:gd name="connsiteY146" fmla="*/ 935535 h 975010"/>
                  <a:gd name="connsiteX147" fmla="*/ 1149242 w 1360132"/>
                  <a:gd name="connsiteY147" fmla="*/ 943631 h 975010"/>
                  <a:gd name="connsiteX148" fmla="*/ 1140393 w 1360132"/>
                  <a:gd name="connsiteY148" fmla="*/ 957664 h 975010"/>
                  <a:gd name="connsiteX149" fmla="*/ 1112738 w 1360132"/>
                  <a:gd name="connsiteY149" fmla="*/ 949568 h 975010"/>
                  <a:gd name="connsiteX150" fmla="*/ 1114397 w 1360132"/>
                  <a:gd name="connsiteY150" fmla="*/ 949568 h 975010"/>
                  <a:gd name="connsiteX151" fmla="*/ 1116057 w 1360132"/>
                  <a:gd name="connsiteY151" fmla="*/ 947409 h 975010"/>
                  <a:gd name="connsiteX152" fmla="*/ 1117716 w 1360132"/>
                  <a:gd name="connsiteY152" fmla="*/ 947409 h 975010"/>
                  <a:gd name="connsiteX153" fmla="*/ 1122694 w 1360132"/>
                  <a:gd name="connsiteY153" fmla="*/ 953886 h 975010"/>
                  <a:gd name="connsiteX154" fmla="*/ 1124353 w 1360132"/>
                  <a:gd name="connsiteY154" fmla="*/ 954965 h 975010"/>
                  <a:gd name="connsiteX155" fmla="*/ 1127672 w 1360132"/>
                  <a:gd name="connsiteY155" fmla="*/ 962521 h 975010"/>
                  <a:gd name="connsiteX156" fmla="*/ 1124906 w 1360132"/>
                  <a:gd name="connsiteY156" fmla="*/ 965220 h 975010"/>
                  <a:gd name="connsiteX157" fmla="*/ 1116057 w 1360132"/>
                  <a:gd name="connsiteY157" fmla="*/ 964141 h 975010"/>
                  <a:gd name="connsiteX158" fmla="*/ 1106654 w 1360132"/>
                  <a:gd name="connsiteY158" fmla="*/ 968458 h 975010"/>
                  <a:gd name="connsiteX159" fmla="*/ 1091167 w 1360132"/>
                  <a:gd name="connsiteY159" fmla="*/ 965760 h 975010"/>
                  <a:gd name="connsiteX160" fmla="*/ 1085637 w 1360132"/>
                  <a:gd name="connsiteY160" fmla="*/ 961982 h 975010"/>
                  <a:gd name="connsiteX161" fmla="*/ 1075128 w 1360132"/>
                  <a:gd name="connsiteY161" fmla="*/ 956584 h 975010"/>
                  <a:gd name="connsiteX162" fmla="*/ 1082318 w 1360132"/>
                  <a:gd name="connsiteY162" fmla="*/ 950647 h 975010"/>
                  <a:gd name="connsiteX163" fmla="*/ 1076787 w 1360132"/>
                  <a:gd name="connsiteY163" fmla="*/ 940393 h 975010"/>
                  <a:gd name="connsiteX164" fmla="*/ 1089508 w 1360132"/>
                  <a:gd name="connsiteY164" fmla="*/ 933916 h 975010"/>
                  <a:gd name="connsiteX165" fmla="*/ 1103335 w 1360132"/>
                  <a:gd name="connsiteY165" fmla="*/ 949028 h 975010"/>
                  <a:gd name="connsiteX166" fmla="*/ 1110526 w 1360132"/>
                  <a:gd name="connsiteY166" fmla="*/ 951727 h 975010"/>
                  <a:gd name="connsiteX167" fmla="*/ 1112738 w 1360132"/>
                  <a:gd name="connsiteY167" fmla="*/ 949568 h 975010"/>
                  <a:gd name="connsiteX168" fmla="*/ 984974 w 1360132"/>
                  <a:gd name="connsiteY168" fmla="*/ 875626 h 975010"/>
                  <a:gd name="connsiteX169" fmla="*/ 987739 w 1360132"/>
                  <a:gd name="connsiteY169" fmla="*/ 871848 h 975010"/>
                  <a:gd name="connsiteX170" fmla="*/ 994929 w 1360132"/>
                  <a:gd name="connsiteY170" fmla="*/ 871848 h 975010"/>
                  <a:gd name="connsiteX171" fmla="*/ 1015394 w 1360132"/>
                  <a:gd name="connsiteY171" fmla="*/ 862133 h 975010"/>
                  <a:gd name="connsiteX172" fmla="*/ 1025903 w 1360132"/>
                  <a:gd name="connsiteY172" fmla="*/ 863212 h 975010"/>
                  <a:gd name="connsiteX173" fmla="*/ 1031433 w 1360132"/>
                  <a:gd name="connsiteY173" fmla="*/ 877245 h 975010"/>
                  <a:gd name="connsiteX174" fmla="*/ 1038624 w 1360132"/>
                  <a:gd name="connsiteY174" fmla="*/ 872927 h 975010"/>
                  <a:gd name="connsiteX175" fmla="*/ 1041389 w 1360132"/>
                  <a:gd name="connsiteY175" fmla="*/ 864292 h 975010"/>
                  <a:gd name="connsiteX176" fmla="*/ 1043601 w 1360132"/>
                  <a:gd name="connsiteY176" fmla="*/ 863752 h 975010"/>
                  <a:gd name="connsiteX177" fmla="*/ 1048579 w 1360132"/>
                  <a:gd name="connsiteY177" fmla="*/ 879404 h 975010"/>
                  <a:gd name="connsiteX178" fmla="*/ 1056323 w 1360132"/>
                  <a:gd name="connsiteY178" fmla="*/ 892357 h 975010"/>
                  <a:gd name="connsiteX179" fmla="*/ 1051898 w 1360132"/>
                  <a:gd name="connsiteY179" fmla="*/ 902072 h 975010"/>
                  <a:gd name="connsiteX180" fmla="*/ 1050239 w 1360132"/>
                  <a:gd name="connsiteY180" fmla="*/ 918264 h 975010"/>
                  <a:gd name="connsiteX181" fmla="*/ 1039730 w 1360132"/>
                  <a:gd name="connsiteY181" fmla="*/ 924741 h 975010"/>
                  <a:gd name="connsiteX182" fmla="*/ 1019265 w 1360132"/>
                  <a:gd name="connsiteY182" fmla="*/ 922042 h 975010"/>
                  <a:gd name="connsiteX183" fmla="*/ 1007651 w 1360132"/>
                  <a:gd name="connsiteY183" fmla="*/ 911787 h 975010"/>
                  <a:gd name="connsiteX184" fmla="*/ 996589 w 1360132"/>
                  <a:gd name="connsiteY184" fmla="*/ 906930 h 975010"/>
                  <a:gd name="connsiteX185" fmla="*/ 992164 w 1360132"/>
                  <a:gd name="connsiteY185" fmla="*/ 890738 h 975010"/>
                  <a:gd name="connsiteX186" fmla="*/ 988292 w 1360132"/>
                  <a:gd name="connsiteY186" fmla="*/ 884801 h 975010"/>
                  <a:gd name="connsiteX187" fmla="*/ 986633 w 1360132"/>
                  <a:gd name="connsiteY187" fmla="*/ 877785 h 975010"/>
                  <a:gd name="connsiteX188" fmla="*/ 984974 w 1360132"/>
                  <a:gd name="connsiteY188" fmla="*/ 875626 h 975010"/>
                  <a:gd name="connsiteX189" fmla="*/ 1062407 w 1360132"/>
                  <a:gd name="connsiteY189" fmla="*/ 847021 h 975010"/>
                  <a:gd name="connsiteX190" fmla="*/ 1080106 w 1360132"/>
                  <a:gd name="connsiteY190" fmla="*/ 844862 h 975010"/>
                  <a:gd name="connsiteX191" fmla="*/ 1087296 w 1360132"/>
                  <a:gd name="connsiteY191" fmla="*/ 835686 h 975010"/>
                  <a:gd name="connsiteX192" fmla="*/ 1097805 w 1360132"/>
                  <a:gd name="connsiteY192" fmla="*/ 828670 h 975010"/>
                  <a:gd name="connsiteX193" fmla="*/ 1096145 w 1360132"/>
                  <a:gd name="connsiteY193" fmla="*/ 819495 h 975010"/>
                  <a:gd name="connsiteX194" fmla="*/ 1113291 w 1360132"/>
                  <a:gd name="connsiteY194" fmla="*/ 819495 h 975010"/>
                  <a:gd name="connsiteX195" fmla="*/ 1111079 w 1360132"/>
                  <a:gd name="connsiteY195" fmla="*/ 834067 h 975010"/>
                  <a:gd name="connsiteX196" fmla="*/ 1114950 w 1360132"/>
                  <a:gd name="connsiteY196" fmla="*/ 837845 h 975010"/>
                  <a:gd name="connsiteX197" fmla="*/ 1121588 w 1360132"/>
                  <a:gd name="connsiteY197" fmla="*/ 848640 h 975010"/>
                  <a:gd name="connsiteX198" fmla="*/ 1129884 w 1360132"/>
                  <a:gd name="connsiteY198" fmla="*/ 824892 h 975010"/>
                  <a:gd name="connsiteX199" fmla="*/ 1134862 w 1360132"/>
                  <a:gd name="connsiteY199" fmla="*/ 836766 h 975010"/>
                  <a:gd name="connsiteX200" fmla="*/ 1137074 w 1360132"/>
                  <a:gd name="connsiteY200" fmla="*/ 851338 h 975010"/>
                  <a:gd name="connsiteX201" fmla="*/ 1140946 w 1360132"/>
                  <a:gd name="connsiteY201" fmla="*/ 849179 h 975010"/>
                  <a:gd name="connsiteX202" fmla="*/ 1139840 w 1360132"/>
                  <a:gd name="connsiteY202" fmla="*/ 817336 h 975010"/>
                  <a:gd name="connsiteX203" fmla="*/ 1129331 w 1360132"/>
                  <a:gd name="connsiteY203" fmla="*/ 810319 h 975010"/>
                  <a:gd name="connsiteX204" fmla="*/ 1156432 w 1360132"/>
                  <a:gd name="connsiteY204" fmla="*/ 796826 h 975010"/>
                  <a:gd name="connsiteX205" fmla="*/ 1166388 w 1360132"/>
                  <a:gd name="connsiteY205" fmla="*/ 806002 h 975010"/>
                  <a:gd name="connsiteX206" fmla="*/ 1166941 w 1360132"/>
                  <a:gd name="connsiteY206" fmla="*/ 822733 h 975010"/>
                  <a:gd name="connsiteX207" fmla="*/ 1169707 w 1360132"/>
                  <a:gd name="connsiteY207" fmla="*/ 847021 h 975010"/>
                  <a:gd name="connsiteX208" fmla="*/ 1156432 w 1360132"/>
                  <a:gd name="connsiteY208" fmla="*/ 855656 h 975010"/>
                  <a:gd name="connsiteX209" fmla="*/ 1152008 w 1360132"/>
                  <a:gd name="connsiteY209" fmla="*/ 866990 h 975010"/>
                  <a:gd name="connsiteX210" fmla="*/ 1155326 w 1360132"/>
                  <a:gd name="connsiteY210" fmla="*/ 875086 h 975010"/>
                  <a:gd name="connsiteX211" fmla="*/ 1169153 w 1360132"/>
                  <a:gd name="connsiteY211" fmla="*/ 887500 h 975010"/>
                  <a:gd name="connsiteX212" fmla="*/ 1168047 w 1360132"/>
                  <a:gd name="connsiteY212" fmla="*/ 889659 h 975010"/>
                  <a:gd name="connsiteX213" fmla="*/ 1163069 w 1360132"/>
                  <a:gd name="connsiteY213" fmla="*/ 891278 h 975010"/>
                  <a:gd name="connsiteX214" fmla="*/ 1147583 w 1360132"/>
                  <a:gd name="connsiteY214" fmla="*/ 902612 h 975010"/>
                  <a:gd name="connsiteX215" fmla="*/ 1147583 w 1360132"/>
                  <a:gd name="connsiteY215" fmla="*/ 920423 h 975010"/>
                  <a:gd name="connsiteX216" fmla="*/ 1138733 w 1360132"/>
                  <a:gd name="connsiteY216" fmla="*/ 926360 h 975010"/>
                  <a:gd name="connsiteX217" fmla="*/ 1130437 w 1360132"/>
                  <a:gd name="connsiteY217" fmla="*/ 924201 h 975010"/>
                  <a:gd name="connsiteX218" fmla="*/ 1118822 w 1360132"/>
                  <a:gd name="connsiteY218" fmla="*/ 904771 h 975010"/>
                  <a:gd name="connsiteX219" fmla="*/ 1104995 w 1360132"/>
                  <a:gd name="connsiteY219" fmla="*/ 900993 h 975010"/>
                  <a:gd name="connsiteX220" fmla="*/ 1085083 w 1360132"/>
                  <a:gd name="connsiteY220" fmla="*/ 898294 h 975010"/>
                  <a:gd name="connsiteX221" fmla="*/ 1082871 w 1360132"/>
                  <a:gd name="connsiteY221" fmla="*/ 896135 h 975010"/>
                  <a:gd name="connsiteX222" fmla="*/ 1081765 w 1360132"/>
                  <a:gd name="connsiteY222" fmla="*/ 876166 h 975010"/>
                  <a:gd name="connsiteX223" fmla="*/ 1070703 w 1360132"/>
                  <a:gd name="connsiteY223" fmla="*/ 850259 h 975010"/>
                  <a:gd name="connsiteX224" fmla="*/ 1063513 w 1360132"/>
                  <a:gd name="connsiteY224" fmla="*/ 849179 h 975010"/>
                  <a:gd name="connsiteX225" fmla="*/ 1062407 w 1360132"/>
                  <a:gd name="connsiteY225" fmla="*/ 847021 h 975010"/>
                  <a:gd name="connsiteX226" fmla="*/ 1332316 w 1360132"/>
                  <a:gd name="connsiteY226" fmla="*/ 876166 h 975010"/>
                  <a:gd name="connsiteX227" fmla="*/ 1347802 w 1360132"/>
                  <a:gd name="connsiteY227" fmla="*/ 888040 h 975010"/>
                  <a:gd name="connsiteX228" fmla="*/ 1358864 w 1360132"/>
                  <a:gd name="connsiteY228" fmla="*/ 891278 h 975010"/>
                  <a:gd name="connsiteX229" fmla="*/ 1349461 w 1360132"/>
                  <a:gd name="connsiteY229" fmla="*/ 908549 h 975010"/>
                  <a:gd name="connsiteX230" fmla="*/ 1325678 w 1360132"/>
                  <a:gd name="connsiteY230" fmla="*/ 898294 h 975010"/>
                  <a:gd name="connsiteX231" fmla="*/ 1327338 w 1360132"/>
                  <a:gd name="connsiteY231" fmla="*/ 878325 h 975010"/>
                  <a:gd name="connsiteX232" fmla="*/ 1332316 w 1360132"/>
                  <a:gd name="connsiteY232" fmla="*/ 876166 h 97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</a:cxnLst>
                <a:rect l="l" t="t" r="r" b="b"/>
                <a:pathLst>
                  <a:path w="1360132" h="975010">
                    <a:moveTo>
                      <a:pt x="918050" y="708851"/>
                    </a:moveTo>
                    <a:lnTo>
                      <a:pt x="917497" y="711550"/>
                    </a:lnTo>
                    <a:cubicBezTo>
                      <a:pt x="916390" y="717487"/>
                      <a:pt x="914178" y="725043"/>
                      <a:pt x="911413" y="730440"/>
                    </a:cubicBezTo>
                    <a:cubicBezTo>
                      <a:pt x="910306" y="731520"/>
                      <a:pt x="906435" y="735838"/>
                      <a:pt x="905328" y="736377"/>
                    </a:cubicBezTo>
                    <a:cubicBezTo>
                      <a:pt x="904222" y="736377"/>
                      <a:pt x="902563" y="734758"/>
                      <a:pt x="902010" y="734218"/>
                    </a:cubicBezTo>
                    <a:cubicBezTo>
                      <a:pt x="899798" y="732060"/>
                      <a:pt x="899798" y="726662"/>
                      <a:pt x="901457" y="723964"/>
                    </a:cubicBezTo>
                    <a:cubicBezTo>
                      <a:pt x="902010" y="722884"/>
                      <a:pt x="903669" y="722344"/>
                      <a:pt x="904222" y="721265"/>
                    </a:cubicBezTo>
                    <a:cubicBezTo>
                      <a:pt x="909200" y="714249"/>
                      <a:pt x="905882" y="712629"/>
                      <a:pt x="915284" y="709391"/>
                    </a:cubicBezTo>
                    <a:cubicBezTo>
                      <a:pt x="915837" y="708851"/>
                      <a:pt x="917497" y="708312"/>
                      <a:pt x="918050" y="708851"/>
                    </a:cubicBezTo>
                    <a:close/>
                    <a:moveTo>
                      <a:pt x="-636" y="8830"/>
                    </a:moveTo>
                    <a:cubicBezTo>
                      <a:pt x="-636" y="7211"/>
                      <a:pt x="-636" y="1814"/>
                      <a:pt x="1023" y="195"/>
                    </a:cubicBezTo>
                    <a:cubicBezTo>
                      <a:pt x="1576" y="-345"/>
                      <a:pt x="2682" y="-345"/>
                      <a:pt x="3235" y="195"/>
                    </a:cubicBezTo>
                    <a:cubicBezTo>
                      <a:pt x="3788" y="734"/>
                      <a:pt x="7107" y="7211"/>
                      <a:pt x="8213" y="8291"/>
                    </a:cubicBezTo>
                    <a:cubicBezTo>
                      <a:pt x="9319" y="11529"/>
                      <a:pt x="9319" y="14767"/>
                      <a:pt x="10979" y="18006"/>
                    </a:cubicBezTo>
                    <a:lnTo>
                      <a:pt x="15956" y="26101"/>
                    </a:lnTo>
                    <a:cubicBezTo>
                      <a:pt x="17063" y="27181"/>
                      <a:pt x="18169" y="28260"/>
                      <a:pt x="19275" y="29879"/>
                    </a:cubicBezTo>
                    <a:cubicBezTo>
                      <a:pt x="19828" y="30419"/>
                      <a:pt x="20381" y="33118"/>
                      <a:pt x="20381" y="34197"/>
                    </a:cubicBezTo>
                    <a:cubicBezTo>
                      <a:pt x="20381" y="35816"/>
                      <a:pt x="19275" y="40674"/>
                      <a:pt x="17616" y="41214"/>
                    </a:cubicBezTo>
                    <a:cubicBezTo>
                      <a:pt x="16510" y="41214"/>
                      <a:pt x="12638" y="40134"/>
                      <a:pt x="12085" y="39594"/>
                    </a:cubicBezTo>
                    <a:cubicBezTo>
                      <a:pt x="11532" y="39594"/>
                      <a:pt x="10979" y="38515"/>
                      <a:pt x="10979" y="37975"/>
                    </a:cubicBezTo>
                    <a:cubicBezTo>
                      <a:pt x="9319" y="32578"/>
                      <a:pt x="8766" y="26641"/>
                      <a:pt x="7660" y="21244"/>
                    </a:cubicBezTo>
                    <a:cubicBezTo>
                      <a:pt x="6001" y="16386"/>
                      <a:pt x="470" y="14228"/>
                      <a:pt x="-636" y="8830"/>
                    </a:cubicBezTo>
                    <a:close/>
                    <a:moveTo>
                      <a:pt x="910859" y="944171"/>
                    </a:moveTo>
                    <a:cubicBezTo>
                      <a:pt x="911413" y="932837"/>
                      <a:pt x="914731" y="897755"/>
                      <a:pt x="906988" y="889659"/>
                    </a:cubicBezTo>
                    <a:cubicBezTo>
                      <a:pt x="904775" y="886420"/>
                      <a:pt x="897585" y="886960"/>
                      <a:pt x="895373" y="883182"/>
                    </a:cubicBezTo>
                    <a:cubicBezTo>
                      <a:pt x="892054" y="877785"/>
                      <a:pt x="894820" y="871308"/>
                      <a:pt x="886523" y="869149"/>
                    </a:cubicBezTo>
                    <a:cubicBezTo>
                      <a:pt x="873802" y="866451"/>
                      <a:pt x="883758" y="883182"/>
                      <a:pt x="874355" y="876705"/>
                    </a:cubicBezTo>
                    <a:cubicBezTo>
                      <a:pt x="866059" y="870229"/>
                      <a:pt x="876015" y="849719"/>
                      <a:pt x="874355" y="840544"/>
                    </a:cubicBezTo>
                    <a:cubicBezTo>
                      <a:pt x="874355" y="838925"/>
                      <a:pt x="872696" y="837845"/>
                      <a:pt x="872143" y="836766"/>
                    </a:cubicBezTo>
                    <a:cubicBezTo>
                      <a:pt x="870484" y="833527"/>
                      <a:pt x="871037" y="829210"/>
                      <a:pt x="871037" y="825971"/>
                    </a:cubicBezTo>
                    <a:cubicBezTo>
                      <a:pt x="873802" y="829749"/>
                      <a:pt x="871037" y="836226"/>
                      <a:pt x="876568" y="837845"/>
                    </a:cubicBezTo>
                    <a:cubicBezTo>
                      <a:pt x="881546" y="839464"/>
                      <a:pt x="888183" y="828130"/>
                      <a:pt x="887630" y="824352"/>
                    </a:cubicBezTo>
                    <a:cubicBezTo>
                      <a:pt x="887630" y="822733"/>
                      <a:pt x="882099" y="813558"/>
                      <a:pt x="880439" y="812478"/>
                    </a:cubicBezTo>
                    <a:cubicBezTo>
                      <a:pt x="874908" y="807621"/>
                      <a:pt x="876015" y="817336"/>
                      <a:pt x="874355" y="818415"/>
                    </a:cubicBezTo>
                    <a:cubicBezTo>
                      <a:pt x="872696" y="820034"/>
                      <a:pt x="871590" y="819495"/>
                      <a:pt x="870484" y="817876"/>
                    </a:cubicBezTo>
                    <a:cubicBezTo>
                      <a:pt x="869931" y="816796"/>
                      <a:pt x="868824" y="815177"/>
                      <a:pt x="868824" y="814097"/>
                    </a:cubicBezTo>
                    <a:cubicBezTo>
                      <a:pt x="867718" y="810319"/>
                      <a:pt x="869378" y="806541"/>
                      <a:pt x="869378" y="802224"/>
                    </a:cubicBezTo>
                    <a:cubicBezTo>
                      <a:pt x="869378" y="799525"/>
                      <a:pt x="868271" y="787111"/>
                      <a:pt x="870484" y="785492"/>
                    </a:cubicBezTo>
                    <a:cubicBezTo>
                      <a:pt x="873249" y="782794"/>
                      <a:pt x="878227" y="789270"/>
                      <a:pt x="881546" y="785492"/>
                    </a:cubicBezTo>
                    <a:cubicBezTo>
                      <a:pt x="882099" y="783873"/>
                      <a:pt x="883758" y="780095"/>
                      <a:pt x="883205" y="779015"/>
                    </a:cubicBezTo>
                    <a:cubicBezTo>
                      <a:pt x="882099" y="774698"/>
                      <a:pt x="872696" y="768761"/>
                      <a:pt x="870484" y="763903"/>
                    </a:cubicBezTo>
                    <a:cubicBezTo>
                      <a:pt x="869378" y="761744"/>
                      <a:pt x="869931" y="755268"/>
                      <a:pt x="869931" y="752569"/>
                    </a:cubicBezTo>
                    <a:cubicBezTo>
                      <a:pt x="869931" y="750410"/>
                      <a:pt x="870484" y="743933"/>
                      <a:pt x="871590" y="741775"/>
                    </a:cubicBezTo>
                    <a:cubicBezTo>
                      <a:pt x="872143" y="740695"/>
                      <a:pt x="877121" y="736917"/>
                      <a:pt x="878780" y="737996"/>
                    </a:cubicBezTo>
                    <a:cubicBezTo>
                      <a:pt x="879886" y="739076"/>
                      <a:pt x="875462" y="742854"/>
                      <a:pt x="875462" y="743933"/>
                    </a:cubicBezTo>
                    <a:cubicBezTo>
                      <a:pt x="875462" y="745553"/>
                      <a:pt x="878780" y="747711"/>
                      <a:pt x="879886" y="748791"/>
                    </a:cubicBezTo>
                    <a:cubicBezTo>
                      <a:pt x="880439" y="749870"/>
                      <a:pt x="880439" y="750950"/>
                      <a:pt x="881546" y="752029"/>
                    </a:cubicBezTo>
                    <a:cubicBezTo>
                      <a:pt x="887076" y="757966"/>
                      <a:pt x="894820" y="750410"/>
                      <a:pt x="899244" y="752569"/>
                    </a:cubicBezTo>
                    <a:cubicBezTo>
                      <a:pt x="901457" y="754188"/>
                      <a:pt x="906435" y="761744"/>
                      <a:pt x="908647" y="760665"/>
                    </a:cubicBezTo>
                    <a:cubicBezTo>
                      <a:pt x="911966" y="760125"/>
                      <a:pt x="913072" y="753648"/>
                      <a:pt x="913072" y="750950"/>
                    </a:cubicBezTo>
                    <a:cubicBezTo>
                      <a:pt x="913072" y="747711"/>
                      <a:pt x="911966" y="746632"/>
                      <a:pt x="914178" y="743394"/>
                    </a:cubicBezTo>
                    <a:cubicBezTo>
                      <a:pt x="916390" y="740695"/>
                      <a:pt x="919709" y="740155"/>
                      <a:pt x="921921" y="737996"/>
                    </a:cubicBezTo>
                    <a:cubicBezTo>
                      <a:pt x="924134" y="734758"/>
                      <a:pt x="923027" y="729361"/>
                      <a:pt x="928005" y="728281"/>
                    </a:cubicBezTo>
                    <a:cubicBezTo>
                      <a:pt x="934642" y="727742"/>
                      <a:pt x="934089" y="738536"/>
                      <a:pt x="932983" y="742854"/>
                    </a:cubicBezTo>
                    <a:cubicBezTo>
                      <a:pt x="931877" y="745013"/>
                      <a:pt x="930771" y="745013"/>
                      <a:pt x="930218" y="748251"/>
                    </a:cubicBezTo>
                    <a:cubicBezTo>
                      <a:pt x="930218" y="748791"/>
                      <a:pt x="930218" y="750410"/>
                      <a:pt x="930771" y="750950"/>
                    </a:cubicBezTo>
                    <a:cubicBezTo>
                      <a:pt x="932430" y="753648"/>
                      <a:pt x="937961" y="750410"/>
                      <a:pt x="938514" y="748251"/>
                    </a:cubicBezTo>
                    <a:cubicBezTo>
                      <a:pt x="939067" y="747172"/>
                      <a:pt x="938514" y="745013"/>
                      <a:pt x="938514" y="743933"/>
                    </a:cubicBezTo>
                    <a:cubicBezTo>
                      <a:pt x="939067" y="743394"/>
                      <a:pt x="939620" y="742854"/>
                      <a:pt x="940173" y="742854"/>
                    </a:cubicBezTo>
                    <a:cubicBezTo>
                      <a:pt x="943492" y="741775"/>
                      <a:pt x="942939" y="752569"/>
                      <a:pt x="944598" y="753648"/>
                    </a:cubicBezTo>
                    <a:cubicBezTo>
                      <a:pt x="946257" y="755268"/>
                      <a:pt x="951235" y="754728"/>
                      <a:pt x="952341" y="752569"/>
                    </a:cubicBezTo>
                    <a:cubicBezTo>
                      <a:pt x="956213" y="746632"/>
                      <a:pt x="947917" y="740155"/>
                      <a:pt x="946257" y="735838"/>
                    </a:cubicBezTo>
                    <a:cubicBezTo>
                      <a:pt x="944598" y="732599"/>
                      <a:pt x="942386" y="720725"/>
                      <a:pt x="942386" y="716947"/>
                    </a:cubicBezTo>
                    <a:cubicBezTo>
                      <a:pt x="941833" y="710471"/>
                      <a:pt x="946257" y="703994"/>
                      <a:pt x="952341" y="701295"/>
                    </a:cubicBezTo>
                    <a:cubicBezTo>
                      <a:pt x="962297" y="696438"/>
                      <a:pt x="965616" y="705613"/>
                      <a:pt x="967828" y="705613"/>
                    </a:cubicBezTo>
                    <a:cubicBezTo>
                      <a:pt x="970040" y="705073"/>
                      <a:pt x="973912" y="699136"/>
                      <a:pt x="976124" y="696977"/>
                    </a:cubicBezTo>
                    <a:cubicBezTo>
                      <a:pt x="977784" y="696438"/>
                      <a:pt x="984421" y="693199"/>
                      <a:pt x="984974" y="692660"/>
                    </a:cubicBezTo>
                    <a:cubicBezTo>
                      <a:pt x="985527" y="691580"/>
                      <a:pt x="984421" y="687802"/>
                      <a:pt x="983314" y="687262"/>
                    </a:cubicBezTo>
                    <a:cubicBezTo>
                      <a:pt x="982208" y="686723"/>
                      <a:pt x="976124" y="686723"/>
                      <a:pt x="975018" y="687262"/>
                    </a:cubicBezTo>
                    <a:cubicBezTo>
                      <a:pt x="971146" y="688342"/>
                      <a:pt x="968381" y="691041"/>
                      <a:pt x="964509" y="692120"/>
                    </a:cubicBezTo>
                    <a:cubicBezTo>
                      <a:pt x="961744" y="693199"/>
                      <a:pt x="958425" y="692120"/>
                      <a:pt x="955660" y="692660"/>
                    </a:cubicBezTo>
                    <a:cubicBezTo>
                      <a:pt x="952341" y="693739"/>
                      <a:pt x="949576" y="695898"/>
                      <a:pt x="946257" y="696438"/>
                    </a:cubicBezTo>
                    <a:cubicBezTo>
                      <a:pt x="937961" y="698597"/>
                      <a:pt x="929111" y="696977"/>
                      <a:pt x="920815" y="699136"/>
                    </a:cubicBezTo>
                    <a:cubicBezTo>
                      <a:pt x="918050" y="699676"/>
                      <a:pt x="909753" y="704534"/>
                      <a:pt x="907541" y="706153"/>
                    </a:cubicBezTo>
                    <a:cubicBezTo>
                      <a:pt x="902563" y="709931"/>
                      <a:pt x="900904" y="715868"/>
                      <a:pt x="897032" y="719646"/>
                    </a:cubicBezTo>
                    <a:cubicBezTo>
                      <a:pt x="895926" y="720725"/>
                      <a:pt x="894820" y="721265"/>
                      <a:pt x="894267" y="722344"/>
                    </a:cubicBezTo>
                    <a:cubicBezTo>
                      <a:pt x="893160" y="723424"/>
                      <a:pt x="892054" y="725583"/>
                      <a:pt x="892054" y="727202"/>
                    </a:cubicBezTo>
                    <a:cubicBezTo>
                      <a:pt x="892054" y="728281"/>
                      <a:pt x="909753" y="747172"/>
                      <a:pt x="899244" y="745013"/>
                    </a:cubicBezTo>
                    <a:cubicBezTo>
                      <a:pt x="894820" y="744473"/>
                      <a:pt x="895926" y="740695"/>
                      <a:pt x="893714" y="737996"/>
                    </a:cubicBezTo>
                    <a:cubicBezTo>
                      <a:pt x="890395" y="734758"/>
                      <a:pt x="878780" y="730980"/>
                      <a:pt x="878227" y="727202"/>
                    </a:cubicBezTo>
                    <a:cubicBezTo>
                      <a:pt x="878227" y="725583"/>
                      <a:pt x="882652" y="711010"/>
                      <a:pt x="883758" y="709391"/>
                    </a:cubicBezTo>
                    <a:cubicBezTo>
                      <a:pt x="885970" y="704534"/>
                      <a:pt x="898138" y="688882"/>
                      <a:pt x="902563" y="687262"/>
                    </a:cubicBezTo>
                    <a:cubicBezTo>
                      <a:pt x="905882" y="685643"/>
                      <a:pt x="909753" y="690501"/>
                      <a:pt x="913625" y="689961"/>
                    </a:cubicBezTo>
                    <a:cubicBezTo>
                      <a:pt x="914731" y="689961"/>
                      <a:pt x="923027" y="682945"/>
                      <a:pt x="926899" y="681865"/>
                    </a:cubicBezTo>
                    <a:cubicBezTo>
                      <a:pt x="931324" y="680786"/>
                      <a:pt x="936855" y="681865"/>
                      <a:pt x="941279" y="680246"/>
                    </a:cubicBezTo>
                    <a:cubicBezTo>
                      <a:pt x="947363" y="678627"/>
                      <a:pt x="957872" y="674309"/>
                      <a:pt x="961744" y="669452"/>
                    </a:cubicBezTo>
                    <a:cubicBezTo>
                      <a:pt x="965616" y="663515"/>
                      <a:pt x="984421" y="632750"/>
                      <a:pt x="987186" y="631131"/>
                    </a:cubicBezTo>
                    <a:cubicBezTo>
                      <a:pt x="993270" y="627893"/>
                      <a:pt x="1003779" y="630592"/>
                      <a:pt x="1008757" y="625734"/>
                    </a:cubicBezTo>
                    <a:cubicBezTo>
                      <a:pt x="1012075" y="621956"/>
                      <a:pt x="1013735" y="616559"/>
                      <a:pt x="1018159" y="613860"/>
                    </a:cubicBezTo>
                    <a:cubicBezTo>
                      <a:pt x="1019265" y="612781"/>
                      <a:pt x="1027009" y="611161"/>
                      <a:pt x="1027562" y="613320"/>
                    </a:cubicBezTo>
                    <a:cubicBezTo>
                      <a:pt x="1024796" y="620337"/>
                      <a:pt x="1019265" y="626813"/>
                      <a:pt x="1019265" y="634909"/>
                    </a:cubicBezTo>
                    <a:cubicBezTo>
                      <a:pt x="1019265" y="642465"/>
                      <a:pt x="1024796" y="645164"/>
                      <a:pt x="1027009" y="651101"/>
                    </a:cubicBezTo>
                    <a:cubicBezTo>
                      <a:pt x="1029221" y="659197"/>
                      <a:pt x="1023137" y="686183"/>
                      <a:pt x="1016500" y="692120"/>
                    </a:cubicBezTo>
                    <a:cubicBezTo>
                      <a:pt x="1012628" y="695898"/>
                      <a:pt x="991058" y="685643"/>
                      <a:pt x="993270" y="693739"/>
                    </a:cubicBezTo>
                    <a:cubicBezTo>
                      <a:pt x="994376" y="697517"/>
                      <a:pt x="1010969" y="701835"/>
                      <a:pt x="1012075" y="707772"/>
                    </a:cubicBezTo>
                    <a:cubicBezTo>
                      <a:pt x="1012628" y="709931"/>
                      <a:pt x="1012628" y="727742"/>
                      <a:pt x="1012075" y="728281"/>
                    </a:cubicBezTo>
                    <a:cubicBezTo>
                      <a:pt x="1010969" y="729901"/>
                      <a:pt x="1008204" y="728821"/>
                      <a:pt x="1007097" y="729361"/>
                    </a:cubicBezTo>
                    <a:cubicBezTo>
                      <a:pt x="1004332" y="732599"/>
                      <a:pt x="1015394" y="735298"/>
                      <a:pt x="1014841" y="739076"/>
                    </a:cubicBezTo>
                    <a:cubicBezTo>
                      <a:pt x="1014288" y="742854"/>
                      <a:pt x="1007097" y="745013"/>
                      <a:pt x="1007651" y="754728"/>
                    </a:cubicBezTo>
                    <a:cubicBezTo>
                      <a:pt x="1010416" y="758506"/>
                      <a:pt x="1012075" y="746092"/>
                      <a:pt x="1017053" y="746092"/>
                    </a:cubicBezTo>
                    <a:cubicBezTo>
                      <a:pt x="1023137" y="745553"/>
                      <a:pt x="1019265" y="759585"/>
                      <a:pt x="1029774" y="758506"/>
                    </a:cubicBezTo>
                    <a:cubicBezTo>
                      <a:pt x="1034752" y="757966"/>
                      <a:pt x="1038624" y="753109"/>
                      <a:pt x="1043601" y="752029"/>
                    </a:cubicBezTo>
                    <a:cubicBezTo>
                      <a:pt x="1045814" y="751490"/>
                      <a:pt x="1055216" y="756347"/>
                      <a:pt x="1056876" y="757966"/>
                    </a:cubicBezTo>
                    <a:cubicBezTo>
                      <a:pt x="1064619" y="764983"/>
                      <a:pt x="1053557" y="771999"/>
                      <a:pt x="1050239" y="777936"/>
                    </a:cubicBezTo>
                    <a:cubicBezTo>
                      <a:pt x="1048579" y="781174"/>
                      <a:pt x="1048579" y="784952"/>
                      <a:pt x="1046920" y="788191"/>
                    </a:cubicBezTo>
                    <a:cubicBezTo>
                      <a:pt x="1046367" y="789270"/>
                      <a:pt x="1045814" y="789810"/>
                      <a:pt x="1045261" y="790889"/>
                    </a:cubicBezTo>
                    <a:cubicBezTo>
                      <a:pt x="1045261" y="791969"/>
                      <a:pt x="1045261" y="793048"/>
                      <a:pt x="1044708" y="793588"/>
                    </a:cubicBezTo>
                    <a:lnTo>
                      <a:pt x="1042495" y="794128"/>
                    </a:lnTo>
                    <a:cubicBezTo>
                      <a:pt x="1039730" y="792509"/>
                      <a:pt x="1042495" y="785492"/>
                      <a:pt x="1035858" y="786572"/>
                    </a:cubicBezTo>
                    <a:cubicBezTo>
                      <a:pt x="1031987" y="787651"/>
                      <a:pt x="1033093" y="791969"/>
                      <a:pt x="1031433" y="793048"/>
                    </a:cubicBezTo>
                    <a:cubicBezTo>
                      <a:pt x="1030327" y="793048"/>
                      <a:pt x="1027562" y="793048"/>
                      <a:pt x="1026456" y="792509"/>
                    </a:cubicBezTo>
                    <a:cubicBezTo>
                      <a:pt x="1025903" y="791969"/>
                      <a:pt x="1024796" y="789270"/>
                      <a:pt x="1024796" y="788191"/>
                    </a:cubicBezTo>
                    <a:cubicBezTo>
                      <a:pt x="1025349" y="785492"/>
                      <a:pt x="1031987" y="783333"/>
                      <a:pt x="1028668" y="780095"/>
                    </a:cubicBezTo>
                    <a:cubicBezTo>
                      <a:pt x="1027562" y="779015"/>
                      <a:pt x="1024243" y="779015"/>
                      <a:pt x="1023137" y="779555"/>
                    </a:cubicBezTo>
                    <a:cubicBezTo>
                      <a:pt x="1019265" y="780635"/>
                      <a:pt x="1010969" y="803843"/>
                      <a:pt x="1010969" y="808160"/>
                    </a:cubicBezTo>
                    <a:cubicBezTo>
                      <a:pt x="1010969" y="815177"/>
                      <a:pt x="1016500" y="820034"/>
                      <a:pt x="1012628" y="827591"/>
                    </a:cubicBezTo>
                    <a:cubicBezTo>
                      <a:pt x="1010416" y="832988"/>
                      <a:pt x="1005438" y="827591"/>
                      <a:pt x="1001567" y="828130"/>
                    </a:cubicBezTo>
                    <a:cubicBezTo>
                      <a:pt x="1000460" y="828130"/>
                      <a:pt x="995482" y="830829"/>
                      <a:pt x="994929" y="831908"/>
                    </a:cubicBezTo>
                    <a:cubicBezTo>
                      <a:pt x="994376" y="832448"/>
                      <a:pt x="994376" y="833527"/>
                      <a:pt x="994929" y="833527"/>
                    </a:cubicBezTo>
                    <a:cubicBezTo>
                      <a:pt x="995482" y="834067"/>
                      <a:pt x="997695" y="834607"/>
                      <a:pt x="998801" y="835147"/>
                    </a:cubicBezTo>
                    <a:cubicBezTo>
                      <a:pt x="1000460" y="836226"/>
                      <a:pt x="999907" y="847560"/>
                      <a:pt x="998248" y="848640"/>
                    </a:cubicBezTo>
                    <a:cubicBezTo>
                      <a:pt x="996589" y="850259"/>
                      <a:pt x="987186" y="851878"/>
                      <a:pt x="984421" y="851338"/>
                    </a:cubicBezTo>
                    <a:cubicBezTo>
                      <a:pt x="982208" y="851338"/>
                      <a:pt x="974465" y="848640"/>
                      <a:pt x="973359" y="849179"/>
                    </a:cubicBezTo>
                    <a:cubicBezTo>
                      <a:pt x="972253" y="849179"/>
                      <a:pt x="971700" y="849179"/>
                      <a:pt x="971146" y="850259"/>
                    </a:cubicBezTo>
                    <a:cubicBezTo>
                      <a:pt x="977230" y="852958"/>
                      <a:pt x="984974" y="852958"/>
                      <a:pt x="983868" y="861593"/>
                    </a:cubicBezTo>
                    <a:cubicBezTo>
                      <a:pt x="983868" y="862673"/>
                      <a:pt x="982761" y="865911"/>
                      <a:pt x="981655" y="866451"/>
                    </a:cubicBezTo>
                    <a:cubicBezTo>
                      <a:pt x="979996" y="866990"/>
                      <a:pt x="976677" y="866451"/>
                      <a:pt x="975018" y="866990"/>
                    </a:cubicBezTo>
                    <a:cubicBezTo>
                      <a:pt x="972253" y="867530"/>
                      <a:pt x="966169" y="871848"/>
                      <a:pt x="966169" y="874546"/>
                    </a:cubicBezTo>
                    <a:cubicBezTo>
                      <a:pt x="967828" y="882103"/>
                      <a:pt x="975571" y="874546"/>
                      <a:pt x="977230" y="878325"/>
                    </a:cubicBezTo>
                    <a:cubicBezTo>
                      <a:pt x="979443" y="882103"/>
                      <a:pt x="973912" y="883182"/>
                      <a:pt x="972806" y="885341"/>
                    </a:cubicBezTo>
                    <a:cubicBezTo>
                      <a:pt x="971146" y="889119"/>
                      <a:pt x="979996" y="905311"/>
                      <a:pt x="978890" y="908009"/>
                    </a:cubicBezTo>
                    <a:cubicBezTo>
                      <a:pt x="976124" y="916645"/>
                      <a:pt x="963956" y="912327"/>
                      <a:pt x="963956" y="921502"/>
                    </a:cubicBezTo>
                    <a:cubicBezTo>
                      <a:pt x="963956" y="927439"/>
                      <a:pt x="977230" y="932837"/>
                      <a:pt x="981102" y="937154"/>
                    </a:cubicBezTo>
                    <a:cubicBezTo>
                      <a:pt x="982208" y="938234"/>
                      <a:pt x="986633" y="945790"/>
                      <a:pt x="986080" y="946869"/>
                    </a:cubicBezTo>
                    <a:cubicBezTo>
                      <a:pt x="985527" y="949028"/>
                      <a:pt x="975571" y="944710"/>
                      <a:pt x="973359" y="945250"/>
                    </a:cubicBezTo>
                    <a:cubicBezTo>
                      <a:pt x="971146" y="945790"/>
                      <a:pt x="966169" y="952267"/>
                      <a:pt x="968934" y="954426"/>
                    </a:cubicBezTo>
                    <a:lnTo>
                      <a:pt x="955660" y="957124"/>
                    </a:lnTo>
                    <a:lnTo>
                      <a:pt x="937961" y="948489"/>
                    </a:lnTo>
                    <a:lnTo>
                      <a:pt x="910859" y="944171"/>
                    </a:lnTo>
                    <a:close/>
                    <a:moveTo>
                      <a:pt x="1140393" y="957664"/>
                    </a:moveTo>
                    <a:cubicBezTo>
                      <a:pt x="1139840" y="958204"/>
                      <a:pt x="1139286" y="959823"/>
                      <a:pt x="1139286" y="960362"/>
                    </a:cubicBezTo>
                    <a:cubicBezTo>
                      <a:pt x="1139286" y="963601"/>
                      <a:pt x="1142605" y="971157"/>
                      <a:pt x="1140393" y="974395"/>
                    </a:cubicBezTo>
                    <a:cubicBezTo>
                      <a:pt x="1140393" y="974935"/>
                      <a:pt x="1137627" y="974935"/>
                      <a:pt x="1137074" y="974395"/>
                    </a:cubicBezTo>
                    <a:cubicBezTo>
                      <a:pt x="1135968" y="973856"/>
                      <a:pt x="1133756" y="970617"/>
                      <a:pt x="1133756" y="970077"/>
                    </a:cubicBezTo>
                    <a:cubicBezTo>
                      <a:pt x="1132649" y="965220"/>
                      <a:pt x="1135415" y="961442"/>
                      <a:pt x="1132649" y="956584"/>
                    </a:cubicBezTo>
                    <a:cubicBezTo>
                      <a:pt x="1129884" y="951187"/>
                      <a:pt x="1124353" y="946869"/>
                      <a:pt x="1122141" y="941472"/>
                    </a:cubicBezTo>
                    <a:cubicBezTo>
                      <a:pt x="1121588" y="940393"/>
                      <a:pt x="1122141" y="936075"/>
                      <a:pt x="1122694" y="935535"/>
                    </a:cubicBezTo>
                    <a:cubicBezTo>
                      <a:pt x="1123800" y="933376"/>
                      <a:pt x="1149795" y="937154"/>
                      <a:pt x="1149242" y="943631"/>
                    </a:cubicBezTo>
                    <a:cubicBezTo>
                      <a:pt x="1148689" y="947409"/>
                      <a:pt x="1142605" y="954426"/>
                      <a:pt x="1140393" y="957664"/>
                    </a:cubicBezTo>
                    <a:close/>
                    <a:moveTo>
                      <a:pt x="1112738" y="949568"/>
                    </a:moveTo>
                    <a:lnTo>
                      <a:pt x="1114397" y="949568"/>
                    </a:lnTo>
                    <a:cubicBezTo>
                      <a:pt x="1114950" y="949028"/>
                      <a:pt x="1115503" y="947409"/>
                      <a:pt x="1116057" y="947409"/>
                    </a:cubicBezTo>
                    <a:cubicBezTo>
                      <a:pt x="1116057" y="946869"/>
                      <a:pt x="1117716" y="946869"/>
                      <a:pt x="1117716" y="947409"/>
                    </a:cubicBezTo>
                    <a:cubicBezTo>
                      <a:pt x="1118822" y="947949"/>
                      <a:pt x="1121588" y="952806"/>
                      <a:pt x="1122694" y="953886"/>
                    </a:cubicBezTo>
                    <a:cubicBezTo>
                      <a:pt x="1123247" y="954426"/>
                      <a:pt x="1123800" y="954426"/>
                      <a:pt x="1124353" y="954965"/>
                    </a:cubicBezTo>
                    <a:cubicBezTo>
                      <a:pt x="1124906" y="955505"/>
                      <a:pt x="1127672" y="961442"/>
                      <a:pt x="1127672" y="962521"/>
                    </a:cubicBezTo>
                    <a:cubicBezTo>
                      <a:pt x="1127672" y="963601"/>
                      <a:pt x="1126012" y="965220"/>
                      <a:pt x="1124906" y="965220"/>
                    </a:cubicBezTo>
                    <a:cubicBezTo>
                      <a:pt x="1123800" y="965760"/>
                      <a:pt x="1118269" y="963601"/>
                      <a:pt x="1116057" y="964141"/>
                    </a:cubicBezTo>
                    <a:cubicBezTo>
                      <a:pt x="1113291" y="964680"/>
                      <a:pt x="1109419" y="968458"/>
                      <a:pt x="1106654" y="968458"/>
                    </a:cubicBezTo>
                    <a:cubicBezTo>
                      <a:pt x="1103889" y="968998"/>
                      <a:pt x="1093933" y="966299"/>
                      <a:pt x="1091167" y="965760"/>
                    </a:cubicBezTo>
                    <a:cubicBezTo>
                      <a:pt x="1088955" y="964680"/>
                      <a:pt x="1087296" y="963061"/>
                      <a:pt x="1085637" y="961982"/>
                    </a:cubicBezTo>
                    <a:cubicBezTo>
                      <a:pt x="1083977" y="961442"/>
                      <a:pt x="1075128" y="958204"/>
                      <a:pt x="1075128" y="956584"/>
                    </a:cubicBezTo>
                    <a:cubicBezTo>
                      <a:pt x="1075681" y="956045"/>
                      <a:pt x="1081212" y="951727"/>
                      <a:pt x="1082318" y="950647"/>
                    </a:cubicBezTo>
                    <a:cubicBezTo>
                      <a:pt x="1083424" y="948489"/>
                      <a:pt x="1076234" y="944171"/>
                      <a:pt x="1076787" y="940393"/>
                    </a:cubicBezTo>
                    <a:cubicBezTo>
                      <a:pt x="1076787" y="937154"/>
                      <a:pt x="1086190" y="931217"/>
                      <a:pt x="1089508" y="933916"/>
                    </a:cubicBezTo>
                    <a:cubicBezTo>
                      <a:pt x="1094486" y="937694"/>
                      <a:pt x="1098358" y="944710"/>
                      <a:pt x="1103335" y="949028"/>
                    </a:cubicBezTo>
                    <a:cubicBezTo>
                      <a:pt x="1104442" y="949568"/>
                      <a:pt x="1109419" y="951727"/>
                      <a:pt x="1110526" y="951727"/>
                    </a:cubicBezTo>
                    <a:cubicBezTo>
                      <a:pt x="1111079" y="951727"/>
                      <a:pt x="1112185" y="950108"/>
                      <a:pt x="1112738" y="949568"/>
                    </a:cubicBezTo>
                    <a:close/>
                    <a:moveTo>
                      <a:pt x="984974" y="875626"/>
                    </a:moveTo>
                    <a:cubicBezTo>
                      <a:pt x="984974" y="874007"/>
                      <a:pt x="986633" y="872388"/>
                      <a:pt x="987739" y="871848"/>
                    </a:cubicBezTo>
                    <a:cubicBezTo>
                      <a:pt x="989952" y="871308"/>
                      <a:pt x="992717" y="872388"/>
                      <a:pt x="994929" y="871848"/>
                    </a:cubicBezTo>
                    <a:cubicBezTo>
                      <a:pt x="1002120" y="869689"/>
                      <a:pt x="1008204" y="863752"/>
                      <a:pt x="1015394" y="862133"/>
                    </a:cubicBezTo>
                    <a:cubicBezTo>
                      <a:pt x="1017606" y="861593"/>
                      <a:pt x="1024243" y="862673"/>
                      <a:pt x="1025903" y="863212"/>
                    </a:cubicBezTo>
                    <a:cubicBezTo>
                      <a:pt x="1035305" y="866451"/>
                      <a:pt x="1023690" y="878864"/>
                      <a:pt x="1031433" y="877245"/>
                    </a:cubicBezTo>
                    <a:cubicBezTo>
                      <a:pt x="1032540" y="876705"/>
                      <a:pt x="1037517" y="874007"/>
                      <a:pt x="1038624" y="872927"/>
                    </a:cubicBezTo>
                    <a:cubicBezTo>
                      <a:pt x="1039730" y="871308"/>
                      <a:pt x="1040283" y="866451"/>
                      <a:pt x="1041389" y="864292"/>
                    </a:cubicBezTo>
                    <a:lnTo>
                      <a:pt x="1043601" y="863752"/>
                    </a:lnTo>
                    <a:cubicBezTo>
                      <a:pt x="1054663" y="873467"/>
                      <a:pt x="1047473" y="875086"/>
                      <a:pt x="1048579" y="879404"/>
                    </a:cubicBezTo>
                    <a:cubicBezTo>
                      <a:pt x="1049686" y="884261"/>
                      <a:pt x="1054663" y="888040"/>
                      <a:pt x="1056323" y="892357"/>
                    </a:cubicBezTo>
                    <a:cubicBezTo>
                      <a:pt x="1057982" y="896675"/>
                      <a:pt x="1053004" y="898834"/>
                      <a:pt x="1051898" y="902072"/>
                    </a:cubicBezTo>
                    <a:cubicBezTo>
                      <a:pt x="1050792" y="906390"/>
                      <a:pt x="1051898" y="913946"/>
                      <a:pt x="1050239" y="918264"/>
                    </a:cubicBezTo>
                    <a:cubicBezTo>
                      <a:pt x="1049686" y="919883"/>
                      <a:pt x="1042495" y="924741"/>
                      <a:pt x="1039730" y="924741"/>
                    </a:cubicBezTo>
                    <a:cubicBezTo>
                      <a:pt x="1033646" y="924741"/>
                      <a:pt x="1025349" y="923661"/>
                      <a:pt x="1019265" y="922042"/>
                    </a:cubicBezTo>
                    <a:cubicBezTo>
                      <a:pt x="1013735" y="920423"/>
                      <a:pt x="1012075" y="914486"/>
                      <a:pt x="1007651" y="911787"/>
                    </a:cubicBezTo>
                    <a:cubicBezTo>
                      <a:pt x="1004332" y="909628"/>
                      <a:pt x="999907" y="910168"/>
                      <a:pt x="996589" y="906930"/>
                    </a:cubicBezTo>
                    <a:cubicBezTo>
                      <a:pt x="993270" y="904231"/>
                      <a:pt x="993823" y="895056"/>
                      <a:pt x="992164" y="890738"/>
                    </a:cubicBezTo>
                    <a:cubicBezTo>
                      <a:pt x="991611" y="888579"/>
                      <a:pt x="989398" y="886960"/>
                      <a:pt x="988292" y="884801"/>
                    </a:cubicBezTo>
                    <a:cubicBezTo>
                      <a:pt x="987739" y="882642"/>
                      <a:pt x="987739" y="879404"/>
                      <a:pt x="986633" y="877785"/>
                    </a:cubicBezTo>
                    <a:cubicBezTo>
                      <a:pt x="986633" y="876705"/>
                      <a:pt x="985527" y="876166"/>
                      <a:pt x="984974" y="875626"/>
                    </a:cubicBezTo>
                    <a:close/>
                    <a:moveTo>
                      <a:pt x="1062407" y="847021"/>
                    </a:moveTo>
                    <a:cubicBezTo>
                      <a:pt x="1064619" y="840544"/>
                      <a:pt x="1080106" y="844862"/>
                      <a:pt x="1080106" y="844862"/>
                    </a:cubicBezTo>
                    <a:cubicBezTo>
                      <a:pt x="1081765" y="843782"/>
                      <a:pt x="1085637" y="837306"/>
                      <a:pt x="1087296" y="835686"/>
                    </a:cubicBezTo>
                    <a:cubicBezTo>
                      <a:pt x="1089508" y="833527"/>
                      <a:pt x="1096698" y="830289"/>
                      <a:pt x="1097805" y="828670"/>
                    </a:cubicBezTo>
                    <a:cubicBezTo>
                      <a:pt x="1099464" y="825971"/>
                      <a:pt x="1095039" y="822733"/>
                      <a:pt x="1096145" y="819495"/>
                    </a:cubicBezTo>
                    <a:cubicBezTo>
                      <a:pt x="1100017" y="818955"/>
                      <a:pt x="1109973" y="817876"/>
                      <a:pt x="1113291" y="819495"/>
                    </a:cubicBezTo>
                    <a:cubicBezTo>
                      <a:pt x="1113291" y="823273"/>
                      <a:pt x="1110526" y="831369"/>
                      <a:pt x="1111079" y="834067"/>
                    </a:cubicBezTo>
                    <a:cubicBezTo>
                      <a:pt x="1111079" y="835147"/>
                      <a:pt x="1113844" y="836766"/>
                      <a:pt x="1114950" y="837845"/>
                    </a:cubicBezTo>
                    <a:cubicBezTo>
                      <a:pt x="1117163" y="841084"/>
                      <a:pt x="1117716" y="846481"/>
                      <a:pt x="1121588" y="848640"/>
                    </a:cubicBezTo>
                    <a:cubicBezTo>
                      <a:pt x="1132096" y="841084"/>
                      <a:pt x="1121034" y="827591"/>
                      <a:pt x="1129884" y="824892"/>
                    </a:cubicBezTo>
                    <a:cubicBezTo>
                      <a:pt x="1133756" y="825432"/>
                      <a:pt x="1135415" y="832988"/>
                      <a:pt x="1134862" y="836766"/>
                    </a:cubicBezTo>
                    <a:cubicBezTo>
                      <a:pt x="1134862" y="840544"/>
                      <a:pt x="1132096" y="849179"/>
                      <a:pt x="1137074" y="851338"/>
                    </a:cubicBezTo>
                    <a:cubicBezTo>
                      <a:pt x="1138180" y="850799"/>
                      <a:pt x="1139840" y="850259"/>
                      <a:pt x="1140946" y="849179"/>
                    </a:cubicBezTo>
                    <a:cubicBezTo>
                      <a:pt x="1142605" y="841084"/>
                      <a:pt x="1144264" y="824892"/>
                      <a:pt x="1139840" y="817336"/>
                    </a:cubicBezTo>
                    <a:cubicBezTo>
                      <a:pt x="1137627" y="814097"/>
                      <a:pt x="1129884" y="811399"/>
                      <a:pt x="1129331" y="810319"/>
                    </a:cubicBezTo>
                    <a:cubicBezTo>
                      <a:pt x="1125459" y="804922"/>
                      <a:pt x="1151454" y="795747"/>
                      <a:pt x="1156432" y="796826"/>
                    </a:cubicBezTo>
                    <a:cubicBezTo>
                      <a:pt x="1159198" y="798445"/>
                      <a:pt x="1165282" y="803303"/>
                      <a:pt x="1166388" y="806002"/>
                    </a:cubicBezTo>
                    <a:cubicBezTo>
                      <a:pt x="1167494" y="809780"/>
                      <a:pt x="1166388" y="818415"/>
                      <a:pt x="1166941" y="822733"/>
                    </a:cubicBezTo>
                    <a:cubicBezTo>
                      <a:pt x="1168047" y="829749"/>
                      <a:pt x="1176344" y="838925"/>
                      <a:pt x="1169707" y="847021"/>
                    </a:cubicBezTo>
                    <a:cubicBezTo>
                      <a:pt x="1166941" y="849719"/>
                      <a:pt x="1160304" y="854577"/>
                      <a:pt x="1156432" y="855656"/>
                    </a:cubicBezTo>
                    <a:cubicBezTo>
                      <a:pt x="1154220" y="856196"/>
                      <a:pt x="1152008" y="865371"/>
                      <a:pt x="1152008" y="866990"/>
                    </a:cubicBezTo>
                    <a:cubicBezTo>
                      <a:pt x="1152008" y="869689"/>
                      <a:pt x="1153667" y="873467"/>
                      <a:pt x="1155326" y="875086"/>
                    </a:cubicBezTo>
                    <a:cubicBezTo>
                      <a:pt x="1159198" y="877785"/>
                      <a:pt x="1171919" y="876705"/>
                      <a:pt x="1169153" y="887500"/>
                    </a:cubicBezTo>
                    <a:cubicBezTo>
                      <a:pt x="1169153" y="888040"/>
                      <a:pt x="1168600" y="889119"/>
                      <a:pt x="1168047" y="889659"/>
                    </a:cubicBezTo>
                    <a:cubicBezTo>
                      <a:pt x="1167494" y="890198"/>
                      <a:pt x="1164176" y="890738"/>
                      <a:pt x="1163069" y="891278"/>
                    </a:cubicBezTo>
                    <a:cubicBezTo>
                      <a:pt x="1157538" y="892897"/>
                      <a:pt x="1150901" y="897755"/>
                      <a:pt x="1147583" y="902612"/>
                    </a:cubicBezTo>
                    <a:cubicBezTo>
                      <a:pt x="1143711" y="908009"/>
                      <a:pt x="1149795" y="915565"/>
                      <a:pt x="1147583" y="920423"/>
                    </a:cubicBezTo>
                    <a:cubicBezTo>
                      <a:pt x="1145924" y="922042"/>
                      <a:pt x="1140946" y="926360"/>
                      <a:pt x="1138733" y="926360"/>
                    </a:cubicBezTo>
                    <a:cubicBezTo>
                      <a:pt x="1137074" y="926900"/>
                      <a:pt x="1132096" y="925280"/>
                      <a:pt x="1130437" y="924201"/>
                    </a:cubicBezTo>
                    <a:cubicBezTo>
                      <a:pt x="1122141" y="918804"/>
                      <a:pt x="1122694" y="906930"/>
                      <a:pt x="1118822" y="904771"/>
                    </a:cubicBezTo>
                    <a:cubicBezTo>
                      <a:pt x="1116610" y="903692"/>
                      <a:pt x="1107760" y="901533"/>
                      <a:pt x="1104995" y="900993"/>
                    </a:cubicBezTo>
                    <a:cubicBezTo>
                      <a:pt x="1098911" y="899374"/>
                      <a:pt x="1090061" y="900453"/>
                      <a:pt x="1085083" y="898294"/>
                    </a:cubicBezTo>
                    <a:cubicBezTo>
                      <a:pt x="1084530" y="898294"/>
                      <a:pt x="1083424" y="896675"/>
                      <a:pt x="1082871" y="896135"/>
                    </a:cubicBezTo>
                    <a:cubicBezTo>
                      <a:pt x="1077340" y="885341"/>
                      <a:pt x="1083424" y="882642"/>
                      <a:pt x="1081765" y="876166"/>
                    </a:cubicBezTo>
                    <a:cubicBezTo>
                      <a:pt x="1080659" y="872388"/>
                      <a:pt x="1072915" y="853497"/>
                      <a:pt x="1070703" y="850259"/>
                    </a:cubicBezTo>
                    <a:cubicBezTo>
                      <a:pt x="1069597" y="848640"/>
                      <a:pt x="1065172" y="849719"/>
                      <a:pt x="1063513" y="849179"/>
                    </a:cubicBezTo>
                    <a:lnTo>
                      <a:pt x="1062407" y="847021"/>
                    </a:lnTo>
                    <a:close/>
                    <a:moveTo>
                      <a:pt x="1332316" y="876166"/>
                    </a:moveTo>
                    <a:cubicBezTo>
                      <a:pt x="1336740" y="878325"/>
                      <a:pt x="1342271" y="884801"/>
                      <a:pt x="1347802" y="888040"/>
                    </a:cubicBezTo>
                    <a:cubicBezTo>
                      <a:pt x="1350015" y="889119"/>
                      <a:pt x="1358311" y="890738"/>
                      <a:pt x="1358864" y="891278"/>
                    </a:cubicBezTo>
                    <a:cubicBezTo>
                      <a:pt x="1360523" y="892897"/>
                      <a:pt x="1359417" y="910708"/>
                      <a:pt x="1349461" y="908549"/>
                    </a:cubicBezTo>
                    <a:cubicBezTo>
                      <a:pt x="1342271" y="906930"/>
                      <a:pt x="1329550" y="904771"/>
                      <a:pt x="1325678" y="898294"/>
                    </a:cubicBezTo>
                    <a:cubicBezTo>
                      <a:pt x="1323466" y="895596"/>
                      <a:pt x="1326232" y="881023"/>
                      <a:pt x="1327338" y="878325"/>
                    </a:cubicBezTo>
                    <a:cubicBezTo>
                      <a:pt x="1327891" y="876166"/>
                      <a:pt x="1330103" y="875086"/>
                      <a:pt x="1332316" y="876166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7" name="Freeform 1089">
                <a:extLst>
                  <a:ext uri="{FF2B5EF4-FFF2-40B4-BE49-F238E27FC236}">
                    <a16:creationId xmlns:a16="http://schemas.microsoft.com/office/drawing/2014/main" id="{A3611274-5B10-4811-A516-392C45E6E868}"/>
                  </a:ext>
                </a:extLst>
              </p:cNvPr>
              <p:cNvSpPr/>
              <p:nvPr/>
            </p:nvSpPr>
            <p:spPr>
              <a:xfrm>
                <a:off x="6055077" y="3343109"/>
                <a:ext cx="685834" cy="897559"/>
              </a:xfrm>
              <a:custGeom>
                <a:avLst/>
                <a:gdLst>
                  <a:gd name="connsiteX0" fmla="*/ 590572 w 685834"/>
                  <a:gd name="connsiteY0" fmla="*/ 94126 h 897559"/>
                  <a:gd name="connsiteX1" fmla="*/ 580064 w 685834"/>
                  <a:gd name="connsiteY1" fmla="*/ 84411 h 897559"/>
                  <a:gd name="connsiteX2" fmla="*/ 573426 w 685834"/>
                  <a:gd name="connsiteY2" fmla="*/ 83871 h 897559"/>
                  <a:gd name="connsiteX3" fmla="*/ 569555 w 685834"/>
                  <a:gd name="connsiteY3" fmla="*/ 74696 h 897559"/>
                  <a:gd name="connsiteX4" fmla="*/ 577298 w 685834"/>
                  <a:gd name="connsiteY4" fmla="*/ 76854 h 897559"/>
                  <a:gd name="connsiteX5" fmla="*/ 586148 w 685834"/>
                  <a:gd name="connsiteY5" fmla="*/ 81172 h 897559"/>
                  <a:gd name="connsiteX6" fmla="*/ 602187 w 685834"/>
                  <a:gd name="connsiteY6" fmla="*/ 96284 h 897559"/>
                  <a:gd name="connsiteX7" fmla="*/ 607718 w 685834"/>
                  <a:gd name="connsiteY7" fmla="*/ 105460 h 897559"/>
                  <a:gd name="connsiteX8" fmla="*/ 602187 w 685834"/>
                  <a:gd name="connsiteY8" fmla="*/ 108698 h 897559"/>
                  <a:gd name="connsiteX9" fmla="*/ 597763 w 685834"/>
                  <a:gd name="connsiteY9" fmla="*/ 108158 h 897559"/>
                  <a:gd name="connsiteX10" fmla="*/ 582276 w 685834"/>
                  <a:gd name="connsiteY10" fmla="*/ 106539 h 897559"/>
                  <a:gd name="connsiteX11" fmla="*/ 580617 w 685834"/>
                  <a:gd name="connsiteY11" fmla="*/ 103301 h 897559"/>
                  <a:gd name="connsiteX12" fmla="*/ 577298 w 685834"/>
                  <a:gd name="connsiteY12" fmla="*/ 96824 h 897559"/>
                  <a:gd name="connsiteX13" fmla="*/ 579510 w 685834"/>
                  <a:gd name="connsiteY13" fmla="*/ 94126 h 897559"/>
                  <a:gd name="connsiteX14" fmla="*/ 589466 w 685834"/>
                  <a:gd name="connsiteY14" fmla="*/ 95745 h 897559"/>
                  <a:gd name="connsiteX15" fmla="*/ 590572 w 685834"/>
                  <a:gd name="connsiteY15" fmla="*/ 94126 h 897559"/>
                  <a:gd name="connsiteX16" fmla="*/ 544666 w 685834"/>
                  <a:gd name="connsiteY16" fmla="*/ 53107 h 897559"/>
                  <a:gd name="connsiteX17" fmla="*/ 526967 w 685834"/>
                  <a:gd name="connsiteY17" fmla="*/ 60123 h 897559"/>
                  <a:gd name="connsiteX18" fmla="*/ 520883 w 685834"/>
                  <a:gd name="connsiteY18" fmla="*/ 54726 h 897559"/>
                  <a:gd name="connsiteX19" fmla="*/ 519223 w 685834"/>
                  <a:gd name="connsiteY19" fmla="*/ 50948 h 897559"/>
                  <a:gd name="connsiteX20" fmla="*/ 513139 w 685834"/>
                  <a:gd name="connsiteY20" fmla="*/ 40693 h 897559"/>
                  <a:gd name="connsiteX21" fmla="*/ 514246 w 685834"/>
                  <a:gd name="connsiteY21" fmla="*/ 32057 h 897559"/>
                  <a:gd name="connsiteX22" fmla="*/ 520330 w 685834"/>
                  <a:gd name="connsiteY22" fmla="*/ 26660 h 897559"/>
                  <a:gd name="connsiteX23" fmla="*/ 524201 w 685834"/>
                  <a:gd name="connsiteY23" fmla="*/ 15866 h 897559"/>
                  <a:gd name="connsiteX24" fmla="*/ 536922 w 685834"/>
                  <a:gd name="connsiteY24" fmla="*/ 24501 h 897559"/>
                  <a:gd name="connsiteX25" fmla="*/ 547984 w 685834"/>
                  <a:gd name="connsiteY25" fmla="*/ 24501 h 897559"/>
                  <a:gd name="connsiteX26" fmla="*/ 547431 w 685834"/>
                  <a:gd name="connsiteY26" fmla="*/ 39074 h 897559"/>
                  <a:gd name="connsiteX27" fmla="*/ 555728 w 685834"/>
                  <a:gd name="connsiteY27" fmla="*/ 48789 h 897559"/>
                  <a:gd name="connsiteX28" fmla="*/ 555174 w 685834"/>
                  <a:gd name="connsiteY28" fmla="*/ 54186 h 897559"/>
                  <a:gd name="connsiteX29" fmla="*/ 544666 w 685834"/>
                  <a:gd name="connsiteY29" fmla="*/ 53107 h 897559"/>
                  <a:gd name="connsiteX30" fmla="*/ 341681 w 685834"/>
                  <a:gd name="connsiteY30" fmla="*/ 897234 h 897559"/>
                  <a:gd name="connsiteX31" fmla="*/ 322323 w 685834"/>
                  <a:gd name="connsiteY31" fmla="*/ 872946 h 897559"/>
                  <a:gd name="connsiteX32" fmla="*/ 311261 w 685834"/>
                  <a:gd name="connsiteY32" fmla="*/ 869708 h 897559"/>
                  <a:gd name="connsiteX33" fmla="*/ 307389 w 685834"/>
                  <a:gd name="connsiteY33" fmla="*/ 864850 h 897559"/>
                  <a:gd name="connsiteX34" fmla="*/ 297987 w 685834"/>
                  <a:gd name="connsiteY34" fmla="*/ 868629 h 897559"/>
                  <a:gd name="connsiteX35" fmla="*/ 289690 w 685834"/>
                  <a:gd name="connsiteY35" fmla="*/ 871327 h 897559"/>
                  <a:gd name="connsiteX36" fmla="*/ 269779 w 685834"/>
                  <a:gd name="connsiteY36" fmla="*/ 862152 h 897559"/>
                  <a:gd name="connsiteX37" fmla="*/ 257611 w 685834"/>
                  <a:gd name="connsiteY37" fmla="*/ 859453 h 897559"/>
                  <a:gd name="connsiteX38" fmla="*/ 232722 w 685834"/>
                  <a:gd name="connsiteY38" fmla="*/ 855135 h 897559"/>
                  <a:gd name="connsiteX39" fmla="*/ 225532 w 685834"/>
                  <a:gd name="connsiteY39" fmla="*/ 853516 h 897559"/>
                  <a:gd name="connsiteX40" fmla="*/ 210045 w 685834"/>
                  <a:gd name="connsiteY40" fmla="*/ 842182 h 897559"/>
                  <a:gd name="connsiteX41" fmla="*/ 198430 w 685834"/>
                  <a:gd name="connsiteY41" fmla="*/ 848119 h 897559"/>
                  <a:gd name="connsiteX42" fmla="*/ 192899 w 685834"/>
                  <a:gd name="connsiteY42" fmla="*/ 854056 h 897559"/>
                  <a:gd name="connsiteX43" fmla="*/ 201749 w 685834"/>
                  <a:gd name="connsiteY43" fmla="*/ 859453 h 897559"/>
                  <a:gd name="connsiteX44" fmla="*/ 204514 w 685834"/>
                  <a:gd name="connsiteY44" fmla="*/ 862692 h 897559"/>
                  <a:gd name="connsiteX45" fmla="*/ 201196 w 685834"/>
                  <a:gd name="connsiteY45" fmla="*/ 865930 h 897559"/>
                  <a:gd name="connsiteX46" fmla="*/ 187368 w 685834"/>
                  <a:gd name="connsiteY46" fmla="*/ 864311 h 897559"/>
                  <a:gd name="connsiteX47" fmla="*/ 175753 w 685834"/>
                  <a:gd name="connsiteY47" fmla="*/ 864850 h 897559"/>
                  <a:gd name="connsiteX48" fmla="*/ 166351 w 685834"/>
                  <a:gd name="connsiteY48" fmla="*/ 865390 h 897559"/>
                  <a:gd name="connsiteX49" fmla="*/ 153077 w 685834"/>
                  <a:gd name="connsiteY49" fmla="*/ 871327 h 897559"/>
                  <a:gd name="connsiteX50" fmla="*/ 128187 w 685834"/>
                  <a:gd name="connsiteY50" fmla="*/ 870248 h 897559"/>
                  <a:gd name="connsiteX51" fmla="*/ 125422 w 685834"/>
                  <a:gd name="connsiteY51" fmla="*/ 868089 h 897559"/>
                  <a:gd name="connsiteX52" fmla="*/ 119338 w 685834"/>
                  <a:gd name="connsiteY52" fmla="*/ 854596 h 897559"/>
                  <a:gd name="connsiteX53" fmla="*/ 123763 w 685834"/>
                  <a:gd name="connsiteY53" fmla="*/ 832467 h 897559"/>
                  <a:gd name="connsiteX54" fmla="*/ 123210 w 685834"/>
                  <a:gd name="connsiteY54" fmla="*/ 824371 h 897559"/>
                  <a:gd name="connsiteX55" fmla="*/ 124869 w 685834"/>
                  <a:gd name="connsiteY55" fmla="*/ 804941 h 897559"/>
                  <a:gd name="connsiteX56" fmla="*/ 135378 w 685834"/>
                  <a:gd name="connsiteY56" fmla="*/ 780654 h 897559"/>
                  <a:gd name="connsiteX57" fmla="*/ 134824 w 685834"/>
                  <a:gd name="connsiteY57" fmla="*/ 763382 h 897559"/>
                  <a:gd name="connsiteX58" fmla="*/ 142568 w 685834"/>
                  <a:gd name="connsiteY58" fmla="*/ 740714 h 897559"/>
                  <a:gd name="connsiteX59" fmla="*/ 159161 w 685834"/>
                  <a:gd name="connsiteY59" fmla="*/ 724522 h 897559"/>
                  <a:gd name="connsiteX60" fmla="*/ 171329 w 685834"/>
                  <a:gd name="connsiteY60" fmla="*/ 706712 h 897559"/>
                  <a:gd name="connsiteX61" fmla="*/ 148099 w 685834"/>
                  <a:gd name="connsiteY61" fmla="*/ 694298 h 897559"/>
                  <a:gd name="connsiteX62" fmla="*/ 139802 w 685834"/>
                  <a:gd name="connsiteY62" fmla="*/ 696457 h 897559"/>
                  <a:gd name="connsiteX63" fmla="*/ 127081 w 685834"/>
                  <a:gd name="connsiteY63" fmla="*/ 693218 h 897559"/>
                  <a:gd name="connsiteX64" fmla="*/ 116019 w 685834"/>
                  <a:gd name="connsiteY64" fmla="*/ 681884 h 897559"/>
                  <a:gd name="connsiteX65" fmla="*/ 111042 w 685834"/>
                  <a:gd name="connsiteY65" fmla="*/ 683503 h 897559"/>
                  <a:gd name="connsiteX66" fmla="*/ 88918 w 685834"/>
                  <a:gd name="connsiteY66" fmla="*/ 689980 h 897559"/>
                  <a:gd name="connsiteX67" fmla="*/ 71219 w 685834"/>
                  <a:gd name="connsiteY67" fmla="*/ 674328 h 897559"/>
                  <a:gd name="connsiteX68" fmla="*/ 64029 w 685834"/>
                  <a:gd name="connsiteY68" fmla="*/ 682964 h 897559"/>
                  <a:gd name="connsiteX69" fmla="*/ 52967 w 685834"/>
                  <a:gd name="connsiteY69" fmla="*/ 677027 h 897559"/>
                  <a:gd name="connsiteX70" fmla="*/ 44670 w 685834"/>
                  <a:gd name="connsiteY70" fmla="*/ 656517 h 897559"/>
                  <a:gd name="connsiteX71" fmla="*/ 41352 w 685834"/>
                  <a:gd name="connsiteY71" fmla="*/ 650041 h 897559"/>
                  <a:gd name="connsiteX72" fmla="*/ 24206 w 685834"/>
                  <a:gd name="connsiteY72" fmla="*/ 641945 h 897559"/>
                  <a:gd name="connsiteX73" fmla="*/ 29184 w 685834"/>
                  <a:gd name="connsiteY73" fmla="*/ 632230 h 897559"/>
                  <a:gd name="connsiteX74" fmla="*/ 38586 w 685834"/>
                  <a:gd name="connsiteY74" fmla="*/ 617117 h 897559"/>
                  <a:gd name="connsiteX75" fmla="*/ 39693 w 685834"/>
                  <a:gd name="connsiteY75" fmla="*/ 607402 h 897559"/>
                  <a:gd name="connsiteX76" fmla="*/ 24206 w 685834"/>
                  <a:gd name="connsiteY76" fmla="*/ 603085 h 897559"/>
                  <a:gd name="connsiteX77" fmla="*/ 15357 w 685834"/>
                  <a:gd name="connsiteY77" fmla="*/ 594449 h 897559"/>
                  <a:gd name="connsiteX78" fmla="*/ 9826 w 685834"/>
                  <a:gd name="connsiteY78" fmla="*/ 582575 h 897559"/>
                  <a:gd name="connsiteX79" fmla="*/ 11485 w 685834"/>
                  <a:gd name="connsiteY79" fmla="*/ 566383 h 897559"/>
                  <a:gd name="connsiteX80" fmla="*/ 15910 w 685834"/>
                  <a:gd name="connsiteY80" fmla="*/ 556129 h 897559"/>
                  <a:gd name="connsiteX81" fmla="*/ 20888 w 685834"/>
                  <a:gd name="connsiteY81" fmla="*/ 552351 h 897559"/>
                  <a:gd name="connsiteX82" fmla="*/ 30290 w 685834"/>
                  <a:gd name="connsiteY82" fmla="*/ 548573 h 897559"/>
                  <a:gd name="connsiteX83" fmla="*/ 32502 w 685834"/>
                  <a:gd name="connsiteY83" fmla="*/ 542636 h 897559"/>
                  <a:gd name="connsiteX84" fmla="*/ 30843 w 685834"/>
                  <a:gd name="connsiteY84" fmla="*/ 537238 h 897559"/>
                  <a:gd name="connsiteX85" fmla="*/ 29184 w 685834"/>
                  <a:gd name="connsiteY85" fmla="*/ 530222 h 897559"/>
                  <a:gd name="connsiteX86" fmla="*/ 17016 w 685834"/>
                  <a:gd name="connsiteY86" fmla="*/ 525904 h 897559"/>
                  <a:gd name="connsiteX87" fmla="*/ 13697 w 685834"/>
                  <a:gd name="connsiteY87" fmla="*/ 518888 h 897559"/>
                  <a:gd name="connsiteX88" fmla="*/ 23100 w 685834"/>
                  <a:gd name="connsiteY88" fmla="*/ 514030 h 897559"/>
                  <a:gd name="connsiteX89" fmla="*/ 16463 w 685834"/>
                  <a:gd name="connsiteY89" fmla="*/ 504855 h 897559"/>
                  <a:gd name="connsiteX90" fmla="*/ 8719 w 685834"/>
                  <a:gd name="connsiteY90" fmla="*/ 501077 h 897559"/>
                  <a:gd name="connsiteX91" fmla="*/ 3742 w 685834"/>
                  <a:gd name="connsiteY91" fmla="*/ 493521 h 897559"/>
                  <a:gd name="connsiteX92" fmla="*/ 10379 w 685834"/>
                  <a:gd name="connsiteY92" fmla="*/ 471932 h 897559"/>
                  <a:gd name="connsiteX93" fmla="*/ -683 w 685834"/>
                  <a:gd name="connsiteY93" fmla="*/ 467614 h 897559"/>
                  <a:gd name="connsiteX94" fmla="*/ 2635 w 685834"/>
                  <a:gd name="connsiteY94" fmla="*/ 458979 h 897559"/>
                  <a:gd name="connsiteX95" fmla="*/ 15357 w 685834"/>
                  <a:gd name="connsiteY95" fmla="*/ 450343 h 897559"/>
                  <a:gd name="connsiteX96" fmla="*/ 14250 w 685834"/>
                  <a:gd name="connsiteY96" fmla="*/ 440088 h 897559"/>
                  <a:gd name="connsiteX97" fmla="*/ 20888 w 685834"/>
                  <a:gd name="connsiteY97" fmla="*/ 417420 h 897559"/>
                  <a:gd name="connsiteX98" fmla="*/ 8166 w 685834"/>
                  <a:gd name="connsiteY98" fmla="*/ 373702 h 897559"/>
                  <a:gd name="connsiteX99" fmla="*/ -130 w 685834"/>
                  <a:gd name="connsiteY99" fmla="*/ 372083 h 897559"/>
                  <a:gd name="connsiteX100" fmla="*/ 13697 w 685834"/>
                  <a:gd name="connsiteY100" fmla="*/ 359130 h 897559"/>
                  <a:gd name="connsiteX101" fmla="*/ 32502 w 685834"/>
                  <a:gd name="connsiteY101" fmla="*/ 366146 h 897559"/>
                  <a:gd name="connsiteX102" fmla="*/ 41905 w 685834"/>
                  <a:gd name="connsiteY102" fmla="*/ 362368 h 897559"/>
                  <a:gd name="connsiteX103" fmla="*/ 50754 w 685834"/>
                  <a:gd name="connsiteY103" fmla="*/ 358590 h 897559"/>
                  <a:gd name="connsiteX104" fmla="*/ 61816 w 685834"/>
                  <a:gd name="connsiteY104" fmla="*/ 360209 h 897559"/>
                  <a:gd name="connsiteX105" fmla="*/ 66241 w 685834"/>
                  <a:gd name="connsiteY105" fmla="*/ 347796 h 897559"/>
                  <a:gd name="connsiteX106" fmla="*/ 58498 w 685834"/>
                  <a:gd name="connsiteY106" fmla="*/ 340779 h 897559"/>
                  <a:gd name="connsiteX107" fmla="*/ 61816 w 685834"/>
                  <a:gd name="connsiteY107" fmla="*/ 335382 h 897559"/>
                  <a:gd name="connsiteX108" fmla="*/ 76750 w 685834"/>
                  <a:gd name="connsiteY108" fmla="*/ 323508 h 897559"/>
                  <a:gd name="connsiteX109" fmla="*/ 78962 w 685834"/>
                  <a:gd name="connsiteY109" fmla="*/ 318111 h 897559"/>
                  <a:gd name="connsiteX110" fmla="*/ 81175 w 685834"/>
                  <a:gd name="connsiteY110" fmla="*/ 297601 h 897559"/>
                  <a:gd name="connsiteX111" fmla="*/ 57392 w 685834"/>
                  <a:gd name="connsiteY111" fmla="*/ 292744 h 897559"/>
                  <a:gd name="connsiteX112" fmla="*/ 61263 w 685834"/>
                  <a:gd name="connsiteY112" fmla="*/ 270615 h 897559"/>
                  <a:gd name="connsiteX113" fmla="*/ 79515 w 685834"/>
                  <a:gd name="connsiteY113" fmla="*/ 274393 h 897559"/>
                  <a:gd name="connsiteX114" fmla="*/ 90024 w 685834"/>
                  <a:gd name="connsiteY114" fmla="*/ 240930 h 897559"/>
                  <a:gd name="connsiteX115" fmla="*/ 95555 w 685834"/>
                  <a:gd name="connsiteY115" fmla="*/ 229056 h 897559"/>
                  <a:gd name="connsiteX116" fmla="*/ 91683 w 685834"/>
                  <a:gd name="connsiteY116" fmla="*/ 199372 h 897559"/>
                  <a:gd name="connsiteX117" fmla="*/ 93343 w 685834"/>
                  <a:gd name="connsiteY117" fmla="*/ 199372 h 897559"/>
                  <a:gd name="connsiteX118" fmla="*/ 100533 w 685834"/>
                  <a:gd name="connsiteY118" fmla="*/ 190736 h 897559"/>
                  <a:gd name="connsiteX119" fmla="*/ 85599 w 685834"/>
                  <a:gd name="connsiteY119" fmla="*/ 178322 h 897559"/>
                  <a:gd name="connsiteX120" fmla="*/ 89471 w 685834"/>
                  <a:gd name="connsiteY120" fmla="*/ 172385 h 897559"/>
                  <a:gd name="connsiteX121" fmla="*/ 95002 w 685834"/>
                  <a:gd name="connsiteY121" fmla="*/ 155654 h 897559"/>
                  <a:gd name="connsiteX122" fmla="*/ 111595 w 685834"/>
                  <a:gd name="connsiteY122" fmla="*/ 148098 h 897559"/>
                  <a:gd name="connsiteX123" fmla="*/ 154183 w 685834"/>
                  <a:gd name="connsiteY123" fmla="*/ 147558 h 897559"/>
                  <a:gd name="connsiteX124" fmla="*/ 159714 w 685834"/>
                  <a:gd name="connsiteY124" fmla="*/ 176163 h 897559"/>
                  <a:gd name="connsiteX125" fmla="*/ 176306 w 685834"/>
                  <a:gd name="connsiteY125" fmla="*/ 177243 h 897559"/>
                  <a:gd name="connsiteX126" fmla="*/ 177966 w 685834"/>
                  <a:gd name="connsiteY126" fmla="*/ 171306 h 897559"/>
                  <a:gd name="connsiteX127" fmla="*/ 175753 w 685834"/>
                  <a:gd name="connsiteY127" fmla="*/ 159972 h 897559"/>
                  <a:gd name="connsiteX128" fmla="*/ 188474 w 685834"/>
                  <a:gd name="connsiteY128" fmla="*/ 161051 h 897559"/>
                  <a:gd name="connsiteX129" fmla="*/ 192346 w 685834"/>
                  <a:gd name="connsiteY129" fmla="*/ 161051 h 897559"/>
                  <a:gd name="connsiteX130" fmla="*/ 192899 w 685834"/>
                  <a:gd name="connsiteY130" fmla="*/ 157273 h 897559"/>
                  <a:gd name="connsiteX131" fmla="*/ 190687 w 685834"/>
                  <a:gd name="connsiteY131" fmla="*/ 150797 h 897559"/>
                  <a:gd name="connsiteX132" fmla="*/ 203408 w 685834"/>
                  <a:gd name="connsiteY132" fmla="*/ 127049 h 897559"/>
                  <a:gd name="connsiteX133" fmla="*/ 215023 w 685834"/>
                  <a:gd name="connsiteY133" fmla="*/ 128668 h 897559"/>
                  <a:gd name="connsiteX134" fmla="*/ 239359 w 685834"/>
                  <a:gd name="connsiteY134" fmla="*/ 131906 h 897559"/>
                  <a:gd name="connsiteX135" fmla="*/ 254845 w 685834"/>
                  <a:gd name="connsiteY135" fmla="*/ 148638 h 897559"/>
                  <a:gd name="connsiteX136" fmla="*/ 270332 w 685834"/>
                  <a:gd name="connsiteY136" fmla="*/ 152416 h 897559"/>
                  <a:gd name="connsiteX137" fmla="*/ 271991 w 685834"/>
                  <a:gd name="connsiteY137" fmla="*/ 144320 h 897559"/>
                  <a:gd name="connsiteX138" fmla="*/ 269226 w 685834"/>
                  <a:gd name="connsiteY138" fmla="*/ 142701 h 897559"/>
                  <a:gd name="connsiteX139" fmla="*/ 241018 w 685834"/>
                  <a:gd name="connsiteY139" fmla="*/ 117334 h 897559"/>
                  <a:gd name="connsiteX140" fmla="*/ 221107 w 685834"/>
                  <a:gd name="connsiteY140" fmla="*/ 114095 h 897559"/>
                  <a:gd name="connsiteX141" fmla="*/ 216129 w 685834"/>
                  <a:gd name="connsiteY141" fmla="*/ 109778 h 897559"/>
                  <a:gd name="connsiteX142" fmla="*/ 218341 w 685834"/>
                  <a:gd name="connsiteY142" fmla="*/ 104920 h 897559"/>
                  <a:gd name="connsiteX143" fmla="*/ 223872 w 685834"/>
                  <a:gd name="connsiteY143" fmla="*/ 103841 h 897559"/>
                  <a:gd name="connsiteX144" fmla="*/ 224425 w 685834"/>
                  <a:gd name="connsiteY144" fmla="*/ 97904 h 897559"/>
                  <a:gd name="connsiteX145" fmla="*/ 208386 w 685834"/>
                  <a:gd name="connsiteY145" fmla="*/ 86030 h 897559"/>
                  <a:gd name="connsiteX146" fmla="*/ 208939 w 685834"/>
                  <a:gd name="connsiteY146" fmla="*/ 83331 h 897559"/>
                  <a:gd name="connsiteX147" fmla="*/ 217235 w 685834"/>
                  <a:gd name="connsiteY147" fmla="*/ 80632 h 897559"/>
                  <a:gd name="connsiteX148" fmla="*/ 217788 w 685834"/>
                  <a:gd name="connsiteY148" fmla="*/ 70378 h 897559"/>
                  <a:gd name="connsiteX149" fmla="*/ 202855 w 685834"/>
                  <a:gd name="connsiteY149" fmla="*/ 74696 h 897559"/>
                  <a:gd name="connsiteX150" fmla="*/ 221107 w 685834"/>
                  <a:gd name="connsiteY150" fmla="*/ 53646 h 897559"/>
                  <a:gd name="connsiteX151" fmla="*/ 223319 w 685834"/>
                  <a:gd name="connsiteY151" fmla="*/ 46630 h 897559"/>
                  <a:gd name="connsiteX152" fmla="*/ 210598 w 685834"/>
                  <a:gd name="connsiteY152" fmla="*/ 30978 h 897559"/>
                  <a:gd name="connsiteX153" fmla="*/ 198983 w 685834"/>
                  <a:gd name="connsiteY153" fmla="*/ -326 h 897559"/>
                  <a:gd name="connsiteX154" fmla="*/ 226085 w 685834"/>
                  <a:gd name="connsiteY154" fmla="*/ 3992 h 897559"/>
                  <a:gd name="connsiteX155" fmla="*/ 243784 w 685834"/>
                  <a:gd name="connsiteY155" fmla="*/ 12627 h 897559"/>
                  <a:gd name="connsiteX156" fmla="*/ 257058 w 685834"/>
                  <a:gd name="connsiteY156" fmla="*/ 9929 h 897559"/>
                  <a:gd name="connsiteX157" fmla="*/ 270332 w 685834"/>
                  <a:gd name="connsiteY157" fmla="*/ 11548 h 897559"/>
                  <a:gd name="connsiteX158" fmla="*/ 277522 w 685834"/>
                  <a:gd name="connsiteY158" fmla="*/ 16945 h 897559"/>
                  <a:gd name="connsiteX159" fmla="*/ 285819 w 685834"/>
                  <a:gd name="connsiteY159" fmla="*/ 15326 h 897559"/>
                  <a:gd name="connsiteX160" fmla="*/ 291903 w 685834"/>
                  <a:gd name="connsiteY160" fmla="*/ 21803 h 897559"/>
                  <a:gd name="connsiteX161" fmla="*/ 285819 w 685834"/>
                  <a:gd name="connsiteY161" fmla="*/ 28279 h 897559"/>
                  <a:gd name="connsiteX162" fmla="*/ 284159 w 685834"/>
                  <a:gd name="connsiteY162" fmla="*/ 30438 h 897559"/>
                  <a:gd name="connsiteX163" fmla="*/ 282500 w 685834"/>
                  <a:gd name="connsiteY163" fmla="*/ 33137 h 897559"/>
                  <a:gd name="connsiteX164" fmla="*/ 294115 w 685834"/>
                  <a:gd name="connsiteY164" fmla="*/ 33137 h 897559"/>
                  <a:gd name="connsiteX165" fmla="*/ 293562 w 685834"/>
                  <a:gd name="connsiteY165" fmla="*/ 37994 h 897559"/>
                  <a:gd name="connsiteX166" fmla="*/ 281947 w 685834"/>
                  <a:gd name="connsiteY166" fmla="*/ 49868 h 897559"/>
                  <a:gd name="connsiteX167" fmla="*/ 295221 w 685834"/>
                  <a:gd name="connsiteY167" fmla="*/ 54186 h 897559"/>
                  <a:gd name="connsiteX168" fmla="*/ 303518 w 685834"/>
                  <a:gd name="connsiteY168" fmla="*/ 50948 h 897559"/>
                  <a:gd name="connsiteX169" fmla="*/ 311261 w 685834"/>
                  <a:gd name="connsiteY169" fmla="*/ 59044 h 897559"/>
                  <a:gd name="connsiteX170" fmla="*/ 320663 w 685834"/>
                  <a:gd name="connsiteY170" fmla="*/ 54726 h 897559"/>
                  <a:gd name="connsiteX171" fmla="*/ 342234 w 685834"/>
                  <a:gd name="connsiteY171" fmla="*/ 68219 h 897559"/>
                  <a:gd name="connsiteX172" fmla="*/ 344999 w 685834"/>
                  <a:gd name="connsiteY172" fmla="*/ 66060 h 897559"/>
                  <a:gd name="connsiteX173" fmla="*/ 353296 w 685834"/>
                  <a:gd name="connsiteY173" fmla="*/ 63361 h 897559"/>
                  <a:gd name="connsiteX174" fmla="*/ 361039 w 685834"/>
                  <a:gd name="connsiteY174" fmla="*/ 56885 h 897559"/>
                  <a:gd name="connsiteX175" fmla="*/ 364911 w 685834"/>
                  <a:gd name="connsiteY175" fmla="*/ 56885 h 897559"/>
                  <a:gd name="connsiteX176" fmla="*/ 366570 w 685834"/>
                  <a:gd name="connsiteY176" fmla="*/ 55805 h 897559"/>
                  <a:gd name="connsiteX177" fmla="*/ 368782 w 685834"/>
                  <a:gd name="connsiteY177" fmla="*/ 67139 h 897559"/>
                  <a:gd name="connsiteX178" fmla="*/ 362698 w 685834"/>
                  <a:gd name="connsiteY178" fmla="*/ 84950 h 897559"/>
                  <a:gd name="connsiteX179" fmla="*/ 351637 w 685834"/>
                  <a:gd name="connsiteY179" fmla="*/ 102221 h 897559"/>
                  <a:gd name="connsiteX180" fmla="*/ 357721 w 685834"/>
                  <a:gd name="connsiteY180" fmla="*/ 108158 h 897559"/>
                  <a:gd name="connsiteX181" fmla="*/ 397543 w 685834"/>
                  <a:gd name="connsiteY181" fmla="*/ 111397 h 897559"/>
                  <a:gd name="connsiteX182" fmla="*/ 400862 w 685834"/>
                  <a:gd name="connsiteY182" fmla="*/ 109238 h 897559"/>
                  <a:gd name="connsiteX183" fmla="*/ 404180 w 685834"/>
                  <a:gd name="connsiteY183" fmla="*/ 101682 h 897559"/>
                  <a:gd name="connsiteX184" fmla="*/ 424092 w 685834"/>
                  <a:gd name="connsiteY184" fmla="*/ 80632 h 897559"/>
                  <a:gd name="connsiteX185" fmla="*/ 428516 w 685834"/>
                  <a:gd name="connsiteY185" fmla="*/ 80632 h 897559"/>
                  <a:gd name="connsiteX186" fmla="*/ 431282 w 685834"/>
                  <a:gd name="connsiteY186" fmla="*/ 79013 h 897559"/>
                  <a:gd name="connsiteX187" fmla="*/ 441237 w 685834"/>
                  <a:gd name="connsiteY187" fmla="*/ 78474 h 897559"/>
                  <a:gd name="connsiteX188" fmla="*/ 469998 w 685834"/>
                  <a:gd name="connsiteY188" fmla="*/ 43392 h 897559"/>
                  <a:gd name="connsiteX189" fmla="*/ 477188 w 685834"/>
                  <a:gd name="connsiteY189" fmla="*/ 40153 h 897559"/>
                  <a:gd name="connsiteX190" fmla="*/ 482166 w 685834"/>
                  <a:gd name="connsiteY190" fmla="*/ 40693 h 897559"/>
                  <a:gd name="connsiteX191" fmla="*/ 495994 w 685834"/>
                  <a:gd name="connsiteY191" fmla="*/ 44471 h 897559"/>
                  <a:gd name="connsiteX192" fmla="*/ 477742 w 685834"/>
                  <a:gd name="connsiteY192" fmla="*/ 48249 h 897559"/>
                  <a:gd name="connsiteX193" fmla="*/ 478295 w 685834"/>
                  <a:gd name="connsiteY193" fmla="*/ 52027 h 897559"/>
                  <a:gd name="connsiteX194" fmla="*/ 481613 w 685834"/>
                  <a:gd name="connsiteY194" fmla="*/ 53646 h 897559"/>
                  <a:gd name="connsiteX195" fmla="*/ 488250 w 685834"/>
                  <a:gd name="connsiteY195" fmla="*/ 52027 h 897559"/>
                  <a:gd name="connsiteX196" fmla="*/ 504843 w 685834"/>
                  <a:gd name="connsiteY196" fmla="*/ 52567 h 897559"/>
                  <a:gd name="connsiteX197" fmla="*/ 518670 w 685834"/>
                  <a:gd name="connsiteY197" fmla="*/ 66600 h 897559"/>
                  <a:gd name="connsiteX198" fmla="*/ 550197 w 685834"/>
                  <a:gd name="connsiteY198" fmla="*/ 75775 h 897559"/>
                  <a:gd name="connsiteX199" fmla="*/ 556281 w 685834"/>
                  <a:gd name="connsiteY199" fmla="*/ 75775 h 897559"/>
                  <a:gd name="connsiteX200" fmla="*/ 557940 w 685834"/>
                  <a:gd name="connsiteY200" fmla="*/ 79553 h 897559"/>
                  <a:gd name="connsiteX201" fmla="*/ 560705 w 685834"/>
                  <a:gd name="connsiteY201" fmla="*/ 84411 h 897559"/>
                  <a:gd name="connsiteX202" fmla="*/ 566236 w 685834"/>
                  <a:gd name="connsiteY202" fmla="*/ 100602 h 897559"/>
                  <a:gd name="connsiteX203" fmla="*/ 577298 w 685834"/>
                  <a:gd name="connsiteY203" fmla="*/ 115175 h 897559"/>
                  <a:gd name="connsiteX204" fmla="*/ 579510 w 685834"/>
                  <a:gd name="connsiteY204" fmla="*/ 116254 h 897559"/>
                  <a:gd name="connsiteX205" fmla="*/ 599422 w 685834"/>
                  <a:gd name="connsiteY205" fmla="*/ 119493 h 897559"/>
                  <a:gd name="connsiteX206" fmla="*/ 599422 w 685834"/>
                  <a:gd name="connsiteY206" fmla="*/ 126509 h 897559"/>
                  <a:gd name="connsiteX207" fmla="*/ 611590 w 685834"/>
                  <a:gd name="connsiteY207" fmla="*/ 165909 h 897559"/>
                  <a:gd name="connsiteX208" fmla="*/ 614908 w 685834"/>
                  <a:gd name="connsiteY208" fmla="*/ 176703 h 897559"/>
                  <a:gd name="connsiteX209" fmla="*/ 611590 w 685834"/>
                  <a:gd name="connsiteY209" fmla="*/ 199372 h 897559"/>
                  <a:gd name="connsiteX210" fmla="*/ 599422 w 685834"/>
                  <a:gd name="connsiteY210" fmla="*/ 214484 h 897559"/>
                  <a:gd name="connsiteX211" fmla="*/ 601081 w 685834"/>
                  <a:gd name="connsiteY211" fmla="*/ 218802 h 897559"/>
                  <a:gd name="connsiteX212" fmla="*/ 601634 w 685834"/>
                  <a:gd name="connsiteY212" fmla="*/ 225278 h 897559"/>
                  <a:gd name="connsiteX213" fmla="*/ 639798 w 685834"/>
                  <a:gd name="connsiteY213" fmla="*/ 250645 h 897559"/>
                  <a:gd name="connsiteX214" fmla="*/ 639798 w 685834"/>
                  <a:gd name="connsiteY214" fmla="*/ 283568 h 897559"/>
                  <a:gd name="connsiteX215" fmla="*/ 652519 w 685834"/>
                  <a:gd name="connsiteY215" fmla="*/ 294363 h 897559"/>
                  <a:gd name="connsiteX216" fmla="*/ 655284 w 685834"/>
                  <a:gd name="connsiteY216" fmla="*/ 307856 h 897559"/>
                  <a:gd name="connsiteX217" fmla="*/ 648647 w 685834"/>
                  <a:gd name="connsiteY217" fmla="*/ 344557 h 897559"/>
                  <a:gd name="connsiteX218" fmla="*/ 660262 w 685834"/>
                  <a:gd name="connsiteY218" fmla="*/ 361828 h 897559"/>
                  <a:gd name="connsiteX219" fmla="*/ 659156 w 685834"/>
                  <a:gd name="connsiteY219" fmla="*/ 371543 h 897559"/>
                  <a:gd name="connsiteX220" fmla="*/ 678514 w 685834"/>
                  <a:gd name="connsiteY220" fmla="*/ 385036 h 897559"/>
                  <a:gd name="connsiteX221" fmla="*/ 685151 w 685834"/>
                  <a:gd name="connsiteY221" fmla="*/ 417960 h 897559"/>
                  <a:gd name="connsiteX222" fmla="*/ 675748 w 685834"/>
                  <a:gd name="connsiteY222" fmla="*/ 450343 h 897559"/>
                  <a:gd name="connsiteX223" fmla="*/ 673536 w 685834"/>
                  <a:gd name="connsiteY223" fmla="*/ 457359 h 897559"/>
                  <a:gd name="connsiteX224" fmla="*/ 667452 w 685834"/>
                  <a:gd name="connsiteY224" fmla="*/ 460058 h 897559"/>
                  <a:gd name="connsiteX225" fmla="*/ 657496 w 685834"/>
                  <a:gd name="connsiteY225" fmla="*/ 453042 h 897559"/>
                  <a:gd name="connsiteX226" fmla="*/ 658603 w 685834"/>
                  <a:gd name="connsiteY226" fmla="*/ 441707 h 897559"/>
                  <a:gd name="connsiteX227" fmla="*/ 643116 w 685834"/>
                  <a:gd name="connsiteY227" fmla="*/ 436310 h 897559"/>
                  <a:gd name="connsiteX228" fmla="*/ 635373 w 685834"/>
                  <a:gd name="connsiteY228" fmla="*/ 438469 h 897559"/>
                  <a:gd name="connsiteX229" fmla="*/ 630395 w 685834"/>
                  <a:gd name="connsiteY229" fmla="*/ 443866 h 897559"/>
                  <a:gd name="connsiteX230" fmla="*/ 639798 w 685834"/>
                  <a:gd name="connsiteY230" fmla="*/ 454121 h 897559"/>
                  <a:gd name="connsiteX231" fmla="*/ 606612 w 685834"/>
                  <a:gd name="connsiteY231" fmla="*/ 470852 h 897559"/>
                  <a:gd name="connsiteX232" fmla="*/ 600528 w 685834"/>
                  <a:gd name="connsiteY232" fmla="*/ 482187 h 897559"/>
                  <a:gd name="connsiteX233" fmla="*/ 582276 w 685834"/>
                  <a:gd name="connsiteY233" fmla="*/ 484885 h 897559"/>
                  <a:gd name="connsiteX234" fmla="*/ 577298 w 685834"/>
                  <a:gd name="connsiteY234" fmla="*/ 493521 h 897559"/>
                  <a:gd name="connsiteX235" fmla="*/ 565683 w 685834"/>
                  <a:gd name="connsiteY235" fmla="*/ 492981 h 897559"/>
                  <a:gd name="connsiteX236" fmla="*/ 560705 w 685834"/>
                  <a:gd name="connsiteY236" fmla="*/ 504855 h 897559"/>
                  <a:gd name="connsiteX237" fmla="*/ 544666 w 685834"/>
                  <a:gd name="connsiteY237" fmla="*/ 508633 h 897559"/>
                  <a:gd name="connsiteX238" fmla="*/ 534710 w 685834"/>
                  <a:gd name="connsiteY238" fmla="*/ 521047 h 897559"/>
                  <a:gd name="connsiteX239" fmla="*/ 512586 w 685834"/>
                  <a:gd name="connsiteY239" fmla="*/ 522126 h 897559"/>
                  <a:gd name="connsiteX240" fmla="*/ 495994 w 685834"/>
                  <a:gd name="connsiteY240" fmla="*/ 533460 h 897559"/>
                  <a:gd name="connsiteX241" fmla="*/ 490463 w 685834"/>
                  <a:gd name="connsiteY241" fmla="*/ 543175 h 897559"/>
                  <a:gd name="connsiteX242" fmla="*/ 474423 w 685834"/>
                  <a:gd name="connsiteY242" fmla="*/ 532921 h 897559"/>
                  <a:gd name="connsiteX243" fmla="*/ 475529 w 685834"/>
                  <a:gd name="connsiteY243" fmla="*/ 544795 h 897559"/>
                  <a:gd name="connsiteX244" fmla="*/ 481060 w 685834"/>
                  <a:gd name="connsiteY244" fmla="*/ 556129 h 897559"/>
                  <a:gd name="connsiteX245" fmla="*/ 485485 w 685834"/>
                  <a:gd name="connsiteY245" fmla="*/ 560986 h 897559"/>
                  <a:gd name="connsiteX246" fmla="*/ 506502 w 685834"/>
                  <a:gd name="connsiteY246" fmla="*/ 584734 h 897559"/>
                  <a:gd name="connsiteX247" fmla="*/ 498759 w 685834"/>
                  <a:gd name="connsiteY247" fmla="*/ 605244 h 897559"/>
                  <a:gd name="connsiteX248" fmla="*/ 522542 w 685834"/>
                  <a:gd name="connsiteY248" fmla="*/ 645183 h 897559"/>
                  <a:gd name="connsiteX249" fmla="*/ 544113 w 685834"/>
                  <a:gd name="connsiteY249" fmla="*/ 647342 h 897559"/>
                  <a:gd name="connsiteX250" fmla="*/ 566789 w 685834"/>
                  <a:gd name="connsiteY250" fmla="*/ 668391 h 897559"/>
                  <a:gd name="connsiteX251" fmla="*/ 572873 w 685834"/>
                  <a:gd name="connsiteY251" fmla="*/ 673788 h 897559"/>
                  <a:gd name="connsiteX252" fmla="*/ 587254 w 685834"/>
                  <a:gd name="connsiteY252" fmla="*/ 682964 h 897559"/>
                  <a:gd name="connsiteX253" fmla="*/ 612696 w 685834"/>
                  <a:gd name="connsiteY253" fmla="*/ 694298 h 897559"/>
                  <a:gd name="connsiteX254" fmla="*/ 622099 w 685834"/>
                  <a:gd name="connsiteY254" fmla="*/ 704013 h 897559"/>
                  <a:gd name="connsiteX255" fmla="*/ 620439 w 685834"/>
                  <a:gd name="connsiteY255" fmla="*/ 720744 h 897559"/>
                  <a:gd name="connsiteX256" fmla="*/ 615461 w 685834"/>
                  <a:gd name="connsiteY256" fmla="*/ 737476 h 897559"/>
                  <a:gd name="connsiteX257" fmla="*/ 591125 w 685834"/>
                  <a:gd name="connsiteY257" fmla="*/ 729920 h 897559"/>
                  <a:gd name="connsiteX258" fmla="*/ 582829 w 685834"/>
                  <a:gd name="connsiteY258" fmla="*/ 757985 h 897559"/>
                  <a:gd name="connsiteX259" fmla="*/ 570661 w 685834"/>
                  <a:gd name="connsiteY259" fmla="*/ 763382 h 897559"/>
                  <a:gd name="connsiteX260" fmla="*/ 550750 w 685834"/>
                  <a:gd name="connsiteY260" fmla="*/ 774177 h 897559"/>
                  <a:gd name="connsiteX261" fmla="*/ 544666 w 685834"/>
                  <a:gd name="connsiteY261" fmla="*/ 785511 h 897559"/>
                  <a:gd name="connsiteX262" fmla="*/ 544666 w 685834"/>
                  <a:gd name="connsiteY262" fmla="*/ 794686 h 897559"/>
                  <a:gd name="connsiteX263" fmla="*/ 550750 w 685834"/>
                  <a:gd name="connsiteY263" fmla="*/ 802782 h 897559"/>
                  <a:gd name="connsiteX264" fmla="*/ 566789 w 685834"/>
                  <a:gd name="connsiteY264" fmla="*/ 821133 h 897559"/>
                  <a:gd name="connsiteX265" fmla="*/ 561258 w 685834"/>
                  <a:gd name="connsiteY265" fmla="*/ 835166 h 897559"/>
                  <a:gd name="connsiteX266" fmla="*/ 573426 w 685834"/>
                  <a:gd name="connsiteY266" fmla="*/ 836245 h 897559"/>
                  <a:gd name="connsiteX267" fmla="*/ 570661 w 685834"/>
                  <a:gd name="connsiteY267" fmla="*/ 856215 h 897559"/>
                  <a:gd name="connsiteX268" fmla="*/ 564577 w 685834"/>
                  <a:gd name="connsiteY268" fmla="*/ 864850 h 897559"/>
                  <a:gd name="connsiteX269" fmla="*/ 553515 w 685834"/>
                  <a:gd name="connsiteY269" fmla="*/ 859993 h 897559"/>
                  <a:gd name="connsiteX270" fmla="*/ 545772 w 685834"/>
                  <a:gd name="connsiteY270" fmla="*/ 846500 h 897559"/>
                  <a:gd name="connsiteX271" fmla="*/ 530838 w 685834"/>
                  <a:gd name="connsiteY271" fmla="*/ 849198 h 897559"/>
                  <a:gd name="connsiteX272" fmla="*/ 526967 w 685834"/>
                  <a:gd name="connsiteY272" fmla="*/ 849738 h 897559"/>
                  <a:gd name="connsiteX273" fmla="*/ 521436 w 685834"/>
                  <a:gd name="connsiteY273" fmla="*/ 842182 h 897559"/>
                  <a:gd name="connsiteX274" fmla="*/ 499865 w 685834"/>
                  <a:gd name="connsiteY274" fmla="*/ 843262 h 897559"/>
                  <a:gd name="connsiteX275" fmla="*/ 494334 w 685834"/>
                  <a:gd name="connsiteY275" fmla="*/ 855135 h 897559"/>
                  <a:gd name="connsiteX276" fmla="*/ 464467 w 685834"/>
                  <a:gd name="connsiteY276" fmla="*/ 858913 h 897559"/>
                  <a:gd name="connsiteX277" fmla="*/ 445662 w 685834"/>
                  <a:gd name="connsiteY277" fmla="*/ 868089 h 897559"/>
                  <a:gd name="connsiteX278" fmla="*/ 432941 w 685834"/>
                  <a:gd name="connsiteY278" fmla="*/ 880502 h 897559"/>
                  <a:gd name="connsiteX279" fmla="*/ 404180 w 685834"/>
                  <a:gd name="connsiteY279" fmla="*/ 886439 h 897559"/>
                  <a:gd name="connsiteX280" fmla="*/ 392565 w 685834"/>
                  <a:gd name="connsiteY280" fmla="*/ 871327 h 897559"/>
                  <a:gd name="connsiteX281" fmla="*/ 382610 w 685834"/>
                  <a:gd name="connsiteY281" fmla="*/ 870248 h 897559"/>
                  <a:gd name="connsiteX282" fmla="*/ 374866 w 685834"/>
                  <a:gd name="connsiteY282" fmla="*/ 865930 h 897559"/>
                  <a:gd name="connsiteX283" fmla="*/ 368782 w 685834"/>
                  <a:gd name="connsiteY283" fmla="*/ 866470 h 897559"/>
                  <a:gd name="connsiteX284" fmla="*/ 361592 w 685834"/>
                  <a:gd name="connsiteY284" fmla="*/ 869708 h 897559"/>
                  <a:gd name="connsiteX285" fmla="*/ 359933 w 685834"/>
                  <a:gd name="connsiteY285" fmla="*/ 883741 h 897559"/>
                  <a:gd name="connsiteX286" fmla="*/ 341681 w 685834"/>
                  <a:gd name="connsiteY286" fmla="*/ 897234 h 897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</a:cxnLst>
                <a:rect l="l" t="t" r="r" b="b"/>
                <a:pathLst>
                  <a:path w="685834" h="897559">
                    <a:moveTo>
                      <a:pt x="590572" y="94126"/>
                    </a:moveTo>
                    <a:cubicBezTo>
                      <a:pt x="588913" y="90347"/>
                      <a:pt x="584488" y="86030"/>
                      <a:pt x="580064" y="84411"/>
                    </a:cubicBezTo>
                    <a:cubicBezTo>
                      <a:pt x="578404" y="83871"/>
                      <a:pt x="574533" y="84411"/>
                      <a:pt x="573426" y="83871"/>
                    </a:cubicBezTo>
                    <a:cubicBezTo>
                      <a:pt x="572320" y="83331"/>
                      <a:pt x="569002" y="75235"/>
                      <a:pt x="569555" y="74696"/>
                    </a:cubicBezTo>
                    <a:cubicBezTo>
                      <a:pt x="571214" y="73076"/>
                      <a:pt x="576192" y="75775"/>
                      <a:pt x="577298" y="76854"/>
                    </a:cubicBezTo>
                    <a:cubicBezTo>
                      <a:pt x="580064" y="78474"/>
                      <a:pt x="583382" y="79553"/>
                      <a:pt x="586148" y="81172"/>
                    </a:cubicBezTo>
                    <a:cubicBezTo>
                      <a:pt x="587807" y="82252"/>
                      <a:pt x="599975" y="94126"/>
                      <a:pt x="602187" y="96284"/>
                    </a:cubicBezTo>
                    <a:cubicBezTo>
                      <a:pt x="604400" y="98983"/>
                      <a:pt x="606612" y="102221"/>
                      <a:pt x="607718" y="105460"/>
                    </a:cubicBezTo>
                    <a:cubicBezTo>
                      <a:pt x="607165" y="105999"/>
                      <a:pt x="602740" y="108158"/>
                      <a:pt x="602187" y="108698"/>
                    </a:cubicBezTo>
                    <a:cubicBezTo>
                      <a:pt x="601634" y="108698"/>
                      <a:pt x="598869" y="108158"/>
                      <a:pt x="597763" y="108158"/>
                    </a:cubicBezTo>
                    <a:cubicBezTo>
                      <a:pt x="596103" y="107619"/>
                      <a:pt x="582829" y="107079"/>
                      <a:pt x="582276" y="106539"/>
                    </a:cubicBezTo>
                    <a:cubicBezTo>
                      <a:pt x="581170" y="106539"/>
                      <a:pt x="581170" y="104380"/>
                      <a:pt x="580617" y="103301"/>
                    </a:cubicBezTo>
                    <a:cubicBezTo>
                      <a:pt x="579510" y="101682"/>
                      <a:pt x="576745" y="98983"/>
                      <a:pt x="577298" y="96824"/>
                    </a:cubicBezTo>
                    <a:cubicBezTo>
                      <a:pt x="577851" y="96284"/>
                      <a:pt x="579510" y="94665"/>
                      <a:pt x="579510" y="94126"/>
                    </a:cubicBezTo>
                    <a:cubicBezTo>
                      <a:pt x="582829" y="93586"/>
                      <a:pt x="586148" y="96284"/>
                      <a:pt x="589466" y="95745"/>
                    </a:cubicBezTo>
                    <a:lnTo>
                      <a:pt x="590572" y="94126"/>
                    </a:lnTo>
                    <a:close/>
                    <a:moveTo>
                      <a:pt x="544666" y="53107"/>
                    </a:moveTo>
                    <a:cubicBezTo>
                      <a:pt x="538582" y="50948"/>
                      <a:pt x="532498" y="63361"/>
                      <a:pt x="526967" y="60123"/>
                    </a:cubicBezTo>
                    <a:cubicBezTo>
                      <a:pt x="525861" y="59583"/>
                      <a:pt x="521989" y="55805"/>
                      <a:pt x="520883" y="54726"/>
                    </a:cubicBezTo>
                    <a:cubicBezTo>
                      <a:pt x="520330" y="53646"/>
                      <a:pt x="519777" y="52027"/>
                      <a:pt x="519223" y="50948"/>
                    </a:cubicBezTo>
                    <a:cubicBezTo>
                      <a:pt x="517564" y="47170"/>
                      <a:pt x="514799" y="44471"/>
                      <a:pt x="513139" y="40693"/>
                    </a:cubicBezTo>
                    <a:cubicBezTo>
                      <a:pt x="512586" y="39074"/>
                      <a:pt x="512586" y="33677"/>
                      <a:pt x="514246" y="32057"/>
                    </a:cubicBezTo>
                    <a:cubicBezTo>
                      <a:pt x="515352" y="30438"/>
                      <a:pt x="519223" y="28819"/>
                      <a:pt x="520330" y="26660"/>
                    </a:cubicBezTo>
                    <a:cubicBezTo>
                      <a:pt x="521989" y="22882"/>
                      <a:pt x="518670" y="18025"/>
                      <a:pt x="524201" y="15866"/>
                    </a:cubicBezTo>
                    <a:cubicBezTo>
                      <a:pt x="538029" y="10468"/>
                      <a:pt x="528626" y="21803"/>
                      <a:pt x="536922" y="24501"/>
                    </a:cubicBezTo>
                    <a:cubicBezTo>
                      <a:pt x="539688" y="25041"/>
                      <a:pt x="547431" y="22882"/>
                      <a:pt x="547984" y="24501"/>
                    </a:cubicBezTo>
                    <a:cubicBezTo>
                      <a:pt x="548537" y="26660"/>
                      <a:pt x="546325" y="36375"/>
                      <a:pt x="547431" y="39074"/>
                    </a:cubicBezTo>
                    <a:cubicBezTo>
                      <a:pt x="548537" y="42312"/>
                      <a:pt x="554068" y="46090"/>
                      <a:pt x="555728" y="48789"/>
                    </a:cubicBezTo>
                    <a:cubicBezTo>
                      <a:pt x="556281" y="49868"/>
                      <a:pt x="555728" y="53107"/>
                      <a:pt x="555174" y="54186"/>
                    </a:cubicBezTo>
                    <a:cubicBezTo>
                      <a:pt x="552409" y="57424"/>
                      <a:pt x="546325" y="56885"/>
                      <a:pt x="544666" y="53107"/>
                    </a:cubicBezTo>
                    <a:close/>
                    <a:moveTo>
                      <a:pt x="341681" y="897234"/>
                    </a:moveTo>
                    <a:lnTo>
                      <a:pt x="322323" y="872946"/>
                    </a:lnTo>
                    <a:lnTo>
                      <a:pt x="311261" y="869708"/>
                    </a:lnTo>
                    <a:lnTo>
                      <a:pt x="307389" y="864850"/>
                    </a:lnTo>
                    <a:lnTo>
                      <a:pt x="297987" y="868629"/>
                    </a:lnTo>
                    <a:lnTo>
                      <a:pt x="289690" y="871327"/>
                    </a:lnTo>
                    <a:lnTo>
                      <a:pt x="269779" y="862152"/>
                    </a:lnTo>
                    <a:lnTo>
                      <a:pt x="257611" y="859453"/>
                    </a:lnTo>
                    <a:lnTo>
                      <a:pt x="232722" y="855135"/>
                    </a:lnTo>
                    <a:cubicBezTo>
                      <a:pt x="230509" y="854596"/>
                      <a:pt x="227191" y="854056"/>
                      <a:pt x="225532" y="853516"/>
                    </a:cubicBezTo>
                    <a:lnTo>
                      <a:pt x="210045" y="842182"/>
                    </a:lnTo>
                    <a:lnTo>
                      <a:pt x="198430" y="848119"/>
                    </a:lnTo>
                    <a:lnTo>
                      <a:pt x="192899" y="854056"/>
                    </a:lnTo>
                    <a:lnTo>
                      <a:pt x="201749" y="859453"/>
                    </a:lnTo>
                    <a:lnTo>
                      <a:pt x="204514" y="862692"/>
                    </a:lnTo>
                    <a:cubicBezTo>
                      <a:pt x="203961" y="863771"/>
                      <a:pt x="202855" y="865930"/>
                      <a:pt x="201196" y="865930"/>
                    </a:cubicBezTo>
                    <a:cubicBezTo>
                      <a:pt x="197324" y="866470"/>
                      <a:pt x="191240" y="864850"/>
                      <a:pt x="187368" y="864311"/>
                    </a:cubicBezTo>
                    <a:cubicBezTo>
                      <a:pt x="184050" y="864311"/>
                      <a:pt x="179072" y="864850"/>
                      <a:pt x="175753" y="864850"/>
                    </a:cubicBezTo>
                    <a:cubicBezTo>
                      <a:pt x="172988" y="864850"/>
                      <a:pt x="168563" y="864850"/>
                      <a:pt x="166351" y="865390"/>
                    </a:cubicBezTo>
                    <a:cubicBezTo>
                      <a:pt x="162479" y="866470"/>
                      <a:pt x="156948" y="870787"/>
                      <a:pt x="153077" y="871327"/>
                    </a:cubicBezTo>
                    <a:cubicBezTo>
                      <a:pt x="146439" y="872407"/>
                      <a:pt x="134824" y="871327"/>
                      <a:pt x="128187" y="870248"/>
                    </a:cubicBezTo>
                    <a:cubicBezTo>
                      <a:pt x="127081" y="870248"/>
                      <a:pt x="125975" y="868629"/>
                      <a:pt x="125422" y="868089"/>
                    </a:cubicBezTo>
                    <a:cubicBezTo>
                      <a:pt x="125975" y="865930"/>
                      <a:pt x="118785" y="858374"/>
                      <a:pt x="119338" y="854596"/>
                    </a:cubicBezTo>
                    <a:cubicBezTo>
                      <a:pt x="119338" y="847040"/>
                      <a:pt x="122656" y="839483"/>
                      <a:pt x="123763" y="832467"/>
                    </a:cubicBezTo>
                    <a:cubicBezTo>
                      <a:pt x="123763" y="829768"/>
                      <a:pt x="123210" y="827070"/>
                      <a:pt x="123210" y="824371"/>
                    </a:cubicBezTo>
                    <a:cubicBezTo>
                      <a:pt x="123210" y="817895"/>
                      <a:pt x="123210" y="810878"/>
                      <a:pt x="124869" y="804941"/>
                    </a:cubicBezTo>
                    <a:cubicBezTo>
                      <a:pt x="126528" y="795766"/>
                      <a:pt x="132612" y="788749"/>
                      <a:pt x="135378" y="780654"/>
                    </a:cubicBezTo>
                    <a:cubicBezTo>
                      <a:pt x="137590" y="774717"/>
                      <a:pt x="134271" y="768780"/>
                      <a:pt x="134824" y="763382"/>
                    </a:cubicBezTo>
                    <a:cubicBezTo>
                      <a:pt x="135378" y="759065"/>
                      <a:pt x="140355" y="743952"/>
                      <a:pt x="142568" y="740714"/>
                    </a:cubicBezTo>
                    <a:cubicBezTo>
                      <a:pt x="147546" y="734777"/>
                      <a:pt x="154183" y="729920"/>
                      <a:pt x="159161" y="724522"/>
                    </a:cubicBezTo>
                    <a:cubicBezTo>
                      <a:pt x="163585" y="719125"/>
                      <a:pt x="166904" y="712109"/>
                      <a:pt x="171329" y="706712"/>
                    </a:cubicBezTo>
                    <a:lnTo>
                      <a:pt x="148099" y="694298"/>
                    </a:lnTo>
                    <a:lnTo>
                      <a:pt x="139802" y="696457"/>
                    </a:lnTo>
                    <a:lnTo>
                      <a:pt x="127081" y="693218"/>
                    </a:lnTo>
                    <a:lnTo>
                      <a:pt x="116019" y="681884"/>
                    </a:lnTo>
                    <a:lnTo>
                      <a:pt x="111042" y="683503"/>
                    </a:lnTo>
                    <a:lnTo>
                      <a:pt x="88918" y="689980"/>
                    </a:lnTo>
                    <a:lnTo>
                      <a:pt x="71219" y="674328"/>
                    </a:lnTo>
                    <a:lnTo>
                      <a:pt x="64029" y="682964"/>
                    </a:lnTo>
                    <a:lnTo>
                      <a:pt x="52967" y="677027"/>
                    </a:lnTo>
                    <a:lnTo>
                      <a:pt x="44670" y="656517"/>
                    </a:lnTo>
                    <a:lnTo>
                      <a:pt x="41352" y="650041"/>
                    </a:lnTo>
                    <a:lnTo>
                      <a:pt x="24206" y="641945"/>
                    </a:lnTo>
                    <a:lnTo>
                      <a:pt x="29184" y="632230"/>
                    </a:lnTo>
                    <a:cubicBezTo>
                      <a:pt x="31949" y="626832"/>
                      <a:pt x="34715" y="621435"/>
                      <a:pt x="38586" y="617117"/>
                    </a:cubicBezTo>
                    <a:lnTo>
                      <a:pt x="39693" y="607402"/>
                    </a:lnTo>
                    <a:lnTo>
                      <a:pt x="24206" y="603085"/>
                    </a:lnTo>
                    <a:lnTo>
                      <a:pt x="15357" y="594449"/>
                    </a:lnTo>
                    <a:lnTo>
                      <a:pt x="9826" y="582575"/>
                    </a:lnTo>
                    <a:lnTo>
                      <a:pt x="11485" y="566383"/>
                    </a:lnTo>
                    <a:lnTo>
                      <a:pt x="15910" y="556129"/>
                    </a:lnTo>
                    <a:lnTo>
                      <a:pt x="20888" y="552351"/>
                    </a:lnTo>
                    <a:lnTo>
                      <a:pt x="30290" y="548573"/>
                    </a:lnTo>
                    <a:lnTo>
                      <a:pt x="32502" y="542636"/>
                    </a:lnTo>
                    <a:lnTo>
                      <a:pt x="30843" y="537238"/>
                    </a:lnTo>
                    <a:lnTo>
                      <a:pt x="29184" y="530222"/>
                    </a:lnTo>
                    <a:lnTo>
                      <a:pt x="17016" y="525904"/>
                    </a:lnTo>
                    <a:lnTo>
                      <a:pt x="13697" y="518888"/>
                    </a:lnTo>
                    <a:lnTo>
                      <a:pt x="23100" y="514030"/>
                    </a:lnTo>
                    <a:lnTo>
                      <a:pt x="16463" y="504855"/>
                    </a:lnTo>
                    <a:lnTo>
                      <a:pt x="8719" y="501077"/>
                    </a:lnTo>
                    <a:lnTo>
                      <a:pt x="3742" y="493521"/>
                    </a:lnTo>
                    <a:lnTo>
                      <a:pt x="10379" y="471932"/>
                    </a:lnTo>
                    <a:lnTo>
                      <a:pt x="-683" y="467614"/>
                    </a:lnTo>
                    <a:lnTo>
                      <a:pt x="2635" y="458979"/>
                    </a:lnTo>
                    <a:lnTo>
                      <a:pt x="15357" y="450343"/>
                    </a:lnTo>
                    <a:lnTo>
                      <a:pt x="14250" y="440088"/>
                    </a:lnTo>
                    <a:lnTo>
                      <a:pt x="20888" y="417420"/>
                    </a:lnTo>
                    <a:lnTo>
                      <a:pt x="8166" y="373702"/>
                    </a:lnTo>
                    <a:lnTo>
                      <a:pt x="-130" y="372083"/>
                    </a:lnTo>
                    <a:lnTo>
                      <a:pt x="13697" y="359130"/>
                    </a:lnTo>
                    <a:lnTo>
                      <a:pt x="32502" y="366146"/>
                    </a:lnTo>
                    <a:lnTo>
                      <a:pt x="41905" y="362368"/>
                    </a:lnTo>
                    <a:lnTo>
                      <a:pt x="50754" y="358590"/>
                    </a:lnTo>
                    <a:lnTo>
                      <a:pt x="61816" y="360209"/>
                    </a:lnTo>
                    <a:lnTo>
                      <a:pt x="66241" y="347796"/>
                    </a:lnTo>
                    <a:lnTo>
                      <a:pt x="58498" y="340779"/>
                    </a:lnTo>
                    <a:lnTo>
                      <a:pt x="61816" y="335382"/>
                    </a:lnTo>
                    <a:lnTo>
                      <a:pt x="76750" y="323508"/>
                    </a:lnTo>
                    <a:lnTo>
                      <a:pt x="78962" y="318111"/>
                    </a:lnTo>
                    <a:lnTo>
                      <a:pt x="81175" y="297601"/>
                    </a:lnTo>
                    <a:lnTo>
                      <a:pt x="57392" y="292744"/>
                    </a:lnTo>
                    <a:lnTo>
                      <a:pt x="61263" y="270615"/>
                    </a:lnTo>
                    <a:lnTo>
                      <a:pt x="79515" y="274393"/>
                    </a:lnTo>
                    <a:lnTo>
                      <a:pt x="90024" y="240930"/>
                    </a:lnTo>
                    <a:lnTo>
                      <a:pt x="95555" y="229056"/>
                    </a:lnTo>
                    <a:lnTo>
                      <a:pt x="91683" y="199372"/>
                    </a:lnTo>
                    <a:lnTo>
                      <a:pt x="93343" y="199372"/>
                    </a:lnTo>
                    <a:cubicBezTo>
                      <a:pt x="96661" y="197213"/>
                      <a:pt x="99427" y="195594"/>
                      <a:pt x="100533" y="190736"/>
                    </a:cubicBezTo>
                    <a:cubicBezTo>
                      <a:pt x="98320" y="185879"/>
                      <a:pt x="86705" y="183720"/>
                      <a:pt x="85599" y="178322"/>
                    </a:cubicBezTo>
                    <a:cubicBezTo>
                      <a:pt x="85599" y="174005"/>
                      <a:pt x="88365" y="174005"/>
                      <a:pt x="89471" y="172385"/>
                    </a:cubicBezTo>
                    <a:cubicBezTo>
                      <a:pt x="91683" y="168068"/>
                      <a:pt x="91130" y="158892"/>
                      <a:pt x="95002" y="155654"/>
                    </a:cubicBezTo>
                    <a:cubicBezTo>
                      <a:pt x="98320" y="152955"/>
                      <a:pt x="106617" y="149177"/>
                      <a:pt x="111595" y="148098"/>
                    </a:cubicBezTo>
                    <a:cubicBezTo>
                      <a:pt x="118785" y="147018"/>
                      <a:pt x="149205" y="143240"/>
                      <a:pt x="154183" y="147558"/>
                    </a:cubicBezTo>
                    <a:cubicBezTo>
                      <a:pt x="162479" y="156194"/>
                      <a:pt x="155842" y="171306"/>
                      <a:pt x="159714" y="176163"/>
                    </a:cubicBezTo>
                    <a:cubicBezTo>
                      <a:pt x="163585" y="177243"/>
                      <a:pt x="173541" y="181561"/>
                      <a:pt x="176306" y="177243"/>
                    </a:cubicBezTo>
                    <a:cubicBezTo>
                      <a:pt x="176859" y="176163"/>
                      <a:pt x="177966" y="172385"/>
                      <a:pt x="177966" y="171306"/>
                    </a:cubicBezTo>
                    <a:cubicBezTo>
                      <a:pt x="177966" y="166988"/>
                      <a:pt x="175200" y="164829"/>
                      <a:pt x="175753" y="159972"/>
                    </a:cubicBezTo>
                    <a:cubicBezTo>
                      <a:pt x="177966" y="156733"/>
                      <a:pt x="186262" y="158353"/>
                      <a:pt x="188474" y="161051"/>
                    </a:cubicBezTo>
                    <a:cubicBezTo>
                      <a:pt x="189581" y="161051"/>
                      <a:pt x="191240" y="161591"/>
                      <a:pt x="192346" y="161051"/>
                    </a:cubicBezTo>
                    <a:cubicBezTo>
                      <a:pt x="192899" y="160512"/>
                      <a:pt x="192899" y="157813"/>
                      <a:pt x="192899" y="157273"/>
                    </a:cubicBezTo>
                    <a:cubicBezTo>
                      <a:pt x="192899" y="155114"/>
                      <a:pt x="190687" y="152955"/>
                      <a:pt x="190687" y="150797"/>
                    </a:cubicBezTo>
                    <a:cubicBezTo>
                      <a:pt x="190134" y="145399"/>
                      <a:pt x="197877" y="127588"/>
                      <a:pt x="203408" y="127049"/>
                    </a:cubicBezTo>
                    <a:cubicBezTo>
                      <a:pt x="207280" y="127049"/>
                      <a:pt x="211151" y="128668"/>
                      <a:pt x="215023" y="128668"/>
                    </a:cubicBezTo>
                    <a:cubicBezTo>
                      <a:pt x="223872" y="129747"/>
                      <a:pt x="230509" y="128668"/>
                      <a:pt x="239359" y="131906"/>
                    </a:cubicBezTo>
                    <a:cubicBezTo>
                      <a:pt x="245443" y="134605"/>
                      <a:pt x="248761" y="145399"/>
                      <a:pt x="254845" y="148638"/>
                    </a:cubicBezTo>
                    <a:cubicBezTo>
                      <a:pt x="257611" y="150797"/>
                      <a:pt x="266460" y="151876"/>
                      <a:pt x="270332" y="152416"/>
                    </a:cubicBezTo>
                    <a:cubicBezTo>
                      <a:pt x="272544" y="150257"/>
                      <a:pt x="273651" y="146479"/>
                      <a:pt x="271991" y="144320"/>
                    </a:cubicBezTo>
                    <a:cubicBezTo>
                      <a:pt x="271438" y="143780"/>
                      <a:pt x="270332" y="143240"/>
                      <a:pt x="269226" y="142701"/>
                    </a:cubicBezTo>
                    <a:cubicBezTo>
                      <a:pt x="264801" y="138923"/>
                      <a:pt x="245443" y="118413"/>
                      <a:pt x="241018" y="117334"/>
                    </a:cubicBezTo>
                    <a:cubicBezTo>
                      <a:pt x="234381" y="115175"/>
                      <a:pt x="227191" y="116254"/>
                      <a:pt x="221107" y="114095"/>
                    </a:cubicBezTo>
                    <a:cubicBezTo>
                      <a:pt x="219448" y="113556"/>
                      <a:pt x="216682" y="111397"/>
                      <a:pt x="216129" y="109778"/>
                    </a:cubicBezTo>
                    <a:cubicBezTo>
                      <a:pt x="216129" y="108698"/>
                      <a:pt x="217235" y="105460"/>
                      <a:pt x="218341" y="104920"/>
                    </a:cubicBezTo>
                    <a:cubicBezTo>
                      <a:pt x="218894" y="103841"/>
                      <a:pt x="222766" y="104380"/>
                      <a:pt x="223872" y="103841"/>
                    </a:cubicBezTo>
                    <a:cubicBezTo>
                      <a:pt x="224425" y="102761"/>
                      <a:pt x="224978" y="98983"/>
                      <a:pt x="224425" y="97904"/>
                    </a:cubicBezTo>
                    <a:cubicBezTo>
                      <a:pt x="223319" y="89268"/>
                      <a:pt x="214470" y="96824"/>
                      <a:pt x="208386" y="86030"/>
                    </a:cubicBezTo>
                    <a:lnTo>
                      <a:pt x="208939" y="83331"/>
                    </a:lnTo>
                    <a:cubicBezTo>
                      <a:pt x="210045" y="81712"/>
                      <a:pt x="215023" y="81712"/>
                      <a:pt x="217235" y="80632"/>
                    </a:cubicBezTo>
                    <a:cubicBezTo>
                      <a:pt x="221107" y="78474"/>
                      <a:pt x="224425" y="71997"/>
                      <a:pt x="217788" y="70378"/>
                    </a:cubicBezTo>
                    <a:cubicBezTo>
                      <a:pt x="211704" y="69298"/>
                      <a:pt x="207833" y="75235"/>
                      <a:pt x="202855" y="74696"/>
                    </a:cubicBezTo>
                    <a:cubicBezTo>
                      <a:pt x="190687" y="64980"/>
                      <a:pt x="217788" y="58504"/>
                      <a:pt x="221107" y="53646"/>
                    </a:cubicBezTo>
                    <a:cubicBezTo>
                      <a:pt x="222213" y="52567"/>
                      <a:pt x="223319" y="47709"/>
                      <a:pt x="223319" y="46630"/>
                    </a:cubicBezTo>
                    <a:cubicBezTo>
                      <a:pt x="222766" y="37455"/>
                      <a:pt x="215576" y="36375"/>
                      <a:pt x="210598" y="30978"/>
                    </a:cubicBezTo>
                    <a:cubicBezTo>
                      <a:pt x="202855" y="22342"/>
                      <a:pt x="200642" y="10468"/>
                      <a:pt x="198983" y="-326"/>
                    </a:cubicBezTo>
                    <a:lnTo>
                      <a:pt x="226085" y="3992"/>
                    </a:lnTo>
                    <a:lnTo>
                      <a:pt x="243784" y="12627"/>
                    </a:lnTo>
                    <a:lnTo>
                      <a:pt x="257058" y="9929"/>
                    </a:lnTo>
                    <a:cubicBezTo>
                      <a:pt x="259823" y="9929"/>
                      <a:pt x="268120" y="10468"/>
                      <a:pt x="270332" y="11548"/>
                    </a:cubicBezTo>
                    <a:cubicBezTo>
                      <a:pt x="273651" y="12627"/>
                      <a:pt x="274757" y="15326"/>
                      <a:pt x="277522" y="16945"/>
                    </a:cubicBezTo>
                    <a:cubicBezTo>
                      <a:pt x="281394" y="18564"/>
                      <a:pt x="283053" y="13707"/>
                      <a:pt x="285819" y="15326"/>
                    </a:cubicBezTo>
                    <a:cubicBezTo>
                      <a:pt x="286372" y="15326"/>
                      <a:pt x="291903" y="21263"/>
                      <a:pt x="291903" y="21803"/>
                    </a:cubicBezTo>
                    <a:cubicBezTo>
                      <a:pt x="293009" y="25581"/>
                      <a:pt x="287478" y="27200"/>
                      <a:pt x="285819" y="28279"/>
                    </a:cubicBezTo>
                    <a:cubicBezTo>
                      <a:pt x="285266" y="28819"/>
                      <a:pt x="284712" y="29898"/>
                      <a:pt x="284159" y="30438"/>
                    </a:cubicBezTo>
                    <a:cubicBezTo>
                      <a:pt x="283053" y="31518"/>
                      <a:pt x="281394" y="30978"/>
                      <a:pt x="282500" y="33137"/>
                    </a:cubicBezTo>
                    <a:cubicBezTo>
                      <a:pt x="285266" y="34216"/>
                      <a:pt x="293009" y="31518"/>
                      <a:pt x="294115" y="33137"/>
                    </a:cubicBezTo>
                    <a:cubicBezTo>
                      <a:pt x="294668" y="33677"/>
                      <a:pt x="294115" y="36915"/>
                      <a:pt x="293562" y="37994"/>
                    </a:cubicBezTo>
                    <a:cubicBezTo>
                      <a:pt x="291903" y="42852"/>
                      <a:pt x="280841" y="46630"/>
                      <a:pt x="281947" y="49868"/>
                    </a:cubicBezTo>
                    <a:cubicBezTo>
                      <a:pt x="282500" y="51487"/>
                      <a:pt x="293562" y="55265"/>
                      <a:pt x="295221" y="54186"/>
                    </a:cubicBezTo>
                    <a:cubicBezTo>
                      <a:pt x="298540" y="53107"/>
                      <a:pt x="298540" y="48249"/>
                      <a:pt x="303518" y="50948"/>
                    </a:cubicBezTo>
                    <a:cubicBezTo>
                      <a:pt x="307942" y="53107"/>
                      <a:pt x="306283" y="60123"/>
                      <a:pt x="311261" y="59044"/>
                    </a:cubicBezTo>
                    <a:cubicBezTo>
                      <a:pt x="313473" y="58504"/>
                      <a:pt x="313473" y="51487"/>
                      <a:pt x="320663" y="54726"/>
                    </a:cubicBezTo>
                    <a:cubicBezTo>
                      <a:pt x="324535" y="56345"/>
                      <a:pt x="339469" y="68759"/>
                      <a:pt x="342234" y="68219"/>
                    </a:cubicBezTo>
                    <a:cubicBezTo>
                      <a:pt x="343340" y="67679"/>
                      <a:pt x="343893" y="66600"/>
                      <a:pt x="344999" y="66060"/>
                    </a:cubicBezTo>
                    <a:cubicBezTo>
                      <a:pt x="347765" y="64441"/>
                      <a:pt x="350530" y="64980"/>
                      <a:pt x="353296" y="63361"/>
                    </a:cubicBezTo>
                    <a:cubicBezTo>
                      <a:pt x="355508" y="62282"/>
                      <a:pt x="359380" y="57424"/>
                      <a:pt x="361039" y="56885"/>
                    </a:cubicBezTo>
                    <a:cubicBezTo>
                      <a:pt x="362698" y="56345"/>
                      <a:pt x="364358" y="57424"/>
                      <a:pt x="364911" y="56885"/>
                    </a:cubicBezTo>
                    <a:cubicBezTo>
                      <a:pt x="366017" y="56345"/>
                      <a:pt x="366017" y="56345"/>
                      <a:pt x="366570" y="55805"/>
                    </a:cubicBezTo>
                    <a:cubicBezTo>
                      <a:pt x="367676" y="57964"/>
                      <a:pt x="369336" y="65520"/>
                      <a:pt x="368782" y="67139"/>
                    </a:cubicBezTo>
                    <a:cubicBezTo>
                      <a:pt x="368782" y="70917"/>
                      <a:pt x="364358" y="81712"/>
                      <a:pt x="362698" y="84950"/>
                    </a:cubicBezTo>
                    <a:cubicBezTo>
                      <a:pt x="360486" y="88728"/>
                      <a:pt x="351083" y="97904"/>
                      <a:pt x="351637" y="102221"/>
                    </a:cubicBezTo>
                    <a:cubicBezTo>
                      <a:pt x="352190" y="104380"/>
                      <a:pt x="354955" y="107079"/>
                      <a:pt x="357721" y="108158"/>
                    </a:cubicBezTo>
                    <a:cubicBezTo>
                      <a:pt x="392565" y="95745"/>
                      <a:pt x="385375" y="110857"/>
                      <a:pt x="397543" y="111397"/>
                    </a:cubicBezTo>
                    <a:cubicBezTo>
                      <a:pt x="398096" y="111397"/>
                      <a:pt x="400309" y="109778"/>
                      <a:pt x="400862" y="109238"/>
                    </a:cubicBezTo>
                    <a:cubicBezTo>
                      <a:pt x="402521" y="107079"/>
                      <a:pt x="402521" y="103841"/>
                      <a:pt x="404180" y="101682"/>
                    </a:cubicBezTo>
                    <a:cubicBezTo>
                      <a:pt x="408605" y="93586"/>
                      <a:pt x="414689" y="84411"/>
                      <a:pt x="424092" y="80632"/>
                    </a:cubicBezTo>
                    <a:cubicBezTo>
                      <a:pt x="425198" y="80093"/>
                      <a:pt x="426857" y="80632"/>
                      <a:pt x="428516" y="80632"/>
                    </a:cubicBezTo>
                    <a:cubicBezTo>
                      <a:pt x="429623" y="80093"/>
                      <a:pt x="430176" y="79013"/>
                      <a:pt x="431282" y="79013"/>
                    </a:cubicBezTo>
                    <a:cubicBezTo>
                      <a:pt x="434600" y="78474"/>
                      <a:pt x="437919" y="79553"/>
                      <a:pt x="441237" y="78474"/>
                    </a:cubicBezTo>
                    <a:cubicBezTo>
                      <a:pt x="447875" y="76315"/>
                      <a:pt x="463914" y="48789"/>
                      <a:pt x="469998" y="43392"/>
                    </a:cubicBezTo>
                    <a:cubicBezTo>
                      <a:pt x="471104" y="42312"/>
                      <a:pt x="475529" y="40693"/>
                      <a:pt x="477188" y="40153"/>
                    </a:cubicBezTo>
                    <a:cubicBezTo>
                      <a:pt x="478848" y="40153"/>
                      <a:pt x="480507" y="40693"/>
                      <a:pt x="482166" y="40693"/>
                    </a:cubicBezTo>
                    <a:cubicBezTo>
                      <a:pt x="483826" y="40693"/>
                      <a:pt x="502078" y="38534"/>
                      <a:pt x="495994" y="44471"/>
                    </a:cubicBezTo>
                    <a:cubicBezTo>
                      <a:pt x="491569" y="48789"/>
                      <a:pt x="481060" y="45011"/>
                      <a:pt x="477742" y="48249"/>
                    </a:cubicBezTo>
                    <a:lnTo>
                      <a:pt x="478295" y="52027"/>
                    </a:lnTo>
                    <a:cubicBezTo>
                      <a:pt x="478848" y="52567"/>
                      <a:pt x="480507" y="53646"/>
                      <a:pt x="481613" y="53646"/>
                    </a:cubicBezTo>
                    <a:cubicBezTo>
                      <a:pt x="482719" y="53646"/>
                      <a:pt x="486591" y="52027"/>
                      <a:pt x="488250" y="52027"/>
                    </a:cubicBezTo>
                    <a:cubicBezTo>
                      <a:pt x="491569" y="51487"/>
                      <a:pt x="502631" y="51487"/>
                      <a:pt x="504843" y="52567"/>
                    </a:cubicBezTo>
                    <a:cubicBezTo>
                      <a:pt x="505396" y="52567"/>
                      <a:pt x="513139" y="63901"/>
                      <a:pt x="518670" y="66600"/>
                    </a:cubicBezTo>
                    <a:cubicBezTo>
                      <a:pt x="523095" y="68219"/>
                      <a:pt x="546325" y="75775"/>
                      <a:pt x="550197" y="75775"/>
                    </a:cubicBezTo>
                    <a:cubicBezTo>
                      <a:pt x="552409" y="76315"/>
                      <a:pt x="553515" y="72537"/>
                      <a:pt x="556281" y="75775"/>
                    </a:cubicBezTo>
                    <a:cubicBezTo>
                      <a:pt x="556834" y="76315"/>
                      <a:pt x="557387" y="78474"/>
                      <a:pt x="557940" y="79553"/>
                    </a:cubicBezTo>
                    <a:cubicBezTo>
                      <a:pt x="558493" y="81172"/>
                      <a:pt x="560152" y="82791"/>
                      <a:pt x="560705" y="84411"/>
                    </a:cubicBezTo>
                    <a:cubicBezTo>
                      <a:pt x="562918" y="89808"/>
                      <a:pt x="563471" y="95745"/>
                      <a:pt x="566236" y="100602"/>
                    </a:cubicBezTo>
                    <a:cubicBezTo>
                      <a:pt x="567342" y="102221"/>
                      <a:pt x="576192" y="114635"/>
                      <a:pt x="577298" y="115175"/>
                    </a:cubicBezTo>
                    <a:lnTo>
                      <a:pt x="579510" y="116254"/>
                    </a:lnTo>
                    <a:cubicBezTo>
                      <a:pt x="580064" y="116794"/>
                      <a:pt x="597209" y="118953"/>
                      <a:pt x="599422" y="119493"/>
                    </a:cubicBezTo>
                    <a:lnTo>
                      <a:pt x="599422" y="126509"/>
                    </a:lnTo>
                    <a:lnTo>
                      <a:pt x="611590" y="165909"/>
                    </a:lnTo>
                    <a:lnTo>
                      <a:pt x="614908" y="176703"/>
                    </a:lnTo>
                    <a:lnTo>
                      <a:pt x="611590" y="199372"/>
                    </a:lnTo>
                    <a:cubicBezTo>
                      <a:pt x="607718" y="204769"/>
                      <a:pt x="599975" y="207467"/>
                      <a:pt x="599422" y="214484"/>
                    </a:cubicBezTo>
                    <a:cubicBezTo>
                      <a:pt x="599422" y="216103"/>
                      <a:pt x="600528" y="217182"/>
                      <a:pt x="601081" y="218802"/>
                    </a:cubicBezTo>
                    <a:cubicBezTo>
                      <a:pt x="601634" y="220961"/>
                      <a:pt x="601081" y="223119"/>
                      <a:pt x="601634" y="225278"/>
                    </a:cubicBezTo>
                    <a:cubicBezTo>
                      <a:pt x="604400" y="231755"/>
                      <a:pt x="637032" y="241470"/>
                      <a:pt x="639798" y="250645"/>
                    </a:cubicBezTo>
                    <a:cubicBezTo>
                      <a:pt x="643669" y="260900"/>
                      <a:pt x="636479" y="273314"/>
                      <a:pt x="639798" y="283568"/>
                    </a:cubicBezTo>
                    <a:cubicBezTo>
                      <a:pt x="641457" y="288426"/>
                      <a:pt x="650306" y="290585"/>
                      <a:pt x="652519" y="294363"/>
                    </a:cubicBezTo>
                    <a:cubicBezTo>
                      <a:pt x="654731" y="298681"/>
                      <a:pt x="648094" y="305157"/>
                      <a:pt x="655284" y="307856"/>
                    </a:cubicBezTo>
                    <a:lnTo>
                      <a:pt x="648647" y="344557"/>
                    </a:lnTo>
                    <a:lnTo>
                      <a:pt x="660262" y="361828"/>
                    </a:lnTo>
                    <a:lnTo>
                      <a:pt x="659156" y="371543"/>
                    </a:lnTo>
                    <a:lnTo>
                      <a:pt x="678514" y="385036"/>
                    </a:lnTo>
                    <a:lnTo>
                      <a:pt x="685151" y="417960"/>
                    </a:lnTo>
                    <a:lnTo>
                      <a:pt x="675748" y="450343"/>
                    </a:lnTo>
                    <a:lnTo>
                      <a:pt x="673536" y="457359"/>
                    </a:lnTo>
                    <a:lnTo>
                      <a:pt x="667452" y="460058"/>
                    </a:lnTo>
                    <a:lnTo>
                      <a:pt x="657496" y="453042"/>
                    </a:lnTo>
                    <a:lnTo>
                      <a:pt x="658603" y="441707"/>
                    </a:lnTo>
                    <a:lnTo>
                      <a:pt x="643116" y="436310"/>
                    </a:lnTo>
                    <a:lnTo>
                      <a:pt x="635373" y="438469"/>
                    </a:lnTo>
                    <a:lnTo>
                      <a:pt x="630395" y="443866"/>
                    </a:lnTo>
                    <a:lnTo>
                      <a:pt x="639798" y="454121"/>
                    </a:lnTo>
                    <a:lnTo>
                      <a:pt x="606612" y="470852"/>
                    </a:lnTo>
                    <a:lnTo>
                      <a:pt x="600528" y="482187"/>
                    </a:lnTo>
                    <a:lnTo>
                      <a:pt x="582276" y="484885"/>
                    </a:lnTo>
                    <a:lnTo>
                      <a:pt x="577298" y="493521"/>
                    </a:lnTo>
                    <a:lnTo>
                      <a:pt x="565683" y="492981"/>
                    </a:lnTo>
                    <a:lnTo>
                      <a:pt x="560705" y="504855"/>
                    </a:lnTo>
                    <a:lnTo>
                      <a:pt x="544666" y="508633"/>
                    </a:lnTo>
                    <a:lnTo>
                      <a:pt x="534710" y="521047"/>
                    </a:lnTo>
                    <a:lnTo>
                      <a:pt x="512586" y="522126"/>
                    </a:lnTo>
                    <a:lnTo>
                      <a:pt x="495994" y="533460"/>
                    </a:lnTo>
                    <a:lnTo>
                      <a:pt x="490463" y="543175"/>
                    </a:lnTo>
                    <a:lnTo>
                      <a:pt x="474423" y="532921"/>
                    </a:lnTo>
                    <a:lnTo>
                      <a:pt x="475529" y="544795"/>
                    </a:lnTo>
                    <a:lnTo>
                      <a:pt x="481060" y="556129"/>
                    </a:lnTo>
                    <a:lnTo>
                      <a:pt x="485485" y="560986"/>
                    </a:lnTo>
                    <a:lnTo>
                      <a:pt x="506502" y="584734"/>
                    </a:lnTo>
                    <a:lnTo>
                      <a:pt x="498759" y="605244"/>
                    </a:lnTo>
                    <a:lnTo>
                      <a:pt x="522542" y="645183"/>
                    </a:lnTo>
                    <a:lnTo>
                      <a:pt x="544113" y="647342"/>
                    </a:lnTo>
                    <a:lnTo>
                      <a:pt x="566789" y="668391"/>
                    </a:lnTo>
                    <a:lnTo>
                      <a:pt x="572873" y="673788"/>
                    </a:lnTo>
                    <a:lnTo>
                      <a:pt x="587254" y="682964"/>
                    </a:lnTo>
                    <a:lnTo>
                      <a:pt x="612696" y="694298"/>
                    </a:lnTo>
                    <a:lnTo>
                      <a:pt x="622099" y="704013"/>
                    </a:lnTo>
                    <a:lnTo>
                      <a:pt x="620439" y="720744"/>
                    </a:lnTo>
                    <a:lnTo>
                      <a:pt x="615461" y="737476"/>
                    </a:lnTo>
                    <a:cubicBezTo>
                      <a:pt x="607165" y="733698"/>
                      <a:pt x="600528" y="732079"/>
                      <a:pt x="591125" y="729920"/>
                    </a:cubicBezTo>
                    <a:cubicBezTo>
                      <a:pt x="590572" y="739635"/>
                      <a:pt x="591679" y="751509"/>
                      <a:pt x="582829" y="757985"/>
                    </a:cubicBezTo>
                    <a:cubicBezTo>
                      <a:pt x="579510" y="760684"/>
                      <a:pt x="574533" y="761224"/>
                      <a:pt x="570661" y="763382"/>
                    </a:cubicBezTo>
                    <a:cubicBezTo>
                      <a:pt x="562918" y="767161"/>
                      <a:pt x="559046" y="770939"/>
                      <a:pt x="550750" y="774177"/>
                    </a:cubicBezTo>
                    <a:lnTo>
                      <a:pt x="544666" y="785511"/>
                    </a:lnTo>
                    <a:lnTo>
                      <a:pt x="544666" y="794686"/>
                    </a:lnTo>
                    <a:lnTo>
                      <a:pt x="550750" y="802782"/>
                    </a:lnTo>
                    <a:lnTo>
                      <a:pt x="566789" y="821133"/>
                    </a:lnTo>
                    <a:lnTo>
                      <a:pt x="561258" y="835166"/>
                    </a:lnTo>
                    <a:lnTo>
                      <a:pt x="573426" y="836245"/>
                    </a:lnTo>
                    <a:lnTo>
                      <a:pt x="570661" y="856215"/>
                    </a:lnTo>
                    <a:lnTo>
                      <a:pt x="564577" y="864850"/>
                    </a:lnTo>
                    <a:lnTo>
                      <a:pt x="553515" y="859993"/>
                    </a:lnTo>
                    <a:lnTo>
                      <a:pt x="545772" y="846500"/>
                    </a:lnTo>
                    <a:lnTo>
                      <a:pt x="530838" y="849198"/>
                    </a:lnTo>
                    <a:lnTo>
                      <a:pt x="526967" y="849738"/>
                    </a:lnTo>
                    <a:lnTo>
                      <a:pt x="521436" y="842182"/>
                    </a:lnTo>
                    <a:lnTo>
                      <a:pt x="499865" y="843262"/>
                    </a:lnTo>
                    <a:cubicBezTo>
                      <a:pt x="498759" y="846500"/>
                      <a:pt x="495994" y="851897"/>
                      <a:pt x="494334" y="855135"/>
                    </a:cubicBezTo>
                    <a:lnTo>
                      <a:pt x="464467" y="858913"/>
                    </a:lnTo>
                    <a:lnTo>
                      <a:pt x="445662" y="868089"/>
                    </a:lnTo>
                    <a:lnTo>
                      <a:pt x="432941" y="880502"/>
                    </a:lnTo>
                    <a:lnTo>
                      <a:pt x="404180" y="886439"/>
                    </a:lnTo>
                    <a:lnTo>
                      <a:pt x="392565" y="871327"/>
                    </a:lnTo>
                    <a:lnTo>
                      <a:pt x="382610" y="870248"/>
                    </a:lnTo>
                    <a:lnTo>
                      <a:pt x="374866" y="865930"/>
                    </a:lnTo>
                    <a:lnTo>
                      <a:pt x="368782" y="866470"/>
                    </a:lnTo>
                    <a:lnTo>
                      <a:pt x="361592" y="869708"/>
                    </a:lnTo>
                    <a:lnTo>
                      <a:pt x="359933" y="883741"/>
                    </a:lnTo>
                    <a:lnTo>
                      <a:pt x="341681" y="897234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8" name="Freeform 1090">
                <a:extLst>
                  <a:ext uri="{FF2B5EF4-FFF2-40B4-BE49-F238E27FC236}">
                    <a16:creationId xmlns:a16="http://schemas.microsoft.com/office/drawing/2014/main" id="{DC0BCF11-F121-42FD-A19D-4FBD1289D39A}"/>
                  </a:ext>
                </a:extLst>
              </p:cNvPr>
              <p:cNvSpPr/>
              <p:nvPr/>
            </p:nvSpPr>
            <p:spPr>
              <a:xfrm>
                <a:off x="6530183" y="3774887"/>
                <a:ext cx="526543" cy="299546"/>
              </a:xfrm>
              <a:custGeom>
                <a:avLst/>
                <a:gdLst>
                  <a:gd name="connsiteX0" fmla="*/ 395281 w 526543"/>
                  <a:gd name="connsiteY0" fmla="*/ 256565 h 299546"/>
                  <a:gd name="connsiteX1" fmla="*/ 435657 w 526543"/>
                  <a:gd name="connsiteY1" fmla="*/ 256026 h 299546"/>
                  <a:gd name="connsiteX2" fmla="*/ 457228 w 526543"/>
                  <a:gd name="connsiteY2" fmla="*/ 249009 h 299546"/>
                  <a:gd name="connsiteX3" fmla="*/ 470502 w 526543"/>
                  <a:gd name="connsiteY3" fmla="*/ 251168 h 299546"/>
                  <a:gd name="connsiteX4" fmla="*/ 485435 w 526543"/>
                  <a:gd name="connsiteY4" fmla="*/ 227420 h 299546"/>
                  <a:gd name="connsiteX5" fmla="*/ 486542 w 526543"/>
                  <a:gd name="connsiteY5" fmla="*/ 217705 h 299546"/>
                  <a:gd name="connsiteX6" fmla="*/ 482117 w 526543"/>
                  <a:gd name="connsiteY6" fmla="*/ 195577 h 299546"/>
                  <a:gd name="connsiteX7" fmla="*/ 488201 w 526543"/>
                  <a:gd name="connsiteY7" fmla="*/ 171289 h 299546"/>
                  <a:gd name="connsiteX8" fmla="*/ 525811 w 526543"/>
                  <a:gd name="connsiteY8" fmla="*/ 127032 h 299546"/>
                  <a:gd name="connsiteX9" fmla="*/ 508665 w 526543"/>
                  <a:gd name="connsiteY9" fmla="*/ 116237 h 299546"/>
                  <a:gd name="connsiteX10" fmla="*/ 502028 w 526543"/>
                  <a:gd name="connsiteY10" fmla="*/ 103284 h 299546"/>
                  <a:gd name="connsiteX11" fmla="*/ 500369 w 526543"/>
                  <a:gd name="connsiteY11" fmla="*/ 95728 h 299546"/>
                  <a:gd name="connsiteX12" fmla="*/ 476586 w 526543"/>
                  <a:gd name="connsiteY12" fmla="*/ 97347 h 299546"/>
                  <a:gd name="connsiteX13" fmla="*/ 461652 w 526543"/>
                  <a:gd name="connsiteY13" fmla="*/ 88172 h 299546"/>
                  <a:gd name="connsiteX14" fmla="*/ 451697 w 526543"/>
                  <a:gd name="connsiteY14" fmla="*/ 94648 h 299546"/>
                  <a:gd name="connsiteX15" fmla="*/ 441741 w 526543"/>
                  <a:gd name="connsiteY15" fmla="*/ 92489 h 299546"/>
                  <a:gd name="connsiteX16" fmla="*/ 426255 w 526543"/>
                  <a:gd name="connsiteY16" fmla="*/ 80076 h 299546"/>
                  <a:gd name="connsiteX17" fmla="*/ 432339 w 526543"/>
                  <a:gd name="connsiteY17" fmla="*/ 71980 h 299546"/>
                  <a:gd name="connsiteX18" fmla="*/ 429020 w 526543"/>
                  <a:gd name="connsiteY18" fmla="*/ 61185 h 299546"/>
                  <a:gd name="connsiteX19" fmla="*/ 415746 w 526543"/>
                  <a:gd name="connsiteY19" fmla="*/ 69281 h 299546"/>
                  <a:gd name="connsiteX20" fmla="*/ 399153 w 526543"/>
                  <a:gd name="connsiteY20" fmla="*/ 65503 h 299546"/>
                  <a:gd name="connsiteX21" fmla="*/ 384773 w 526543"/>
                  <a:gd name="connsiteY21" fmla="*/ 56868 h 299546"/>
                  <a:gd name="connsiteX22" fmla="*/ 363202 w 526543"/>
                  <a:gd name="connsiteY22" fmla="*/ 54169 h 299546"/>
                  <a:gd name="connsiteX23" fmla="*/ 359884 w 526543"/>
                  <a:gd name="connsiteY23" fmla="*/ 62265 h 299546"/>
                  <a:gd name="connsiteX24" fmla="*/ 372605 w 526543"/>
                  <a:gd name="connsiteY24" fmla="*/ 68202 h 299546"/>
                  <a:gd name="connsiteX25" fmla="*/ 372605 w 526543"/>
                  <a:gd name="connsiteY25" fmla="*/ 73059 h 299546"/>
                  <a:gd name="connsiteX26" fmla="*/ 363202 w 526543"/>
                  <a:gd name="connsiteY26" fmla="*/ 80076 h 299546"/>
                  <a:gd name="connsiteX27" fmla="*/ 357671 w 526543"/>
                  <a:gd name="connsiteY27" fmla="*/ 90330 h 299546"/>
                  <a:gd name="connsiteX28" fmla="*/ 348822 w 526543"/>
                  <a:gd name="connsiteY28" fmla="*/ 88172 h 299546"/>
                  <a:gd name="connsiteX29" fmla="*/ 325039 w 526543"/>
                  <a:gd name="connsiteY29" fmla="*/ 65503 h 299546"/>
                  <a:gd name="connsiteX30" fmla="*/ 312871 w 526543"/>
                  <a:gd name="connsiteY30" fmla="*/ 63344 h 299546"/>
                  <a:gd name="connsiteX31" fmla="*/ 313977 w 526543"/>
                  <a:gd name="connsiteY31" fmla="*/ 55248 h 299546"/>
                  <a:gd name="connsiteX32" fmla="*/ 326145 w 526543"/>
                  <a:gd name="connsiteY32" fmla="*/ 39057 h 299546"/>
                  <a:gd name="connsiteX33" fmla="*/ 318955 w 526543"/>
                  <a:gd name="connsiteY33" fmla="*/ 29342 h 299546"/>
                  <a:gd name="connsiteX34" fmla="*/ 306234 w 526543"/>
                  <a:gd name="connsiteY34" fmla="*/ 35279 h 299546"/>
                  <a:gd name="connsiteX35" fmla="*/ 244840 w 526543"/>
                  <a:gd name="connsiteY35" fmla="*/ 27183 h 299546"/>
                  <a:gd name="connsiteX36" fmla="*/ 234885 w 526543"/>
                  <a:gd name="connsiteY36" fmla="*/ 17468 h 299546"/>
                  <a:gd name="connsiteX37" fmla="*/ 228248 w 526543"/>
                  <a:gd name="connsiteY37" fmla="*/ -343 h 299546"/>
                  <a:gd name="connsiteX38" fmla="*/ 213314 w 526543"/>
                  <a:gd name="connsiteY38" fmla="*/ 3975 h 299546"/>
                  <a:gd name="connsiteX39" fmla="*/ 211655 w 526543"/>
                  <a:gd name="connsiteY39" fmla="*/ 17468 h 299546"/>
                  <a:gd name="connsiteX40" fmla="*/ 200593 w 526543"/>
                  <a:gd name="connsiteY40" fmla="*/ 18547 h 299546"/>
                  <a:gd name="connsiteX41" fmla="*/ 198381 w 526543"/>
                  <a:gd name="connsiteY41" fmla="*/ 25564 h 299546"/>
                  <a:gd name="connsiteX42" fmla="*/ 192297 w 526543"/>
                  <a:gd name="connsiteY42" fmla="*/ 28262 h 299546"/>
                  <a:gd name="connsiteX43" fmla="*/ 182341 w 526543"/>
                  <a:gd name="connsiteY43" fmla="*/ 21246 h 299546"/>
                  <a:gd name="connsiteX44" fmla="*/ 183447 w 526543"/>
                  <a:gd name="connsiteY44" fmla="*/ 9912 h 299546"/>
                  <a:gd name="connsiteX45" fmla="*/ 167961 w 526543"/>
                  <a:gd name="connsiteY45" fmla="*/ 4514 h 299546"/>
                  <a:gd name="connsiteX46" fmla="*/ 160217 w 526543"/>
                  <a:gd name="connsiteY46" fmla="*/ 6673 h 299546"/>
                  <a:gd name="connsiteX47" fmla="*/ 155239 w 526543"/>
                  <a:gd name="connsiteY47" fmla="*/ 12071 h 299546"/>
                  <a:gd name="connsiteX48" fmla="*/ 164642 w 526543"/>
                  <a:gd name="connsiteY48" fmla="*/ 22325 h 299546"/>
                  <a:gd name="connsiteX49" fmla="*/ 131457 w 526543"/>
                  <a:gd name="connsiteY49" fmla="*/ 39057 h 299546"/>
                  <a:gd name="connsiteX50" fmla="*/ 125373 w 526543"/>
                  <a:gd name="connsiteY50" fmla="*/ 50391 h 299546"/>
                  <a:gd name="connsiteX51" fmla="*/ 107120 w 526543"/>
                  <a:gd name="connsiteY51" fmla="*/ 53090 h 299546"/>
                  <a:gd name="connsiteX52" fmla="*/ 102143 w 526543"/>
                  <a:gd name="connsiteY52" fmla="*/ 61725 h 299546"/>
                  <a:gd name="connsiteX53" fmla="*/ 90528 w 526543"/>
                  <a:gd name="connsiteY53" fmla="*/ 61185 h 299546"/>
                  <a:gd name="connsiteX54" fmla="*/ 85550 w 526543"/>
                  <a:gd name="connsiteY54" fmla="*/ 73059 h 299546"/>
                  <a:gd name="connsiteX55" fmla="*/ 69510 w 526543"/>
                  <a:gd name="connsiteY55" fmla="*/ 76837 h 299546"/>
                  <a:gd name="connsiteX56" fmla="*/ 59555 w 526543"/>
                  <a:gd name="connsiteY56" fmla="*/ 89251 h 299546"/>
                  <a:gd name="connsiteX57" fmla="*/ 37431 w 526543"/>
                  <a:gd name="connsiteY57" fmla="*/ 90330 h 299546"/>
                  <a:gd name="connsiteX58" fmla="*/ 20838 w 526543"/>
                  <a:gd name="connsiteY58" fmla="*/ 101665 h 299546"/>
                  <a:gd name="connsiteX59" fmla="*/ 15307 w 526543"/>
                  <a:gd name="connsiteY59" fmla="*/ 111380 h 299546"/>
                  <a:gd name="connsiteX60" fmla="*/ -732 w 526543"/>
                  <a:gd name="connsiteY60" fmla="*/ 101125 h 299546"/>
                  <a:gd name="connsiteX61" fmla="*/ 374 w 526543"/>
                  <a:gd name="connsiteY61" fmla="*/ 112999 h 299546"/>
                  <a:gd name="connsiteX62" fmla="*/ 5905 w 526543"/>
                  <a:gd name="connsiteY62" fmla="*/ 124333 h 299546"/>
                  <a:gd name="connsiteX63" fmla="*/ 10329 w 526543"/>
                  <a:gd name="connsiteY63" fmla="*/ 129191 h 299546"/>
                  <a:gd name="connsiteX64" fmla="*/ 31347 w 526543"/>
                  <a:gd name="connsiteY64" fmla="*/ 152938 h 299546"/>
                  <a:gd name="connsiteX65" fmla="*/ 23604 w 526543"/>
                  <a:gd name="connsiteY65" fmla="*/ 173448 h 299546"/>
                  <a:gd name="connsiteX66" fmla="*/ 47387 w 526543"/>
                  <a:gd name="connsiteY66" fmla="*/ 213387 h 299546"/>
                  <a:gd name="connsiteX67" fmla="*/ 68957 w 526543"/>
                  <a:gd name="connsiteY67" fmla="*/ 215546 h 299546"/>
                  <a:gd name="connsiteX68" fmla="*/ 91634 w 526543"/>
                  <a:gd name="connsiteY68" fmla="*/ 236596 h 299546"/>
                  <a:gd name="connsiteX69" fmla="*/ 97718 w 526543"/>
                  <a:gd name="connsiteY69" fmla="*/ 241993 h 299546"/>
                  <a:gd name="connsiteX70" fmla="*/ 112098 w 526543"/>
                  <a:gd name="connsiteY70" fmla="*/ 251168 h 299546"/>
                  <a:gd name="connsiteX71" fmla="*/ 137541 w 526543"/>
                  <a:gd name="connsiteY71" fmla="*/ 262502 h 299546"/>
                  <a:gd name="connsiteX72" fmla="*/ 146943 w 526543"/>
                  <a:gd name="connsiteY72" fmla="*/ 272217 h 299546"/>
                  <a:gd name="connsiteX73" fmla="*/ 164642 w 526543"/>
                  <a:gd name="connsiteY73" fmla="*/ 285171 h 299546"/>
                  <a:gd name="connsiteX74" fmla="*/ 166301 w 526543"/>
                  <a:gd name="connsiteY74" fmla="*/ 293266 h 299546"/>
                  <a:gd name="connsiteX75" fmla="*/ 185106 w 526543"/>
                  <a:gd name="connsiteY75" fmla="*/ 299203 h 299546"/>
                  <a:gd name="connsiteX76" fmla="*/ 193956 w 526543"/>
                  <a:gd name="connsiteY76" fmla="*/ 287869 h 299546"/>
                  <a:gd name="connsiteX77" fmla="*/ 212761 w 526543"/>
                  <a:gd name="connsiteY77" fmla="*/ 292187 h 299546"/>
                  <a:gd name="connsiteX78" fmla="*/ 214973 w 526543"/>
                  <a:gd name="connsiteY78" fmla="*/ 288409 h 299546"/>
                  <a:gd name="connsiteX79" fmla="*/ 224929 w 526543"/>
                  <a:gd name="connsiteY79" fmla="*/ 266280 h 299546"/>
                  <a:gd name="connsiteX80" fmla="*/ 235438 w 526543"/>
                  <a:gd name="connsiteY80" fmla="*/ 267360 h 299546"/>
                  <a:gd name="connsiteX81" fmla="*/ 243181 w 526543"/>
                  <a:gd name="connsiteY81" fmla="*/ 240913 h 299546"/>
                  <a:gd name="connsiteX82" fmla="*/ 310658 w 526543"/>
                  <a:gd name="connsiteY82" fmla="*/ 251708 h 299546"/>
                  <a:gd name="connsiteX83" fmla="*/ 321720 w 526543"/>
                  <a:gd name="connsiteY83" fmla="*/ 258184 h 299546"/>
                  <a:gd name="connsiteX84" fmla="*/ 348269 w 526543"/>
                  <a:gd name="connsiteY84" fmla="*/ 260343 h 299546"/>
                  <a:gd name="connsiteX85" fmla="*/ 356565 w 526543"/>
                  <a:gd name="connsiteY85" fmla="*/ 249009 h 299546"/>
                  <a:gd name="connsiteX86" fmla="*/ 372052 w 526543"/>
                  <a:gd name="connsiteY86" fmla="*/ 250089 h 299546"/>
                  <a:gd name="connsiteX87" fmla="*/ 375923 w 526543"/>
                  <a:gd name="connsiteY87" fmla="*/ 253867 h 299546"/>
                  <a:gd name="connsiteX88" fmla="*/ 395281 w 526543"/>
                  <a:gd name="connsiteY88" fmla="*/ 256565 h 299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526543" h="299546">
                    <a:moveTo>
                      <a:pt x="395281" y="256565"/>
                    </a:moveTo>
                    <a:lnTo>
                      <a:pt x="435657" y="256026"/>
                    </a:lnTo>
                    <a:lnTo>
                      <a:pt x="457228" y="249009"/>
                    </a:lnTo>
                    <a:lnTo>
                      <a:pt x="470502" y="251168"/>
                    </a:lnTo>
                    <a:lnTo>
                      <a:pt x="485435" y="227420"/>
                    </a:lnTo>
                    <a:lnTo>
                      <a:pt x="486542" y="217705"/>
                    </a:lnTo>
                    <a:lnTo>
                      <a:pt x="482117" y="195577"/>
                    </a:lnTo>
                    <a:lnTo>
                      <a:pt x="488201" y="171289"/>
                    </a:lnTo>
                    <a:lnTo>
                      <a:pt x="525811" y="127032"/>
                    </a:lnTo>
                    <a:lnTo>
                      <a:pt x="508665" y="116237"/>
                    </a:lnTo>
                    <a:lnTo>
                      <a:pt x="502028" y="103284"/>
                    </a:lnTo>
                    <a:lnTo>
                      <a:pt x="500369" y="95728"/>
                    </a:lnTo>
                    <a:lnTo>
                      <a:pt x="476586" y="97347"/>
                    </a:lnTo>
                    <a:lnTo>
                      <a:pt x="461652" y="88172"/>
                    </a:lnTo>
                    <a:lnTo>
                      <a:pt x="451697" y="94648"/>
                    </a:lnTo>
                    <a:lnTo>
                      <a:pt x="441741" y="92489"/>
                    </a:lnTo>
                    <a:lnTo>
                      <a:pt x="426255" y="80076"/>
                    </a:lnTo>
                    <a:lnTo>
                      <a:pt x="432339" y="71980"/>
                    </a:lnTo>
                    <a:lnTo>
                      <a:pt x="429020" y="61185"/>
                    </a:lnTo>
                    <a:lnTo>
                      <a:pt x="415746" y="69281"/>
                    </a:lnTo>
                    <a:lnTo>
                      <a:pt x="399153" y="65503"/>
                    </a:lnTo>
                    <a:lnTo>
                      <a:pt x="384773" y="56868"/>
                    </a:lnTo>
                    <a:lnTo>
                      <a:pt x="363202" y="54169"/>
                    </a:lnTo>
                    <a:lnTo>
                      <a:pt x="359884" y="62265"/>
                    </a:lnTo>
                    <a:lnTo>
                      <a:pt x="372605" y="68202"/>
                    </a:lnTo>
                    <a:lnTo>
                      <a:pt x="372605" y="73059"/>
                    </a:lnTo>
                    <a:lnTo>
                      <a:pt x="363202" y="80076"/>
                    </a:lnTo>
                    <a:lnTo>
                      <a:pt x="357671" y="90330"/>
                    </a:lnTo>
                    <a:lnTo>
                      <a:pt x="348822" y="88172"/>
                    </a:lnTo>
                    <a:lnTo>
                      <a:pt x="325039" y="65503"/>
                    </a:lnTo>
                    <a:lnTo>
                      <a:pt x="312871" y="63344"/>
                    </a:lnTo>
                    <a:lnTo>
                      <a:pt x="313977" y="55248"/>
                    </a:lnTo>
                    <a:lnTo>
                      <a:pt x="326145" y="39057"/>
                    </a:lnTo>
                    <a:lnTo>
                      <a:pt x="318955" y="29342"/>
                    </a:lnTo>
                    <a:lnTo>
                      <a:pt x="306234" y="35279"/>
                    </a:lnTo>
                    <a:lnTo>
                      <a:pt x="244840" y="27183"/>
                    </a:lnTo>
                    <a:lnTo>
                      <a:pt x="234885" y="17468"/>
                    </a:lnTo>
                    <a:lnTo>
                      <a:pt x="228248" y="-343"/>
                    </a:lnTo>
                    <a:lnTo>
                      <a:pt x="213314" y="3975"/>
                    </a:lnTo>
                    <a:lnTo>
                      <a:pt x="211655" y="17468"/>
                    </a:lnTo>
                    <a:lnTo>
                      <a:pt x="200593" y="18547"/>
                    </a:lnTo>
                    <a:lnTo>
                      <a:pt x="198381" y="25564"/>
                    </a:lnTo>
                    <a:lnTo>
                      <a:pt x="192297" y="28262"/>
                    </a:lnTo>
                    <a:lnTo>
                      <a:pt x="182341" y="21246"/>
                    </a:lnTo>
                    <a:lnTo>
                      <a:pt x="183447" y="9912"/>
                    </a:lnTo>
                    <a:lnTo>
                      <a:pt x="167961" y="4514"/>
                    </a:lnTo>
                    <a:lnTo>
                      <a:pt x="160217" y="6673"/>
                    </a:lnTo>
                    <a:lnTo>
                      <a:pt x="155239" y="12071"/>
                    </a:lnTo>
                    <a:lnTo>
                      <a:pt x="164642" y="22325"/>
                    </a:lnTo>
                    <a:lnTo>
                      <a:pt x="131457" y="39057"/>
                    </a:lnTo>
                    <a:lnTo>
                      <a:pt x="125373" y="50391"/>
                    </a:lnTo>
                    <a:lnTo>
                      <a:pt x="107120" y="53090"/>
                    </a:lnTo>
                    <a:lnTo>
                      <a:pt x="102143" y="61725"/>
                    </a:lnTo>
                    <a:lnTo>
                      <a:pt x="90528" y="61185"/>
                    </a:lnTo>
                    <a:lnTo>
                      <a:pt x="85550" y="73059"/>
                    </a:lnTo>
                    <a:lnTo>
                      <a:pt x="69510" y="76837"/>
                    </a:lnTo>
                    <a:lnTo>
                      <a:pt x="59555" y="89251"/>
                    </a:lnTo>
                    <a:lnTo>
                      <a:pt x="37431" y="90330"/>
                    </a:lnTo>
                    <a:lnTo>
                      <a:pt x="20838" y="101665"/>
                    </a:lnTo>
                    <a:lnTo>
                      <a:pt x="15307" y="111380"/>
                    </a:lnTo>
                    <a:lnTo>
                      <a:pt x="-732" y="101125"/>
                    </a:lnTo>
                    <a:lnTo>
                      <a:pt x="374" y="112999"/>
                    </a:lnTo>
                    <a:lnTo>
                      <a:pt x="5905" y="124333"/>
                    </a:lnTo>
                    <a:lnTo>
                      <a:pt x="10329" y="129191"/>
                    </a:lnTo>
                    <a:lnTo>
                      <a:pt x="31347" y="152938"/>
                    </a:lnTo>
                    <a:lnTo>
                      <a:pt x="23604" y="173448"/>
                    </a:lnTo>
                    <a:lnTo>
                      <a:pt x="47387" y="213387"/>
                    </a:lnTo>
                    <a:lnTo>
                      <a:pt x="68957" y="215546"/>
                    </a:lnTo>
                    <a:lnTo>
                      <a:pt x="91634" y="236596"/>
                    </a:lnTo>
                    <a:lnTo>
                      <a:pt x="97718" y="241993"/>
                    </a:lnTo>
                    <a:lnTo>
                      <a:pt x="112098" y="251168"/>
                    </a:lnTo>
                    <a:lnTo>
                      <a:pt x="137541" y="262502"/>
                    </a:lnTo>
                    <a:lnTo>
                      <a:pt x="146943" y="272217"/>
                    </a:lnTo>
                    <a:lnTo>
                      <a:pt x="164642" y="285171"/>
                    </a:lnTo>
                    <a:lnTo>
                      <a:pt x="166301" y="293266"/>
                    </a:lnTo>
                    <a:lnTo>
                      <a:pt x="185106" y="299203"/>
                    </a:lnTo>
                    <a:lnTo>
                      <a:pt x="193956" y="287869"/>
                    </a:lnTo>
                    <a:lnTo>
                      <a:pt x="212761" y="292187"/>
                    </a:lnTo>
                    <a:lnTo>
                      <a:pt x="214973" y="288409"/>
                    </a:lnTo>
                    <a:lnTo>
                      <a:pt x="224929" y="266280"/>
                    </a:lnTo>
                    <a:lnTo>
                      <a:pt x="235438" y="267360"/>
                    </a:lnTo>
                    <a:lnTo>
                      <a:pt x="243181" y="240913"/>
                    </a:lnTo>
                    <a:lnTo>
                      <a:pt x="310658" y="251708"/>
                    </a:lnTo>
                    <a:lnTo>
                      <a:pt x="321720" y="258184"/>
                    </a:lnTo>
                    <a:lnTo>
                      <a:pt x="348269" y="260343"/>
                    </a:lnTo>
                    <a:lnTo>
                      <a:pt x="356565" y="249009"/>
                    </a:lnTo>
                    <a:lnTo>
                      <a:pt x="372052" y="250089"/>
                    </a:lnTo>
                    <a:lnTo>
                      <a:pt x="375923" y="253867"/>
                    </a:lnTo>
                    <a:lnTo>
                      <a:pt x="395281" y="256565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59" name="Freeform 1091">
                <a:extLst>
                  <a:ext uri="{FF2B5EF4-FFF2-40B4-BE49-F238E27FC236}">
                    <a16:creationId xmlns:a16="http://schemas.microsoft.com/office/drawing/2014/main" id="{D0C165F8-2359-46C8-9F00-6EFD853B2667}"/>
                  </a:ext>
                </a:extLst>
              </p:cNvPr>
              <p:cNvSpPr/>
              <p:nvPr/>
            </p:nvSpPr>
            <p:spPr>
              <a:xfrm>
                <a:off x="8577729" y="5181373"/>
                <a:ext cx="189674" cy="181486"/>
              </a:xfrm>
              <a:custGeom>
                <a:avLst/>
                <a:gdLst>
                  <a:gd name="connsiteX0" fmla="*/ 170491 w 189674"/>
                  <a:gd name="connsiteY0" fmla="*/ 100446 h 181486"/>
                  <a:gd name="connsiteX1" fmla="*/ 155005 w 189674"/>
                  <a:gd name="connsiteY1" fmla="*/ 103685 h 181486"/>
                  <a:gd name="connsiteX2" fmla="*/ 150027 w 189674"/>
                  <a:gd name="connsiteY2" fmla="*/ 108542 h 181486"/>
                  <a:gd name="connsiteX3" fmla="*/ 134540 w 189674"/>
                  <a:gd name="connsiteY3" fmla="*/ 110701 h 181486"/>
                  <a:gd name="connsiteX4" fmla="*/ 120713 w 189674"/>
                  <a:gd name="connsiteY4" fmla="*/ 140386 h 181486"/>
                  <a:gd name="connsiteX5" fmla="*/ 111310 w 189674"/>
                  <a:gd name="connsiteY5" fmla="*/ 149022 h 181486"/>
                  <a:gd name="connsiteX6" fmla="*/ 91952 w 189674"/>
                  <a:gd name="connsiteY6" fmla="*/ 161435 h 181486"/>
                  <a:gd name="connsiteX7" fmla="*/ 85315 w 189674"/>
                  <a:gd name="connsiteY7" fmla="*/ 165753 h 181486"/>
                  <a:gd name="connsiteX8" fmla="*/ 83656 w 189674"/>
                  <a:gd name="connsiteY8" fmla="*/ 178706 h 181486"/>
                  <a:gd name="connsiteX9" fmla="*/ 78678 w 189674"/>
                  <a:gd name="connsiteY9" fmla="*/ 180865 h 181486"/>
                  <a:gd name="connsiteX10" fmla="*/ 70382 w 189674"/>
                  <a:gd name="connsiteY10" fmla="*/ 178167 h 181486"/>
                  <a:gd name="connsiteX11" fmla="*/ 67063 w 189674"/>
                  <a:gd name="connsiteY11" fmla="*/ 173849 h 181486"/>
                  <a:gd name="connsiteX12" fmla="*/ 56001 w 189674"/>
                  <a:gd name="connsiteY12" fmla="*/ 179246 h 181486"/>
                  <a:gd name="connsiteX13" fmla="*/ 27240 w 189674"/>
                  <a:gd name="connsiteY13" fmla="*/ 178167 h 181486"/>
                  <a:gd name="connsiteX14" fmla="*/ 18944 w 189674"/>
                  <a:gd name="connsiteY14" fmla="*/ 168991 h 181486"/>
                  <a:gd name="connsiteX15" fmla="*/ 9542 w 189674"/>
                  <a:gd name="connsiteY15" fmla="*/ 165753 h 181486"/>
                  <a:gd name="connsiteX16" fmla="*/ -967 w 189674"/>
                  <a:gd name="connsiteY16" fmla="*/ 146323 h 181486"/>
                  <a:gd name="connsiteX17" fmla="*/ -414 w 189674"/>
                  <a:gd name="connsiteY17" fmla="*/ 144164 h 181486"/>
                  <a:gd name="connsiteX18" fmla="*/ 13966 w 189674"/>
                  <a:gd name="connsiteY18" fmla="*/ 139307 h 181486"/>
                  <a:gd name="connsiteX19" fmla="*/ 30559 w 189674"/>
                  <a:gd name="connsiteY19" fmla="*/ 119877 h 181486"/>
                  <a:gd name="connsiteX20" fmla="*/ 51577 w 189674"/>
                  <a:gd name="connsiteY20" fmla="*/ 117178 h 181486"/>
                  <a:gd name="connsiteX21" fmla="*/ 53236 w 189674"/>
                  <a:gd name="connsiteY21" fmla="*/ 105304 h 181486"/>
                  <a:gd name="connsiteX22" fmla="*/ 52130 w 189674"/>
                  <a:gd name="connsiteY22" fmla="*/ 86953 h 181486"/>
                  <a:gd name="connsiteX23" fmla="*/ 72594 w 189674"/>
                  <a:gd name="connsiteY23" fmla="*/ 86953 h 181486"/>
                  <a:gd name="connsiteX24" fmla="*/ 78678 w 189674"/>
                  <a:gd name="connsiteY24" fmla="*/ 85874 h 181486"/>
                  <a:gd name="connsiteX25" fmla="*/ 119054 w 189674"/>
                  <a:gd name="connsiteY25" fmla="*/ 67523 h 181486"/>
                  <a:gd name="connsiteX26" fmla="*/ 132328 w 189674"/>
                  <a:gd name="connsiteY26" fmla="*/ 56189 h 181486"/>
                  <a:gd name="connsiteX27" fmla="*/ 137859 w 189674"/>
                  <a:gd name="connsiteY27" fmla="*/ 52411 h 181486"/>
                  <a:gd name="connsiteX28" fmla="*/ 145602 w 189674"/>
                  <a:gd name="connsiteY28" fmla="*/ 44315 h 181486"/>
                  <a:gd name="connsiteX29" fmla="*/ 146155 w 189674"/>
                  <a:gd name="connsiteY29" fmla="*/ 42156 h 181486"/>
                  <a:gd name="connsiteX30" fmla="*/ 158876 w 189674"/>
                  <a:gd name="connsiteY30" fmla="*/ 27584 h 181486"/>
                  <a:gd name="connsiteX31" fmla="*/ 181000 w 189674"/>
                  <a:gd name="connsiteY31" fmla="*/ 2217 h 181486"/>
                  <a:gd name="connsiteX32" fmla="*/ 188190 w 189674"/>
                  <a:gd name="connsiteY32" fmla="*/ 58 h 181486"/>
                  <a:gd name="connsiteX33" fmla="*/ 183766 w 189674"/>
                  <a:gd name="connsiteY33" fmla="*/ 13551 h 181486"/>
                  <a:gd name="connsiteX34" fmla="*/ 150580 w 189674"/>
                  <a:gd name="connsiteY34" fmla="*/ 59428 h 181486"/>
                  <a:gd name="connsiteX35" fmla="*/ 150027 w 189674"/>
                  <a:gd name="connsiteY35" fmla="*/ 85874 h 181486"/>
                  <a:gd name="connsiteX36" fmla="*/ 170491 w 189674"/>
                  <a:gd name="connsiteY36" fmla="*/ 100446 h 18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89674" h="181486">
                    <a:moveTo>
                      <a:pt x="170491" y="100446"/>
                    </a:moveTo>
                    <a:cubicBezTo>
                      <a:pt x="167173" y="101526"/>
                      <a:pt x="157770" y="102066"/>
                      <a:pt x="155005" y="103685"/>
                    </a:cubicBezTo>
                    <a:cubicBezTo>
                      <a:pt x="153345" y="104225"/>
                      <a:pt x="151686" y="108003"/>
                      <a:pt x="150027" y="108542"/>
                    </a:cubicBezTo>
                    <a:cubicBezTo>
                      <a:pt x="144496" y="110161"/>
                      <a:pt x="139518" y="105304"/>
                      <a:pt x="134540" y="110701"/>
                    </a:cubicBezTo>
                    <a:cubicBezTo>
                      <a:pt x="130116" y="115019"/>
                      <a:pt x="129009" y="131211"/>
                      <a:pt x="120713" y="140386"/>
                    </a:cubicBezTo>
                    <a:cubicBezTo>
                      <a:pt x="117948" y="143624"/>
                      <a:pt x="114629" y="146323"/>
                      <a:pt x="111310" y="149022"/>
                    </a:cubicBezTo>
                    <a:cubicBezTo>
                      <a:pt x="105226" y="153339"/>
                      <a:pt x="98589" y="157657"/>
                      <a:pt x="91952" y="161435"/>
                    </a:cubicBezTo>
                    <a:cubicBezTo>
                      <a:pt x="90293" y="163054"/>
                      <a:pt x="87528" y="164134"/>
                      <a:pt x="85315" y="165753"/>
                    </a:cubicBezTo>
                    <a:cubicBezTo>
                      <a:pt x="81444" y="169531"/>
                      <a:pt x="84762" y="176008"/>
                      <a:pt x="83656" y="178706"/>
                    </a:cubicBezTo>
                    <a:cubicBezTo>
                      <a:pt x="83103" y="179246"/>
                      <a:pt x="79784" y="180865"/>
                      <a:pt x="78678" y="180865"/>
                    </a:cubicBezTo>
                    <a:cubicBezTo>
                      <a:pt x="76466" y="181405"/>
                      <a:pt x="72041" y="179786"/>
                      <a:pt x="70382" y="178167"/>
                    </a:cubicBezTo>
                    <a:cubicBezTo>
                      <a:pt x="69275" y="177087"/>
                      <a:pt x="67616" y="174389"/>
                      <a:pt x="67063" y="173849"/>
                    </a:cubicBezTo>
                    <a:cubicBezTo>
                      <a:pt x="63191" y="172230"/>
                      <a:pt x="58767" y="178167"/>
                      <a:pt x="56001" y="179246"/>
                    </a:cubicBezTo>
                    <a:cubicBezTo>
                      <a:pt x="48811" y="181945"/>
                      <a:pt x="33878" y="180326"/>
                      <a:pt x="27240" y="178167"/>
                    </a:cubicBezTo>
                    <a:cubicBezTo>
                      <a:pt x="21710" y="176547"/>
                      <a:pt x="21710" y="171150"/>
                      <a:pt x="18944" y="168991"/>
                    </a:cubicBezTo>
                    <a:cubicBezTo>
                      <a:pt x="16179" y="167372"/>
                      <a:pt x="12307" y="167372"/>
                      <a:pt x="9542" y="165753"/>
                    </a:cubicBezTo>
                    <a:cubicBezTo>
                      <a:pt x="4011" y="161435"/>
                      <a:pt x="-414" y="152800"/>
                      <a:pt x="-967" y="146323"/>
                    </a:cubicBezTo>
                    <a:cubicBezTo>
                      <a:pt x="-967" y="145783"/>
                      <a:pt x="-967" y="144704"/>
                      <a:pt x="-414" y="144164"/>
                    </a:cubicBezTo>
                    <a:cubicBezTo>
                      <a:pt x="1245" y="140926"/>
                      <a:pt x="8435" y="145783"/>
                      <a:pt x="13966" y="139307"/>
                    </a:cubicBezTo>
                    <a:cubicBezTo>
                      <a:pt x="20603" y="132290"/>
                      <a:pt x="20603" y="125274"/>
                      <a:pt x="30559" y="119877"/>
                    </a:cubicBezTo>
                    <a:cubicBezTo>
                      <a:pt x="34984" y="117178"/>
                      <a:pt x="48811" y="119877"/>
                      <a:pt x="51577" y="117178"/>
                    </a:cubicBezTo>
                    <a:cubicBezTo>
                      <a:pt x="52683" y="113400"/>
                      <a:pt x="53236" y="109082"/>
                      <a:pt x="53236" y="105304"/>
                    </a:cubicBezTo>
                    <a:cubicBezTo>
                      <a:pt x="52683" y="100986"/>
                      <a:pt x="48811" y="90192"/>
                      <a:pt x="52130" y="86953"/>
                    </a:cubicBezTo>
                    <a:cubicBezTo>
                      <a:pt x="54342" y="84795"/>
                      <a:pt x="68722" y="86953"/>
                      <a:pt x="72594" y="86953"/>
                    </a:cubicBezTo>
                    <a:cubicBezTo>
                      <a:pt x="74253" y="86953"/>
                      <a:pt x="76466" y="86414"/>
                      <a:pt x="78678" y="85874"/>
                    </a:cubicBezTo>
                    <a:cubicBezTo>
                      <a:pt x="89187" y="82636"/>
                      <a:pt x="110204" y="72921"/>
                      <a:pt x="119054" y="67523"/>
                    </a:cubicBezTo>
                    <a:cubicBezTo>
                      <a:pt x="124032" y="64285"/>
                      <a:pt x="127903" y="59428"/>
                      <a:pt x="132328" y="56189"/>
                    </a:cubicBezTo>
                    <a:cubicBezTo>
                      <a:pt x="133987" y="54570"/>
                      <a:pt x="136200" y="54030"/>
                      <a:pt x="137859" y="52411"/>
                    </a:cubicBezTo>
                    <a:cubicBezTo>
                      <a:pt x="138965" y="51332"/>
                      <a:pt x="145602" y="44855"/>
                      <a:pt x="145602" y="44315"/>
                    </a:cubicBezTo>
                    <a:cubicBezTo>
                      <a:pt x="146155" y="43776"/>
                      <a:pt x="146155" y="42696"/>
                      <a:pt x="146155" y="42156"/>
                    </a:cubicBezTo>
                    <a:cubicBezTo>
                      <a:pt x="149474" y="37839"/>
                      <a:pt x="155558" y="31902"/>
                      <a:pt x="158876" y="27584"/>
                    </a:cubicBezTo>
                    <a:cubicBezTo>
                      <a:pt x="166067" y="18948"/>
                      <a:pt x="173257" y="10313"/>
                      <a:pt x="181000" y="2217"/>
                    </a:cubicBezTo>
                    <a:cubicBezTo>
                      <a:pt x="182106" y="598"/>
                      <a:pt x="185978" y="-1561"/>
                      <a:pt x="188190" y="58"/>
                    </a:cubicBezTo>
                    <a:cubicBezTo>
                      <a:pt x="190403" y="1137"/>
                      <a:pt x="184872" y="11392"/>
                      <a:pt x="183766" y="13551"/>
                    </a:cubicBezTo>
                    <a:cubicBezTo>
                      <a:pt x="173257" y="29203"/>
                      <a:pt x="161642" y="43776"/>
                      <a:pt x="150580" y="59428"/>
                    </a:cubicBezTo>
                    <a:cubicBezTo>
                      <a:pt x="145602" y="66984"/>
                      <a:pt x="141731" y="78318"/>
                      <a:pt x="150027" y="85874"/>
                    </a:cubicBezTo>
                    <a:cubicBezTo>
                      <a:pt x="153899" y="89652"/>
                      <a:pt x="165514" y="97748"/>
                      <a:pt x="170491" y="100446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0" name="Freeform 1092">
                <a:extLst>
                  <a:ext uri="{FF2B5EF4-FFF2-40B4-BE49-F238E27FC236}">
                    <a16:creationId xmlns:a16="http://schemas.microsoft.com/office/drawing/2014/main" id="{24CAB67C-4122-43EA-8214-16D11A8445E4}"/>
                  </a:ext>
                </a:extLst>
              </p:cNvPr>
              <p:cNvSpPr/>
              <p:nvPr/>
            </p:nvSpPr>
            <p:spPr>
              <a:xfrm>
                <a:off x="6045674" y="4185617"/>
                <a:ext cx="374996" cy="232620"/>
              </a:xfrm>
              <a:custGeom>
                <a:avLst/>
                <a:gdLst>
                  <a:gd name="connsiteX0" fmla="*/ 349998 w 374996"/>
                  <a:gd name="connsiteY0" fmla="*/ 107014 h 232620"/>
                  <a:gd name="connsiteX1" fmla="*/ 345020 w 374996"/>
                  <a:gd name="connsiteY1" fmla="*/ 110252 h 232620"/>
                  <a:gd name="connsiteX2" fmla="*/ 327874 w 374996"/>
                  <a:gd name="connsiteY2" fmla="*/ 106474 h 232620"/>
                  <a:gd name="connsiteX3" fmla="*/ 321790 w 374996"/>
                  <a:gd name="connsiteY3" fmla="*/ 102696 h 232620"/>
                  <a:gd name="connsiteX4" fmla="*/ 325662 w 374996"/>
                  <a:gd name="connsiteY4" fmla="*/ 93521 h 232620"/>
                  <a:gd name="connsiteX5" fmla="*/ 303538 w 374996"/>
                  <a:gd name="connsiteY5" fmla="*/ 88663 h 232620"/>
                  <a:gd name="connsiteX6" fmla="*/ 291923 w 374996"/>
                  <a:gd name="connsiteY6" fmla="*/ 86504 h 232620"/>
                  <a:gd name="connsiteX7" fmla="*/ 295242 w 374996"/>
                  <a:gd name="connsiteY7" fmla="*/ 62217 h 232620"/>
                  <a:gd name="connsiteX8" fmla="*/ 301326 w 374996"/>
                  <a:gd name="connsiteY8" fmla="*/ 39008 h 232620"/>
                  <a:gd name="connsiteX9" fmla="*/ 299666 w 374996"/>
                  <a:gd name="connsiteY9" fmla="*/ 33072 h 232620"/>
                  <a:gd name="connsiteX10" fmla="*/ 299113 w 374996"/>
                  <a:gd name="connsiteY10" fmla="*/ 28754 h 232620"/>
                  <a:gd name="connsiteX11" fmla="*/ 279202 w 374996"/>
                  <a:gd name="connsiteY11" fmla="*/ 19578 h 232620"/>
                  <a:gd name="connsiteX12" fmla="*/ 267034 w 374996"/>
                  <a:gd name="connsiteY12" fmla="*/ 16880 h 232620"/>
                  <a:gd name="connsiteX13" fmla="*/ 242145 w 374996"/>
                  <a:gd name="connsiteY13" fmla="*/ 12562 h 232620"/>
                  <a:gd name="connsiteX14" fmla="*/ 234955 w 374996"/>
                  <a:gd name="connsiteY14" fmla="*/ 10943 h 232620"/>
                  <a:gd name="connsiteX15" fmla="*/ 219468 w 374996"/>
                  <a:gd name="connsiteY15" fmla="*/ -391 h 232620"/>
                  <a:gd name="connsiteX16" fmla="*/ 207853 w 374996"/>
                  <a:gd name="connsiteY16" fmla="*/ 5546 h 232620"/>
                  <a:gd name="connsiteX17" fmla="*/ 202322 w 374996"/>
                  <a:gd name="connsiteY17" fmla="*/ 11483 h 232620"/>
                  <a:gd name="connsiteX18" fmla="*/ 211172 w 374996"/>
                  <a:gd name="connsiteY18" fmla="*/ 16880 h 232620"/>
                  <a:gd name="connsiteX19" fmla="*/ 213937 w 374996"/>
                  <a:gd name="connsiteY19" fmla="*/ 20118 h 232620"/>
                  <a:gd name="connsiteX20" fmla="*/ 210619 w 374996"/>
                  <a:gd name="connsiteY20" fmla="*/ 23357 h 232620"/>
                  <a:gd name="connsiteX21" fmla="*/ 196791 w 374996"/>
                  <a:gd name="connsiteY21" fmla="*/ 21737 h 232620"/>
                  <a:gd name="connsiteX22" fmla="*/ 185176 w 374996"/>
                  <a:gd name="connsiteY22" fmla="*/ 22277 h 232620"/>
                  <a:gd name="connsiteX23" fmla="*/ 175774 w 374996"/>
                  <a:gd name="connsiteY23" fmla="*/ 22817 h 232620"/>
                  <a:gd name="connsiteX24" fmla="*/ 162500 w 374996"/>
                  <a:gd name="connsiteY24" fmla="*/ 28754 h 232620"/>
                  <a:gd name="connsiteX25" fmla="*/ 137611 w 374996"/>
                  <a:gd name="connsiteY25" fmla="*/ 27674 h 232620"/>
                  <a:gd name="connsiteX26" fmla="*/ 134845 w 374996"/>
                  <a:gd name="connsiteY26" fmla="*/ 25515 h 232620"/>
                  <a:gd name="connsiteX27" fmla="*/ 120465 w 374996"/>
                  <a:gd name="connsiteY27" fmla="*/ 42247 h 232620"/>
                  <a:gd name="connsiteX28" fmla="*/ 106084 w 374996"/>
                  <a:gd name="connsiteY28" fmla="*/ 41167 h 232620"/>
                  <a:gd name="connsiteX29" fmla="*/ 100000 w 374996"/>
                  <a:gd name="connsiteY29" fmla="*/ 30373 h 232620"/>
                  <a:gd name="connsiteX30" fmla="*/ 85067 w 374996"/>
                  <a:gd name="connsiteY30" fmla="*/ 37389 h 232620"/>
                  <a:gd name="connsiteX31" fmla="*/ 81195 w 374996"/>
                  <a:gd name="connsiteY31" fmla="*/ 45485 h 232620"/>
                  <a:gd name="connsiteX32" fmla="*/ 91704 w 374996"/>
                  <a:gd name="connsiteY32" fmla="*/ 52502 h 232620"/>
                  <a:gd name="connsiteX33" fmla="*/ 85620 w 374996"/>
                  <a:gd name="connsiteY33" fmla="*/ 62756 h 232620"/>
                  <a:gd name="connsiteX34" fmla="*/ 57965 w 374996"/>
                  <a:gd name="connsiteY34" fmla="*/ 88663 h 232620"/>
                  <a:gd name="connsiteX35" fmla="*/ 53541 w 374996"/>
                  <a:gd name="connsiteY35" fmla="*/ 94600 h 232620"/>
                  <a:gd name="connsiteX36" fmla="*/ 42479 w 374996"/>
                  <a:gd name="connsiteY36" fmla="*/ 99457 h 232620"/>
                  <a:gd name="connsiteX37" fmla="*/ 41373 w 374996"/>
                  <a:gd name="connsiteY37" fmla="*/ 120507 h 232620"/>
                  <a:gd name="connsiteX38" fmla="*/ 21461 w 374996"/>
                  <a:gd name="connsiteY38" fmla="*/ 131301 h 232620"/>
                  <a:gd name="connsiteX39" fmla="*/ 9293 w 374996"/>
                  <a:gd name="connsiteY39" fmla="*/ 154509 h 232620"/>
                  <a:gd name="connsiteX40" fmla="*/ 12612 w 374996"/>
                  <a:gd name="connsiteY40" fmla="*/ 166923 h 232620"/>
                  <a:gd name="connsiteX41" fmla="*/ 8187 w 374996"/>
                  <a:gd name="connsiteY41" fmla="*/ 180956 h 232620"/>
                  <a:gd name="connsiteX42" fmla="*/ -662 w 374996"/>
                  <a:gd name="connsiteY42" fmla="*/ 185274 h 232620"/>
                  <a:gd name="connsiteX43" fmla="*/ -109 w 374996"/>
                  <a:gd name="connsiteY43" fmla="*/ 193369 h 232620"/>
                  <a:gd name="connsiteX44" fmla="*/ 12059 w 374996"/>
                  <a:gd name="connsiteY44" fmla="*/ 196068 h 232620"/>
                  <a:gd name="connsiteX45" fmla="*/ 26439 w 374996"/>
                  <a:gd name="connsiteY45" fmla="*/ 185813 h 232620"/>
                  <a:gd name="connsiteX46" fmla="*/ 22567 w 374996"/>
                  <a:gd name="connsiteY46" fmla="*/ 176638 h 232620"/>
                  <a:gd name="connsiteX47" fmla="*/ 20908 w 374996"/>
                  <a:gd name="connsiteY47" fmla="*/ 172860 h 232620"/>
                  <a:gd name="connsiteX48" fmla="*/ 28098 w 374996"/>
                  <a:gd name="connsiteY48" fmla="*/ 163145 h 232620"/>
                  <a:gd name="connsiteX49" fmla="*/ 47457 w 374996"/>
                  <a:gd name="connsiteY49" fmla="*/ 158287 h 232620"/>
                  <a:gd name="connsiteX50" fmla="*/ 58518 w 374996"/>
                  <a:gd name="connsiteY50" fmla="*/ 158287 h 232620"/>
                  <a:gd name="connsiteX51" fmla="*/ 68474 w 374996"/>
                  <a:gd name="connsiteY51" fmla="*/ 161526 h 232620"/>
                  <a:gd name="connsiteX52" fmla="*/ 67921 w 374996"/>
                  <a:gd name="connsiteY52" fmla="*/ 164224 h 232620"/>
                  <a:gd name="connsiteX53" fmla="*/ 66262 w 374996"/>
                  <a:gd name="connsiteY53" fmla="*/ 172320 h 232620"/>
                  <a:gd name="connsiteX54" fmla="*/ 72899 w 374996"/>
                  <a:gd name="connsiteY54" fmla="*/ 183115 h 232620"/>
                  <a:gd name="connsiteX55" fmla="*/ 67368 w 374996"/>
                  <a:gd name="connsiteY55" fmla="*/ 193369 h 232620"/>
                  <a:gd name="connsiteX56" fmla="*/ 76217 w 374996"/>
                  <a:gd name="connsiteY56" fmla="*/ 200386 h 232620"/>
                  <a:gd name="connsiteX57" fmla="*/ 78430 w 374996"/>
                  <a:gd name="connsiteY57" fmla="*/ 207402 h 232620"/>
                  <a:gd name="connsiteX58" fmla="*/ 86173 w 374996"/>
                  <a:gd name="connsiteY58" fmla="*/ 214958 h 232620"/>
                  <a:gd name="connsiteX59" fmla="*/ 86173 w 374996"/>
                  <a:gd name="connsiteY59" fmla="*/ 225213 h 232620"/>
                  <a:gd name="connsiteX60" fmla="*/ 104425 w 374996"/>
                  <a:gd name="connsiteY60" fmla="*/ 228991 h 232620"/>
                  <a:gd name="connsiteX61" fmla="*/ 132080 w 374996"/>
                  <a:gd name="connsiteY61" fmla="*/ 218197 h 232620"/>
                  <a:gd name="connsiteX62" fmla="*/ 154203 w 374996"/>
                  <a:gd name="connsiteY62" fmla="*/ 221975 h 232620"/>
                  <a:gd name="connsiteX63" fmla="*/ 179646 w 374996"/>
                  <a:gd name="connsiteY63" fmla="*/ 199846 h 232620"/>
                  <a:gd name="connsiteX64" fmla="*/ 181305 w 374996"/>
                  <a:gd name="connsiteY64" fmla="*/ 191210 h 232620"/>
                  <a:gd name="connsiteX65" fmla="*/ 179092 w 374996"/>
                  <a:gd name="connsiteY65" fmla="*/ 180416 h 232620"/>
                  <a:gd name="connsiteX66" fmla="*/ 191260 w 374996"/>
                  <a:gd name="connsiteY66" fmla="*/ 174479 h 232620"/>
                  <a:gd name="connsiteX67" fmla="*/ 196238 w 374996"/>
                  <a:gd name="connsiteY67" fmla="*/ 163145 h 232620"/>
                  <a:gd name="connsiteX68" fmla="*/ 205088 w 374996"/>
                  <a:gd name="connsiteY68" fmla="*/ 163145 h 232620"/>
                  <a:gd name="connsiteX69" fmla="*/ 208406 w 374996"/>
                  <a:gd name="connsiteY69" fmla="*/ 185274 h 232620"/>
                  <a:gd name="connsiteX70" fmla="*/ 220574 w 374996"/>
                  <a:gd name="connsiteY70" fmla="*/ 197687 h 232620"/>
                  <a:gd name="connsiteX71" fmla="*/ 223340 w 374996"/>
                  <a:gd name="connsiteY71" fmla="*/ 198227 h 232620"/>
                  <a:gd name="connsiteX72" fmla="*/ 231083 w 374996"/>
                  <a:gd name="connsiteY72" fmla="*/ 200386 h 232620"/>
                  <a:gd name="connsiteX73" fmla="*/ 238273 w 374996"/>
                  <a:gd name="connsiteY73" fmla="*/ 202545 h 232620"/>
                  <a:gd name="connsiteX74" fmla="*/ 237720 w 374996"/>
                  <a:gd name="connsiteY74" fmla="*/ 217657 h 232620"/>
                  <a:gd name="connsiteX75" fmla="*/ 243251 w 374996"/>
                  <a:gd name="connsiteY75" fmla="*/ 221435 h 232620"/>
                  <a:gd name="connsiteX76" fmla="*/ 247123 w 374996"/>
                  <a:gd name="connsiteY76" fmla="*/ 231690 h 232620"/>
                  <a:gd name="connsiteX77" fmla="*/ 256525 w 374996"/>
                  <a:gd name="connsiteY77" fmla="*/ 232229 h 232620"/>
                  <a:gd name="connsiteX78" fmla="*/ 260397 w 374996"/>
                  <a:gd name="connsiteY78" fmla="*/ 225753 h 232620"/>
                  <a:gd name="connsiteX79" fmla="*/ 253760 w 374996"/>
                  <a:gd name="connsiteY79" fmla="*/ 216577 h 232620"/>
                  <a:gd name="connsiteX80" fmla="*/ 256525 w 374996"/>
                  <a:gd name="connsiteY80" fmla="*/ 201465 h 232620"/>
                  <a:gd name="connsiteX81" fmla="*/ 272012 w 374996"/>
                  <a:gd name="connsiteY81" fmla="*/ 184194 h 232620"/>
                  <a:gd name="connsiteX82" fmla="*/ 278649 w 374996"/>
                  <a:gd name="connsiteY82" fmla="*/ 155589 h 232620"/>
                  <a:gd name="connsiteX83" fmla="*/ 289711 w 374996"/>
                  <a:gd name="connsiteY83" fmla="*/ 155589 h 232620"/>
                  <a:gd name="connsiteX84" fmla="*/ 295795 w 374996"/>
                  <a:gd name="connsiteY84" fmla="*/ 176098 h 232620"/>
                  <a:gd name="connsiteX85" fmla="*/ 308516 w 374996"/>
                  <a:gd name="connsiteY85" fmla="*/ 178257 h 232620"/>
                  <a:gd name="connsiteX86" fmla="*/ 316812 w 374996"/>
                  <a:gd name="connsiteY86" fmla="*/ 171241 h 232620"/>
                  <a:gd name="connsiteX87" fmla="*/ 334511 w 374996"/>
                  <a:gd name="connsiteY87" fmla="*/ 167463 h 232620"/>
                  <a:gd name="connsiteX88" fmla="*/ 342255 w 374996"/>
                  <a:gd name="connsiteY88" fmla="*/ 181495 h 232620"/>
                  <a:gd name="connsiteX89" fmla="*/ 346126 w 374996"/>
                  <a:gd name="connsiteY89" fmla="*/ 183654 h 232620"/>
                  <a:gd name="connsiteX90" fmla="*/ 349998 w 374996"/>
                  <a:gd name="connsiteY90" fmla="*/ 180416 h 232620"/>
                  <a:gd name="connsiteX91" fmla="*/ 351104 w 374996"/>
                  <a:gd name="connsiteY91" fmla="*/ 175019 h 232620"/>
                  <a:gd name="connsiteX92" fmla="*/ 347232 w 374996"/>
                  <a:gd name="connsiteY92" fmla="*/ 169622 h 232620"/>
                  <a:gd name="connsiteX93" fmla="*/ 345573 w 374996"/>
                  <a:gd name="connsiteY93" fmla="*/ 159907 h 232620"/>
                  <a:gd name="connsiteX94" fmla="*/ 339489 w 374996"/>
                  <a:gd name="connsiteY94" fmla="*/ 154509 h 232620"/>
                  <a:gd name="connsiteX95" fmla="*/ 344467 w 374996"/>
                  <a:gd name="connsiteY95" fmla="*/ 139937 h 232620"/>
                  <a:gd name="connsiteX96" fmla="*/ 353870 w 374996"/>
                  <a:gd name="connsiteY96" fmla="*/ 136159 h 232620"/>
                  <a:gd name="connsiteX97" fmla="*/ 358847 w 374996"/>
                  <a:gd name="connsiteY97" fmla="*/ 144794 h 232620"/>
                  <a:gd name="connsiteX98" fmla="*/ 364378 w 374996"/>
                  <a:gd name="connsiteY98" fmla="*/ 145334 h 232620"/>
                  <a:gd name="connsiteX99" fmla="*/ 370462 w 374996"/>
                  <a:gd name="connsiteY99" fmla="*/ 143715 h 232620"/>
                  <a:gd name="connsiteX100" fmla="*/ 374334 w 374996"/>
                  <a:gd name="connsiteY100" fmla="*/ 131841 h 232620"/>
                  <a:gd name="connsiteX101" fmla="*/ 367144 w 374996"/>
                  <a:gd name="connsiteY101" fmla="*/ 124824 h 232620"/>
                  <a:gd name="connsiteX102" fmla="*/ 374334 w 374996"/>
                  <a:gd name="connsiteY102" fmla="*/ 105394 h 232620"/>
                  <a:gd name="connsiteX103" fmla="*/ 368803 w 374996"/>
                  <a:gd name="connsiteY103" fmla="*/ 94600 h 232620"/>
                  <a:gd name="connsiteX104" fmla="*/ 365484 w 374996"/>
                  <a:gd name="connsiteY104" fmla="*/ 94600 h 232620"/>
                  <a:gd name="connsiteX105" fmla="*/ 349998 w 374996"/>
                  <a:gd name="connsiteY105" fmla="*/ 107014 h 232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374996" h="232620">
                    <a:moveTo>
                      <a:pt x="349998" y="107014"/>
                    </a:moveTo>
                    <a:lnTo>
                      <a:pt x="345020" y="110252"/>
                    </a:lnTo>
                    <a:lnTo>
                      <a:pt x="327874" y="106474"/>
                    </a:lnTo>
                    <a:lnTo>
                      <a:pt x="321790" y="102696"/>
                    </a:lnTo>
                    <a:lnTo>
                      <a:pt x="325662" y="93521"/>
                    </a:lnTo>
                    <a:lnTo>
                      <a:pt x="303538" y="88663"/>
                    </a:lnTo>
                    <a:lnTo>
                      <a:pt x="291923" y="86504"/>
                    </a:lnTo>
                    <a:cubicBezTo>
                      <a:pt x="290817" y="76789"/>
                      <a:pt x="293029" y="69233"/>
                      <a:pt x="295242" y="62217"/>
                    </a:cubicBezTo>
                    <a:cubicBezTo>
                      <a:pt x="298007" y="53041"/>
                      <a:pt x="301879" y="46025"/>
                      <a:pt x="301326" y="39008"/>
                    </a:cubicBezTo>
                    <a:cubicBezTo>
                      <a:pt x="301326" y="36850"/>
                      <a:pt x="300220" y="35230"/>
                      <a:pt x="299666" y="33072"/>
                    </a:cubicBezTo>
                    <a:lnTo>
                      <a:pt x="299113" y="28754"/>
                    </a:lnTo>
                    <a:lnTo>
                      <a:pt x="279202" y="19578"/>
                    </a:lnTo>
                    <a:lnTo>
                      <a:pt x="267034" y="16880"/>
                    </a:lnTo>
                    <a:lnTo>
                      <a:pt x="242145" y="12562"/>
                    </a:lnTo>
                    <a:cubicBezTo>
                      <a:pt x="239933" y="12022"/>
                      <a:pt x="236614" y="11483"/>
                      <a:pt x="234955" y="10943"/>
                    </a:cubicBezTo>
                    <a:lnTo>
                      <a:pt x="219468" y="-391"/>
                    </a:lnTo>
                    <a:lnTo>
                      <a:pt x="207853" y="5546"/>
                    </a:lnTo>
                    <a:lnTo>
                      <a:pt x="202322" y="11483"/>
                    </a:lnTo>
                    <a:lnTo>
                      <a:pt x="211172" y="16880"/>
                    </a:lnTo>
                    <a:lnTo>
                      <a:pt x="213937" y="20118"/>
                    </a:lnTo>
                    <a:cubicBezTo>
                      <a:pt x="213384" y="21198"/>
                      <a:pt x="212278" y="23357"/>
                      <a:pt x="210619" y="23357"/>
                    </a:cubicBezTo>
                    <a:cubicBezTo>
                      <a:pt x="206747" y="23896"/>
                      <a:pt x="200663" y="22277"/>
                      <a:pt x="196791" y="21737"/>
                    </a:cubicBezTo>
                    <a:cubicBezTo>
                      <a:pt x="193473" y="21737"/>
                      <a:pt x="188495" y="22277"/>
                      <a:pt x="185176" y="22277"/>
                    </a:cubicBezTo>
                    <a:cubicBezTo>
                      <a:pt x="182411" y="22277"/>
                      <a:pt x="177986" y="22277"/>
                      <a:pt x="175774" y="22817"/>
                    </a:cubicBezTo>
                    <a:cubicBezTo>
                      <a:pt x="171902" y="23896"/>
                      <a:pt x="166371" y="28214"/>
                      <a:pt x="162500" y="28754"/>
                    </a:cubicBezTo>
                    <a:cubicBezTo>
                      <a:pt x="155863" y="29833"/>
                      <a:pt x="144248" y="28754"/>
                      <a:pt x="137611" y="27674"/>
                    </a:cubicBezTo>
                    <a:cubicBezTo>
                      <a:pt x="136504" y="27674"/>
                      <a:pt x="135398" y="26055"/>
                      <a:pt x="134845" y="25515"/>
                    </a:cubicBezTo>
                    <a:lnTo>
                      <a:pt x="120465" y="42247"/>
                    </a:lnTo>
                    <a:lnTo>
                      <a:pt x="106084" y="41167"/>
                    </a:lnTo>
                    <a:lnTo>
                      <a:pt x="100000" y="30373"/>
                    </a:lnTo>
                    <a:lnTo>
                      <a:pt x="85067" y="37389"/>
                    </a:lnTo>
                    <a:lnTo>
                      <a:pt x="81195" y="45485"/>
                    </a:lnTo>
                    <a:lnTo>
                      <a:pt x="91704" y="52502"/>
                    </a:lnTo>
                    <a:lnTo>
                      <a:pt x="85620" y="62756"/>
                    </a:lnTo>
                    <a:cubicBezTo>
                      <a:pt x="74558" y="69233"/>
                      <a:pt x="65709" y="79488"/>
                      <a:pt x="57965" y="88663"/>
                    </a:cubicBezTo>
                    <a:cubicBezTo>
                      <a:pt x="56306" y="90822"/>
                      <a:pt x="55753" y="92981"/>
                      <a:pt x="53541" y="94600"/>
                    </a:cubicBezTo>
                    <a:cubicBezTo>
                      <a:pt x="50222" y="96759"/>
                      <a:pt x="45797" y="97838"/>
                      <a:pt x="42479" y="99457"/>
                    </a:cubicBezTo>
                    <a:lnTo>
                      <a:pt x="41373" y="120507"/>
                    </a:lnTo>
                    <a:lnTo>
                      <a:pt x="21461" y="131301"/>
                    </a:lnTo>
                    <a:lnTo>
                      <a:pt x="9293" y="154509"/>
                    </a:lnTo>
                    <a:lnTo>
                      <a:pt x="12612" y="166923"/>
                    </a:lnTo>
                    <a:lnTo>
                      <a:pt x="8187" y="180956"/>
                    </a:lnTo>
                    <a:lnTo>
                      <a:pt x="-662" y="185274"/>
                    </a:lnTo>
                    <a:lnTo>
                      <a:pt x="-109" y="193369"/>
                    </a:lnTo>
                    <a:lnTo>
                      <a:pt x="12059" y="196068"/>
                    </a:lnTo>
                    <a:lnTo>
                      <a:pt x="26439" y="185813"/>
                    </a:lnTo>
                    <a:lnTo>
                      <a:pt x="22567" y="176638"/>
                    </a:lnTo>
                    <a:lnTo>
                      <a:pt x="20908" y="172860"/>
                    </a:lnTo>
                    <a:lnTo>
                      <a:pt x="28098" y="163145"/>
                    </a:lnTo>
                    <a:lnTo>
                      <a:pt x="47457" y="158287"/>
                    </a:lnTo>
                    <a:lnTo>
                      <a:pt x="58518" y="158287"/>
                    </a:lnTo>
                    <a:lnTo>
                      <a:pt x="68474" y="161526"/>
                    </a:lnTo>
                    <a:lnTo>
                      <a:pt x="67921" y="164224"/>
                    </a:lnTo>
                    <a:lnTo>
                      <a:pt x="66262" y="172320"/>
                    </a:lnTo>
                    <a:lnTo>
                      <a:pt x="72899" y="183115"/>
                    </a:lnTo>
                    <a:lnTo>
                      <a:pt x="67368" y="193369"/>
                    </a:lnTo>
                    <a:lnTo>
                      <a:pt x="76217" y="200386"/>
                    </a:lnTo>
                    <a:lnTo>
                      <a:pt x="78430" y="207402"/>
                    </a:lnTo>
                    <a:lnTo>
                      <a:pt x="86173" y="214958"/>
                    </a:lnTo>
                    <a:lnTo>
                      <a:pt x="86173" y="225213"/>
                    </a:lnTo>
                    <a:lnTo>
                      <a:pt x="104425" y="228991"/>
                    </a:lnTo>
                    <a:lnTo>
                      <a:pt x="132080" y="218197"/>
                    </a:lnTo>
                    <a:lnTo>
                      <a:pt x="154203" y="221975"/>
                    </a:lnTo>
                    <a:lnTo>
                      <a:pt x="179646" y="199846"/>
                    </a:lnTo>
                    <a:lnTo>
                      <a:pt x="181305" y="191210"/>
                    </a:lnTo>
                    <a:lnTo>
                      <a:pt x="179092" y="180416"/>
                    </a:lnTo>
                    <a:lnTo>
                      <a:pt x="191260" y="174479"/>
                    </a:lnTo>
                    <a:lnTo>
                      <a:pt x="196238" y="163145"/>
                    </a:lnTo>
                    <a:lnTo>
                      <a:pt x="205088" y="163145"/>
                    </a:lnTo>
                    <a:lnTo>
                      <a:pt x="208406" y="185274"/>
                    </a:lnTo>
                    <a:lnTo>
                      <a:pt x="220574" y="197687"/>
                    </a:lnTo>
                    <a:lnTo>
                      <a:pt x="223340" y="198227"/>
                    </a:lnTo>
                    <a:lnTo>
                      <a:pt x="231083" y="200386"/>
                    </a:lnTo>
                    <a:lnTo>
                      <a:pt x="238273" y="202545"/>
                    </a:lnTo>
                    <a:lnTo>
                      <a:pt x="237720" y="217657"/>
                    </a:lnTo>
                    <a:lnTo>
                      <a:pt x="243251" y="221435"/>
                    </a:lnTo>
                    <a:lnTo>
                      <a:pt x="247123" y="231690"/>
                    </a:lnTo>
                    <a:lnTo>
                      <a:pt x="256525" y="232229"/>
                    </a:lnTo>
                    <a:lnTo>
                      <a:pt x="260397" y="225753"/>
                    </a:lnTo>
                    <a:lnTo>
                      <a:pt x="253760" y="216577"/>
                    </a:lnTo>
                    <a:lnTo>
                      <a:pt x="256525" y="201465"/>
                    </a:lnTo>
                    <a:lnTo>
                      <a:pt x="272012" y="184194"/>
                    </a:lnTo>
                    <a:lnTo>
                      <a:pt x="278649" y="155589"/>
                    </a:lnTo>
                    <a:lnTo>
                      <a:pt x="289711" y="155589"/>
                    </a:lnTo>
                    <a:lnTo>
                      <a:pt x="295795" y="176098"/>
                    </a:lnTo>
                    <a:lnTo>
                      <a:pt x="308516" y="178257"/>
                    </a:lnTo>
                    <a:lnTo>
                      <a:pt x="316812" y="171241"/>
                    </a:lnTo>
                    <a:lnTo>
                      <a:pt x="334511" y="167463"/>
                    </a:lnTo>
                    <a:lnTo>
                      <a:pt x="342255" y="181495"/>
                    </a:lnTo>
                    <a:lnTo>
                      <a:pt x="346126" y="183654"/>
                    </a:lnTo>
                    <a:lnTo>
                      <a:pt x="349998" y="180416"/>
                    </a:lnTo>
                    <a:lnTo>
                      <a:pt x="351104" y="175019"/>
                    </a:lnTo>
                    <a:lnTo>
                      <a:pt x="347232" y="169622"/>
                    </a:lnTo>
                    <a:lnTo>
                      <a:pt x="345573" y="159907"/>
                    </a:lnTo>
                    <a:lnTo>
                      <a:pt x="339489" y="154509"/>
                    </a:lnTo>
                    <a:lnTo>
                      <a:pt x="344467" y="139937"/>
                    </a:lnTo>
                    <a:lnTo>
                      <a:pt x="353870" y="136159"/>
                    </a:lnTo>
                    <a:lnTo>
                      <a:pt x="358847" y="144794"/>
                    </a:lnTo>
                    <a:lnTo>
                      <a:pt x="364378" y="145334"/>
                    </a:lnTo>
                    <a:lnTo>
                      <a:pt x="370462" y="143715"/>
                    </a:lnTo>
                    <a:lnTo>
                      <a:pt x="374334" y="131841"/>
                    </a:lnTo>
                    <a:lnTo>
                      <a:pt x="367144" y="124824"/>
                    </a:lnTo>
                    <a:lnTo>
                      <a:pt x="374334" y="105394"/>
                    </a:lnTo>
                    <a:lnTo>
                      <a:pt x="368803" y="94600"/>
                    </a:lnTo>
                    <a:lnTo>
                      <a:pt x="365484" y="94600"/>
                    </a:lnTo>
                    <a:lnTo>
                      <a:pt x="349998" y="107014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1" name="Freeform 1093">
                <a:extLst>
                  <a:ext uri="{FF2B5EF4-FFF2-40B4-BE49-F238E27FC236}">
                    <a16:creationId xmlns:a16="http://schemas.microsoft.com/office/drawing/2014/main" id="{857ACB2B-A327-4429-84D1-5CF1D05BB557}"/>
                  </a:ext>
                </a:extLst>
              </p:cNvPr>
              <p:cNvSpPr/>
              <p:nvPr/>
            </p:nvSpPr>
            <p:spPr>
              <a:xfrm>
                <a:off x="7301193" y="2993908"/>
                <a:ext cx="636055" cy="607728"/>
              </a:xfrm>
              <a:custGeom>
                <a:avLst/>
                <a:gdLst>
                  <a:gd name="connsiteX0" fmla="*/ 572721 w 636055"/>
                  <a:gd name="connsiteY0" fmla="*/ 422880 h 607728"/>
                  <a:gd name="connsiteX1" fmla="*/ 580464 w 636055"/>
                  <a:gd name="connsiteY1" fmla="*/ 412086 h 607728"/>
                  <a:gd name="connsiteX2" fmla="*/ 620840 w 636055"/>
                  <a:gd name="connsiteY2" fmla="*/ 384560 h 607728"/>
                  <a:gd name="connsiteX3" fmla="*/ 616415 w 636055"/>
                  <a:gd name="connsiteY3" fmla="*/ 364050 h 607728"/>
                  <a:gd name="connsiteX4" fmla="*/ 603694 w 636055"/>
                  <a:gd name="connsiteY4" fmla="*/ 353256 h 607728"/>
                  <a:gd name="connsiteX5" fmla="*/ 593185 w 636055"/>
                  <a:gd name="connsiteY5" fmla="*/ 330588 h 607728"/>
                  <a:gd name="connsiteX6" fmla="*/ 589867 w 636055"/>
                  <a:gd name="connsiteY6" fmla="*/ 299284 h 607728"/>
                  <a:gd name="connsiteX7" fmla="*/ 577699 w 636055"/>
                  <a:gd name="connsiteY7" fmla="*/ 279854 h 607728"/>
                  <a:gd name="connsiteX8" fmla="*/ 575486 w 636055"/>
                  <a:gd name="connsiteY8" fmla="*/ 265281 h 607728"/>
                  <a:gd name="connsiteX9" fmla="*/ 593738 w 636055"/>
                  <a:gd name="connsiteY9" fmla="*/ 255566 h 607728"/>
                  <a:gd name="connsiteX10" fmla="*/ 614756 w 636055"/>
                  <a:gd name="connsiteY10" fmla="*/ 252867 h 607728"/>
                  <a:gd name="connsiteX11" fmla="*/ 629136 w 636055"/>
                  <a:gd name="connsiteY11" fmla="*/ 244232 h 607728"/>
                  <a:gd name="connsiteX12" fmla="*/ 635220 w 636055"/>
                  <a:gd name="connsiteY12" fmla="*/ 216166 h 607728"/>
                  <a:gd name="connsiteX13" fmla="*/ 610331 w 636055"/>
                  <a:gd name="connsiteY13" fmla="*/ 187021 h 607728"/>
                  <a:gd name="connsiteX14" fmla="*/ 595398 w 636055"/>
                  <a:gd name="connsiteY14" fmla="*/ 189720 h 607728"/>
                  <a:gd name="connsiteX15" fmla="*/ 590420 w 636055"/>
                  <a:gd name="connsiteY15" fmla="*/ 199435 h 607728"/>
                  <a:gd name="connsiteX16" fmla="*/ 568849 w 636055"/>
                  <a:gd name="connsiteY16" fmla="*/ 213468 h 607728"/>
                  <a:gd name="connsiteX17" fmla="*/ 556128 w 636055"/>
                  <a:gd name="connsiteY17" fmla="*/ 201054 h 607728"/>
                  <a:gd name="connsiteX18" fmla="*/ 556128 w 636055"/>
                  <a:gd name="connsiteY18" fmla="*/ 171369 h 607728"/>
                  <a:gd name="connsiteX19" fmla="*/ 559447 w 636055"/>
                  <a:gd name="connsiteY19" fmla="*/ 167051 h 607728"/>
                  <a:gd name="connsiteX20" fmla="*/ 521836 w 636055"/>
                  <a:gd name="connsiteY20" fmla="*/ 155178 h 607728"/>
                  <a:gd name="connsiteX21" fmla="*/ 505244 w 636055"/>
                  <a:gd name="connsiteY21" fmla="*/ 138986 h 607728"/>
                  <a:gd name="connsiteX22" fmla="*/ 490310 w 636055"/>
                  <a:gd name="connsiteY22" fmla="*/ 108222 h 607728"/>
                  <a:gd name="connsiteX23" fmla="*/ 469846 w 636055"/>
                  <a:gd name="connsiteY23" fmla="*/ 102285 h 607728"/>
                  <a:gd name="connsiteX24" fmla="*/ 460443 w 636055"/>
                  <a:gd name="connsiteY24" fmla="*/ 95808 h 607728"/>
                  <a:gd name="connsiteX25" fmla="*/ 457678 w 636055"/>
                  <a:gd name="connsiteY25" fmla="*/ 87172 h 607728"/>
                  <a:gd name="connsiteX26" fmla="*/ 458231 w 636055"/>
                  <a:gd name="connsiteY26" fmla="*/ 64504 h 607728"/>
                  <a:gd name="connsiteX27" fmla="*/ 439426 w 636055"/>
                  <a:gd name="connsiteY27" fmla="*/ 47233 h 607728"/>
                  <a:gd name="connsiteX28" fmla="*/ 432789 w 636055"/>
                  <a:gd name="connsiteY28" fmla="*/ 10532 h 607728"/>
                  <a:gd name="connsiteX29" fmla="*/ 381351 w 636055"/>
                  <a:gd name="connsiteY29" fmla="*/ 1356 h 607728"/>
                  <a:gd name="connsiteX30" fmla="*/ 363099 w 636055"/>
                  <a:gd name="connsiteY30" fmla="*/ 8373 h 607728"/>
                  <a:gd name="connsiteX31" fmla="*/ 342081 w 636055"/>
                  <a:gd name="connsiteY31" fmla="*/ 33200 h 607728"/>
                  <a:gd name="connsiteX32" fmla="*/ 333232 w 636055"/>
                  <a:gd name="connsiteY32" fmla="*/ 30501 h 607728"/>
                  <a:gd name="connsiteX33" fmla="*/ 332679 w 636055"/>
                  <a:gd name="connsiteY33" fmla="*/ 4055 h 607728"/>
                  <a:gd name="connsiteX34" fmla="*/ 303918 w 636055"/>
                  <a:gd name="connsiteY34" fmla="*/ 3515 h 607728"/>
                  <a:gd name="connsiteX35" fmla="*/ 290644 w 636055"/>
                  <a:gd name="connsiteY35" fmla="*/ 15389 h 607728"/>
                  <a:gd name="connsiteX36" fmla="*/ 281241 w 636055"/>
                  <a:gd name="connsiteY36" fmla="*/ -263 h 607728"/>
                  <a:gd name="connsiteX37" fmla="*/ 266308 w 636055"/>
                  <a:gd name="connsiteY37" fmla="*/ 5134 h 607728"/>
                  <a:gd name="connsiteX38" fmla="*/ 260777 w 636055"/>
                  <a:gd name="connsiteY38" fmla="*/ 16469 h 607728"/>
                  <a:gd name="connsiteX39" fmla="*/ 243078 w 636055"/>
                  <a:gd name="connsiteY39" fmla="*/ 10532 h 607728"/>
                  <a:gd name="connsiteX40" fmla="*/ 215423 w 636055"/>
                  <a:gd name="connsiteY40" fmla="*/ 34819 h 607728"/>
                  <a:gd name="connsiteX41" fmla="*/ 219295 w 636055"/>
                  <a:gd name="connsiteY41" fmla="*/ 53170 h 607728"/>
                  <a:gd name="connsiteX42" fmla="*/ 212658 w 636055"/>
                  <a:gd name="connsiteY42" fmla="*/ 57488 h 607728"/>
                  <a:gd name="connsiteX43" fmla="*/ 196065 w 636055"/>
                  <a:gd name="connsiteY43" fmla="*/ 54249 h 607728"/>
                  <a:gd name="connsiteX44" fmla="*/ 155689 w 636055"/>
                  <a:gd name="connsiteY44" fmla="*/ 94189 h 607728"/>
                  <a:gd name="connsiteX45" fmla="*/ 165092 w 636055"/>
                  <a:gd name="connsiteY45" fmla="*/ 107682 h 607728"/>
                  <a:gd name="connsiteX46" fmla="*/ 167857 w 636055"/>
                  <a:gd name="connsiteY46" fmla="*/ 128731 h 607728"/>
                  <a:gd name="connsiteX47" fmla="*/ 183897 w 636055"/>
                  <a:gd name="connsiteY47" fmla="*/ 133049 h 607728"/>
                  <a:gd name="connsiteX48" fmla="*/ 145734 w 636055"/>
                  <a:gd name="connsiteY48" fmla="*/ 174608 h 607728"/>
                  <a:gd name="connsiteX49" fmla="*/ 134672 w 636055"/>
                  <a:gd name="connsiteY49" fmla="*/ 194038 h 607728"/>
                  <a:gd name="connsiteX50" fmla="*/ 133013 w 636055"/>
                  <a:gd name="connsiteY50" fmla="*/ 249629 h 607728"/>
                  <a:gd name="connsiteX51" fmla="*/ 151265 w 636055"/>
                  <a:gd name="connsiteY51" fmla="*/ 265821 h 607728"/>
                  <a:gd name="connsiteX52" fmla="*/ 147393 w 636055"/>
                  <a:gd name="connsiteY52" fmla="*/ 277155 h 607728"/>
                  <a:gd name="connsiteX53" fmla="*/ 132460 w 636055"/>
                  <a:gd name="connsiteY53" fmla="*/ 292267 h 607728"/>
                  <a:gd name="connsiteX54" fmla="*/ 126929 w 636055"/>
                  <a:gd name="connsiteY54" fmla="*/ 287949 h 607728"/>
                  <a:gd name="connsiteX55" fmla="*/ 120292 w 636055"/>
                  <a:gd name="connsiteY55" fmla="*/ 276076 h 607728"/>
                  <a:gd name="connsiteX56" fmla="*/ 113654 w 636055"/>
                  <a:gd name="connsiteY56" fmla="*/ 274996 h 607728"/>
                  <a:gd name="connsiteX57" fmla="*/ 72173 w 636055"/>
                  <a:gd name="connsiteY57" fmla="*/ 328429 h 607728"/>
                  <a:gd name="connsiteX58" fmla="*/ 63323 w 636055"/>
                  <a:gd name="connsiteY58" fmla="*/ 332747 h 607728"/>
                  <a:gd name="connsiteX59" fmla="*/ 29584 w 636055"/>
                  <a:gd name="connsiteY59" fmla="*/ 326270 h 607728"/>
                  <a:gd name="connsiteX60" fmla="*/ 17416 w 636055"/>
                  <a:gd name="connsiteY60" fmla="*/ 339763 h 607728"/>
                  <a:gd name="connsiteX61" fmla="*/ -836 w 636055"/>
                  <a:gd name="connsiteY61" fmla="*/ 344081 h 607728"/>
                  <a:gd name="connsiteX62" fmla="*/ 4695 w 636055"/>
                  <a:gd name="connsiteY62" fmla="*/ 361892 h 607728"/>
                  <a:gd name="connsiteX63" fmla="*/ 32903 w 636055"/>
                  <a:gd name="connsiteY63" fmla="*/ 402911 h 607728"/>
                  <a:gd name="connsiteX64" fmla="*/ 45071 w 636055"/>
                  <a:gd name="connsiteY64" fmla="*/ 414245 h 607728"/>
                  <a:gd name="connsiteX65" fmla="*/ 62770 w 636055"/>
                  <a:gd name="connsiteY65" fmla="*/ 470376 h 607728"/>
                  <a:gd name="connsiteX66" fmla="*/ 61111 w 636055"/>
                  <a:gd name="connsiteY66" fmla="*/ 478472 h 607728"/>
                  <a:gd name="connsiteX67" fmla="*/ 28478 w 636055"/>
                  <a:gd name="connsiteY67" fmla="*/ 511935 h 607728"/>
                  <a:gd name="connsiteX68" fmla="*/ 26819 w 636055"/>
                  <a:gd name="connsiteY68" fmla="*/ 532984 h 607728"/>
                  <a:gd name="connsiteX69" fmla="*/ 60558 w 636055"/>
                  <a:gd name="connsiteY69" fmla="*/ 551874 h 607728"/>
                  <a:gd name="connsiteX70" fmla="*/ 62770 w 636055"/>
                  <a:gd name="connsiteY70" fmla="*/ 571304 h 607728"/>
                  <a:gd name="connsiteX71" fmla="*/ 60558 w 636055"/>
                  <a:gd name="connsiteY71" fmla="*/ 586956 h 607728"/>
                  <a:gd name="connsiteX72" fmla="*/ 70513 w 636055"/>
                  <a:gd name="connsiteY72" fmla="*/ 603148 h 607728"/>
                  <a:gd name="connsiteX73" fmla="*/ 71066 w 636055"/>
                  <a:gd name="connsiteY73" fmla="*/ 607466 h 607728"/>
                  <a:gd name="connsiteX74" fmla="*/ 97062 w 636055"/>
                  <a:gd name="connsiteY74" fmla="*/ 599370 h 607728"/>
                  <a:gd name="connsiteX75" fmla="*/ 113654 w 636055"/>
                  <a:gd name="connsiteY75" fmla="*/ 586956 h 607728"/>
                  <a:gd name="connsiteX76" fmla="*/ 127482 w 636055"/>
                  <a:gd name="connsiteY76" fmla="*/ 561589 h 607728"/>
                  <a:gd name="connsiteX77" fmla="*/ 187769 w 636055"/>
                  <a:gd name="connsiteY77" fmla="*/ 527587 h 607728"/>
                  <a:gd name="connsiteX78" fmla="*/ 275157 w 636055"/>
                  <a:gd name="connsiteY78" fmla="*/ 536222 h 607728"/>
                  <a:gd name="connsiteX79" fmla="*/ 288432 w 636055"/>
                  <a:gd name="connsiteY79" fmla="*/ 534603 h 607728"/>
                  <a:gd name="connsiteX80" fmla="*/ 313874 w 636055"/>
                  <a:gd name="connsiteY80" fmla="*/ 522189 h 607728"/>
                  <a:gd name="connsiteX81" fmla="*/ 329360 w 636055"/>
                  <a:gd name="connsiteY81" fmla="*/ 547556 h 607728"/>
                  <a:gd name="connsiteX82" fmla="*/ 351484 w 636055"/>
                  <a:gd name="connsiteY82" fmla="*/ 538921 h 607728"/>
                  <a:gd name="connsiteX83" fmla="*/ 368077 w 636055"/>
                  <a:gd name="connsiteY83" fmla="*/ 553493 h 607728"/>
                  <a:gd name="connsiteX84" fmla="*/ 372502 w 636055"/>
                  <a:gd name="connsiteY84" fmla="*/ 548096 h 607728"/>
                  <a:gd name="connsiteX85" fmla="*/ 375820 w 636055"/>
                  <a:gd name="connsiteY85" fmla="*/ 537302 h 607728"/>
                  <a:gd name="connsiteX86" fmla="*/ 404028 w 636055"/>
                  <a:gd name="connsiteY86" fmla="*/ 524348 h 607728"/>
                  <a:gd name="connsiteX87" fmla="*/ 448275 w 636055"/>
                  <a:gd name="connsiteY87" fmla="*/ 529206 h 607728"/>
                  <a:gd name="connsiteX88" fmla="*/ 451041 w 636055"/>
                  <a:gd name="connsiteY88" fmla="*/ 515173 h 607728"/>
                  <a:gd name="connsiteX89" fmla="*/ 468740 w 636055"/>
                  <a:gd name="connsiteY89" fmla="*/ 501140 h 607728"/>
                  <a:gd name="connsiteX90" fmla="*/ 479248 w 636055"/>
                  <a:gd name="connsiteY90" fmla="*/ 524888 h 607728"/>
                  <a:gd name="connsiteX91" fmla="*/ 489204 w 636055"/>
                  <a:gd name="connsiteY91" fmla="*/ 530285 h 607728"/>
                  <a:gd name="connsiteX92" fmla="*/ 537323 w 636055"/>
                  <a:gd name="connsiteY92" fmla="*/ 503839 h 607728"/>
                  <a:gd name="connsiteX93" fmla="*/ 544513 w 636055"/>
                  <a:gd name="connsiteY93" fmla="*/ 509236 h 607728"/>
                  <a:gd name="connsiteX94" fmla="*/ 577699 w 636055"/>
                  <a:gd name="connsiteY94" fmla="*/ 521110 h 607728"/>
                  <a:gd name="connsiteX95" fmla="*/ 582676 w 636055"/>
                  <a:gd name="connsiteY95" fmla="*/ 522189 h 607728"/>
                  <a:gd name="connsiteX96" fmla="*/ 582676 w 636055"/>
                  <a:gd name="connsiteY96" fmla="*/ 514633 h 607728"/>
                  <a:gd name="connsiteX97" fmla="*/ 572168 w 636055"/>
                  <a:gd name="connsiteY97" fmla="*/ 482790 h 607728"/>
                  <a:gd name="connsiteX98" fmla="*/ 570508 w 636055"/>
                  <a:gd name="connsiteY98" fmla="*/ 446088 h 607728"/>
                  <a:gd name="connsiteX99" fmla="*/ 571615 w 636055"/>
                  <a:gd name="connsiteY99" fmla="*/ 427738 h 607728"/>
                  <a:gd name="connsiteX100" fmla="*/ 572721 w 636055"/>
                  <a:gd name="connsiteY100" fmla="*/ 422880 h 60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636055" h="607728">
                    <a:moveTo>
                      <a:pt x="572721" y="422880"/>
                    </a:moveTo>
                    <a:lnTo>
                      <a:pt x="580464" y="412086"/>
                    </a:lnTo>
                    <a:lnTo>
                      <a:pt x="620840" y="384560"/>
                    </a:lnTo>
                    <a:lnTo>
                      <a:pt x="616415" y="364050"/>
                    </a:lnTo>
                    <a:lnTo>
                      <a:pt x="603694" y="353256"/>
                    </a:lnTo>
                    <a:lnTo>
                      <a:pt x="593185" y="330588"/>
                    </a:lnTo>
                    <a:lnTo>
                      <a:pt x="589867" y="299284"/>
                    </a:lnTo>
                    <a:lnTo>
                      <a:pt x="577699" y="279854"/>
                    </a:lnTo>
                    <a:lnTo>
                      <a:pt x="575486" y="265281"/>
                    </a:lnTo>
                    <a:lnTo>
                      <a:pt x="593738" y="255566"/>
                    </a:lnTo>
                    <a:lnTo>
                      <a:pt x="614756" y="252867"/>
                    </a:lnTo>
                    <a:lnTo>
                      <a:pt x="629136" y="244232"/>
                    </a:lnTo>
                    <a:lnTo>
                      <a:pt x="635220" y="216166"/>
                    </a:lnTo>
                    <a:lnTo>
                      <a:pt x="610331" y="187021"/>
                    </a:lnTo>
                    <a:lnTo>
                      <a:pt x="595398" y="189720"/>
                    </a:lnTo>
                    <a:lnTo>
                      <a:pt x="590420" y="199435"/>
                    </a:lnTo>
                    <a:lnTo>
                      <a:pt x="568849" y="213468"/>
                    </a:lnTo>
                    <a:lnTo>
                      <a:pt x="556128" y="201054"/>
                    </a:lnTo>
                    <a:cubicBezTo>
                      <a:pt x="551703" y="193498"/>
                      <a:pt x="553363" y="178925"/>
                      <a:pt x="556128" y="171369"/>
                    </a:cubicBezTo>
                    <a:cubicBezTo>
                      <a:pt x="556681" y="169750"/>
                      <a:pt x="558340" y="168131"/>
                      <a:pt x="559447" y="167051"/>
                    </a:cubicBezTo>
                    <a:lnTo>
                      <a:pt x="521836" y="155178"/>
                    </a:lnTo>
                    <a:lnTo>
                      <a:pt x="505244" y="138986"/>
                    </a:lnTo>
                    <a:lnTo>
                      <a:pt x="490310" y="108222"/>
                    </a:lnTo>
                    <a:lnTo>
                      <a:pt x="469846" y="102285"/>
                    </a:lnTo>
                    <a:lnTo>
                      <a:pt x="460443" y="95808"/>
                    </a:lnTo>
                    <a:lnTo>
                      <a:pt x="457678" y="87172"/>
                    </a:lnTo>
                    <a:lnTo>
                      <a:pt x="458231" y="64504"/>
                    </a:lnTo>
                    <a:lnTo>
                      <a:pt x="439426" y="47233"/>
                    </a:lnTo>
                    <a:lnTo>
                      <a:pt x="432789" y="10532"/>
                    </a:lnTo>
                    <a:lnTo>
                      <a:pt x="381351" y="1356"/>
                    </a:lnTo>
                    <a:lnTo>
                      <a:pt x="363099" y="8373"/>
                    </a:lnTo>
                    <a:lnTo>
                      <a:pt x="342081" y="33200"/>
                    </a:lnTo>
                    <a:lnTo>
                      <a:pt x="333232" y="30501"/>
                    </a:lnTo>
                    <a:lnTo>
                      <a:pt x="332679" y="4055"/>
                    </a:lnTo>
                    <a:lnTo>
                      <a:pt x="303918" y="3515"/>
                    </a:lnTo>
                    <a:lnTo>
                      <a:pt x="290644" y="15389"/>
                    </a:lnTo>
                    <a:lnTo>
                      <a:pt x="281241" y="-263"/>
                    </a:lnTo>
                    <a:lnTo>
                      <a:pt x="266308" y="5134"/>
                    </a:lnTo>
                    <a:lnTo>
                      <a:pt x="260777" y="16469"/>
                    </a:lnTo>
                    <a:lnTo>
                      <a:pt x="243078" y="10532"/>
                    </a:lnTo>
                    <a:lnTo>
                      <a:pt x="215423" y="34819"/>
                    </a:lnTo>
                    <a:lnTo>
                      <a:pt x="219295" y="53170"/>
                    </a:lnTo>
                    <a:cubicBezTo>
                      <a:pt x="217636" y="54249"/>
                      <a:pt x="214870" y="57488"/>
                      <a:pt x="212658" y="57488"/>
                    </a:cubicBezTo>
                    <a:cubicBezTo>
                      <a:pt x="208233" y="57488"/>
                      <a:pt x="200490" y="55329"/>
                      <a:pt x="196065" y="54249"/>
                    </a:cubicBezTo>
                    <a:lnTo>
                      <a:pt x="155689" y="94189"/>
                    </a:lnTo>
                    <a:lnTo>
                      <a:pt x="165092" y="107682"/>
                    </a:lnTo>
                    <a:lnTo>
                      <a:pt x="167857" y="128731"/>
                    </a:lnTo>
                    <a:lnTo>
                      <a:pt x="183897" y="133049"/>
                    </a:lnTo>
                    <a:lnTo>
                      <a:pt x="145734" y="174608"/>
                    </a:lnTo>
                    <a:lnTo>
                      <a:pt x="134672" y="194038"/>
                    </a:lnTo>
                    <a:lnTo>
                      <a:pt x="133013" y="249629"/>
                    </a:lnTo>
                    <a:lnTo>
                      <a:pt x="151265" y="265821"/>
                    </a:lnTo>
                    <a:lnTo>
                      <a:pt x="147393" y="277155"/>
                    </a:lnTo>
                    <a:lnTo>
                      <a:pt x="132460" y="292267"/>
                    </a:lnTo>
                    <a:lnTo>
                      <a:pt x="126929" y="287949"/>
                    </a:lnTo>
                    <a:lnTo>
                      <a:pt x="120292" y="276076"/>
                    </a:lnTo>
                    <a:lnTo>
                      <a:pt x="113654" y="274996"/>
                    </a:lnTo>
                    <a:lnTo>
                      <a:pt x="72173" y="328429"/>
                    </a:lnTo>
                    <a:lnTo>
                      <a:pt x="63323" y="332747"/>
                    </a:lnTo>
                    <a:lnTo>
                      <a:pt x="29584" y="326270"/>
                    </a:lnTo>
                    <a:lnTo>
                      <a:pt x="17416" y="339763"/>
                    </a:lnTo>
                    <a:lnTo>
                      <a:pt x="-836" y="344081"/>
                    </a:lnTo>
                    <a:lnTo>
                      <a:pt x="4695" y="361892"/>
                    </a:lnTo>
                    <a:lnTo>
                      <a:pt x="32903" y="402911"/>
                    </a:lnTo>
                    <a:lnTo>
                      <a:pt x="45071" y="414245"/>
                    </a:lnTo>
                    <a:lnTo>
                      <a:pt x="62770" y="470376"/>
                    </a:lnTo>
                    <a:lnTo>
                      <a:pt x="61111" y="478472"/>
                    </a:lnTo>
                    <a:lnTo>
                      <a:pt x="28478" y="511935"/>
                    </a:lnTo>
                    <a:lnTo>
                      <a:pt x="26819" y="532984"/>
                    </a:lnTo>
                    <a:cubicBezTo>
                      <a:pt x="42859" y="535682"/>
                      <a:pt x="56686" y="532984"/>
                      <a:pt x="60558" y="551874"/>
                    </a:cubicBezTo>
                    <a:cubicBezTo>
                      <a:pt x="61664" y="557811"/>
                      <a:pt x="62770" y="565367"/>
                      <a:pt x="62770" y="571304"/>
                    </a:cubicBezTo>
                    <a:cubicBezTo>
                      <a:pt x="62217" y="576162"/>
                      <a:pt x="60558" y="581559"/>
                      <a:pt x="60558" y="586956"/>
                    </a:cubicBezTo>
                    <a:cubicBezTo>
                      <a:pt x="61111" y="591814"/>
                      <a:pt x="68301" y="598830"/>
                      <a:pt x="70513" y="603148"/>
                    </a:cubicBezTo>
                    <a:cubicBezTo>
                      <a:pt x="71066" y="604227"/>
                      <a:pt x="71066" y="605847"/>
                      <a:pt x="71066" y="607466"/>
                    </a:cubicBezTo>
                    <a:lnTo>
                      <a:pt x="97062" y="599370"/>
                    </a:lnTo>
                    <a:lnTo>
                      <a:pt x="113654" y="586956"/>
                    </a:lnTo>
                    <a:lnTo>
                      <a:pt x="127482" y="561589"/>
                    </a:lnTo>
                    <a:lnTo>
                      <a:pt x="187769" y="527587"/>
                    </a:lnTo>
                    <a:lnTo>
                      <a:pt x="275157" y="536222"/>
                    </a:lnTo>
                    <a:lnTo>
                      <a:pt x="288432" y="534603"/>
                    </a:lnTo>
                    <a:lnTo>
                      <a:pt x="313874" y="522189"/>
                    </a:lnTo>
                    <a:lnTo>
                      <a:pt x="329360" y="547556"/>
                    </a:lnTo>
                    <a:lnTo>
                      <a:pt x="351484" y="538921"/>
                    </a:lnTo>
                    <a:lnTo>
                      <a:pt x="368077" y="553493"/>
                    </a:lnTo>
                    <a:lnTo>
                      <a:pt x="372502" y="548096"/>
                    </a:lnTo>
                    <a:lnTo>
                      <a:pt x="375820" y="537302"/>
                    </a:lnTo>
                    <a:lnTo>
                      <a:pt x="404028" y="524348"/>
                    </a:lnTo>
                    <a:lnTo>
                      <a:pt x="448275" y="529206"/>
                    </a:lnTo>
                    <a:lnTo>
                      <a:pt x="451041" y="515173"/>
                    </a:lnTo>
                    <a:lnTo>
                      <a:pt x="468740" y="501140"/>
                    </a:lnTo>
                    <a:lnTo>
                      <a:pt x="479248" y="524888"/>
                    </a:lnTo>
                    <a:lnTo>
                      <a:pt x="489204" y="530285"/>
                    </a:lnTo>
                    <a:lnTo>
                      <a:pt x="537323" y="503839"/>
                    </a:lnTo>
                    <a:cubicBezTo>
                      <a:pt x="539535" y="505458"/>
                      <a:pt x="541748" y="507617"/>
                      <a:pt x="544513" y="509236"/>
                    </a:cubicBezTo>
                    <a:cubicBezTo>
                      <a:pt x="557787" y="517872"/>
                      <a:pt x="562212" y="518411"/>
                      <a:pt x="577699" y="521110"/>
                    </a:cubicBezTo>
                    <a:lnTo>
                      <a:pt x="582676" y="522189"/>
                    </a:lnTo>
                    <a:lnTo>
                      <a:pt x="582676" y="514633"/>
                    </a:lnTo>
                    <a:cubicBezTo>
                      <a:pt x="581017" y="496822"/>
                      <a:pt x="577699" y="497902"/>
                      <a:pt x="572168" y="482790"/>
                    </a:cubicBezTo>
                    <a:cubicBezTo>
                      <a:pt x="567190" y="470916"/>
                      <a:pt x="569955" y="457962"/>
                      <a:pt x="570508" y="446088"/>
                    </a:cubicBezTo>
                    <a:cubicBezTo>
                      <a:pt x="571062" y="440151"/>
                      <a:pt x="571062" y="433675"/>
                      <a:pt x="571615" y="427738"/>
                    </a:cubicBezTo>
                    <a:cubicBezTo>
                      <a:pt x="571615" y="426658"/>
                      <a:pt x="573274" y="423960"/>
                      <a:pt x="572721" y="422880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2" name="Freeform 1094">
                <a:extLst>
                  <a:ext uri="{FF2B5EF4-FFF2-40B4-BE49-F238E27FC236}">
                    <a16:creationId xmlns:a16="http://schemas.microsoft.com/office/drawing/2014/main" id="{46EDE18B-FB61-4CF5-8EE6-80F9DBFF0204}"/>
                  </a:ext>
                </a:extLst>
              </p:cNvPr>
              <p:cNvSpPr/>
              <p:nvPr/>
            </p:nvSpPr>
            <p:spPr>
              <a:xfrm>
                <a:off x="6885821" y="4437615"/>
                <a:ext cx="324111" cy="302297"/>
              </a:xfrm>
              <a:custGeom>
                <a:avLst/>
                <a:gdLst>
                  <a:gd name="connsiteX0" fmla="*/ 299565 w 324111"/>
                  <a:gd name="connsiteY0" fmla="*/ 140493 h 302297"/>
                  <a:gd name="connsiteX1" fmla="*/ 310627 w 324111"/>
                  <a:gd name="connsiteY1" fmla="*/ 151287 h 302297"/>
                  <a:gd name="connsiteX2" fmla="*/ 287950 w 324111"/>
                  <a:gd name="connsiteY2" fmla="*/ 161002 h 302297"/>
                  <a:gd name="connsiteX3" fmla="*/ 310073 w 324111"/>
                  <a:gd name="connsiteY3" fmla="*/ 177734 h 302297"/>
                  <a:gd name="connsiteX4" fmla="*/ 307308 w 324111"/>
                  <a:gd name="connsiteY4" fmla="*/ 181512 h 302297"/>
                  <a:gd name="connsiteX5" fmla="*/ 276335 w 324111"/>
                  <a:gd name="connsiteY5" fmla="*/ 167479 h 302297"/>
                  <a:gd name="connsiteX6" fmla="*/ 253105 w 324111"/>
                  <a:gd name="connsiteY6" fmla="*/ 176654 h 302297"/>
                  <a:gd name="connsiteX7" fmla="*/ 256424 w 324111"/>
                  <a:gd name="connsiteY7" fmla="*/ 197164 h 302297"/>
                  <a:gd name="connsiteX8" fmla="*/ 263061 w 324111"/>
                  <a:gd name="connsiteY8" fmla="*/ 212276 h 302297"/>
                  <a:gd name="connsiteX9" fmla="*/ 278547 w 324111"/>
                  <a:gd name="connsiteY9" fmla="*/ 231166 h 302297"/>
                  <a:gd name="connsiteX10" fmla="*/ 268038 w 324111"/>
                  <a:gd name="connsiteY10" fmla="*/ 243040 h 302297"/>
                  <a:gd name="connsiteX11" fmla="*/ 266932 w 324111"/>
                  <a:gd name="connsiteY11" fmla="*/ 255454 h 302297"/>
                  <a:gd name="connsiteX12" fmla="*/ 270804 w 324111"/>
                  <a:gd name="connsiteY12" fmla="*/ 278122 h 302297"/>
                  <a:gd name="connsiteX13" fmla="*/ 259742 w 324111"/>
                  <a:gd name="connsiteY13" fmla="*/ 290536 h 302297"/>
                  <a:gd name="connsiteX14" fmla="*/ 255317 w 324111"/>
                  <a:gd name="connsiteY14" fmla="*/ 301870 h 302297"/>
                  <a:gd name="connsiteX15" fmla="*/ 240384 w 324111"/>
                  <a:gd name="connsiteY15" fmla="*/ 285678 h 302297"/>
                  <a:gd name="connsiteX16" fmla="*/ 193924 w 324111"/>
                  <a:gd name="connsiteY16" fmla="*/ 263550 h 302297"/>
                  <a:gd name="connsiteX17" fmla="*/ 177331 w 324111"/>
                  <a:gd name="connsiteY17" fmla="*/ 268947 h 302297"/>
                  <a:gd name="connsiteX18" fmla="*/ 169588 w 324111"/>
                  <a:gd name="connsiteY18" fmla="*/ 261930 h 302297"/>
                  <a:gd name="connsiteX19" fmla="*/ 177884 w 324111"/>
                  <a:gd name="connsiteY19" fmla="*/ 255993 h 302297"/>
                  <a:gd name="connsiteX20" fmla="*/ 180097 w 324111"/>
                  <a:gd name="connsiteY20" fmla="*/ 243580 h 302297"/>
                  <a:gd name="connsiteX21" fmla="*/ 149677 w 324111"/>
                  <a:gd name="connsiteY21" fmla="*/ 206339 h 302297"/>
                  <a:gd name="connsiteX22" fmla="*/ 121469 w 324111"/>
                  <a:gd name="connsiteY22" fmla="*/ 197164 h 302297"/>
                  <a:gd name="connsiteX23" fmla="*/ 80540 w 324111"/>
                  <a:gd name="connsiteY23" fmla="*/ 152367 h 302297"/>
                  <a:gd name="connsiteX24" fmla="*/ 54545 w 324111"/>
                  <a:gd name="connsiteY24" fmla="*/ 134556 h 302297"/>
                  <a:gd name="connsiteX25" fmla="*/ -764 w 324111"/>
                  <a:gd name="connsiteY25" fmla="*/ 51438 h 302297"/>
                  <a:gd name="connsiteX26" fmla="*/ 7532 w 324111"/>
                  <a:gd name="connsiteY26" fmla="*/ 12578 h 302297"/>
                  <a:gd name="connsiteX27" fmla="*/ 20806 w 324111"/>
                  <a:gd name="connsiteY27" fmla="*/ 14737 h 302297"/>
                  <a:gd name="connsiteX28" fmla="*/ 26337 w 324111"/>
                  <a:gd name="connsiteY28" fmla="*/ 26071 h 302297"/>
                  <a:gd name="connsiteX29" fmla="*/ 37399 w 324111"/>
                  <a:gd name="connsiteY29" fmla="*/ 29310 h 302297"/>
                  <a:gd name="connsiteX30" fmla="*/ 48461 w 324111"/>
                  <a:gd name="connsiteY30" fmla="*/ 13118 h 302297"/>
                  <a:gd name="connsiteX31" fmla="*/ 86071 w 324111"/>
                  <a:gd name="connsiteY31" fmla="*/ 1244 h 302297"/>
                  <a:gd name="connsiteX32" fmla="*/ 138615 w 324111"/>
                  <a:gd name="connsiteY32" fmla="*/ 9880 h 302297"/>
                  <a:gd name="connsiteX33" fmla="*/ 150230 w 324111"/>
                  <a:gd name="connsiteY33" fmla="*/ 8800 h 302297"/>
                  <a:gd name="connsiteX34" fmla="*/ 164610 w 324111"/>
                  <a:gd name="connsiteY34" fmla="*/ 11499 h 302297"/>
                  <a:gd name="connsiteX35" fmla="*/ 177331 w 324111"/>
                  <a:gd name="connsiteY35" fmla="*/ 2863 h 302297"/>
                  <a:gd name="connsiteX36" fmla="*/ 188393 w 324111"/>
                  <a:gd name="connsiteY36" fmla="*/ 5022 h 302297"/>
                  <a:gd name="connsiteX37" fmla="*/ 197796 w 324111"/>
                  <a:gd name="connsiteY37" fmla="*/ -375 h 302297"/>
                  <a:gd name="connsiteX38" fmla="*/ 216601 w 324111"/>
                  <a:gd name="connsiteY38" fmla="*/ 2324 h 302297"/>
                  <a:gd name="connsiteX39" fmla="*/ 237618 w 324111"/>
                  <a:gd name="connsiteY39" fmla="*/ 3943 h 302297"/>
                  <a:gd name="connsiteX40" fmla="*/ 249786 w 324111"/>
                  <a:gd name="connsiteY40" fmla="*/ 21754 h 302297"/>
                  <a:gd name="connsiteX41" fmla="*/ 279100 w 324111"/>
                  <a:gd name="connsiteY41" fmla="*/ 12578 h 302297"/>
                  <a:gd name="connsiteX42" fmla="*/ 293481 w 324111"/>
                  <a:gd name="connsiteY42" fmla="*/ 12039 h 302297"/>
                  <a:gd name="connsiteX43" fmla="*/ 282972 w 324111"/>
                  <a:gd name="connsiteY43" fmla="*/ 68709 h 302297"/>
                  <a:gd name="connsiteX44" fmla="*/ 286291 w 324111"/>
                  <a:gd name="connsiteY44" fmla="*/ 74646 h 302297"/>
                  <a:gd name="connsiteX45" fmla="*/ 321135 w 324111"/>
                  <a:gd name="connsiteY45" fmla="*/ 97855 h 302297"/>
                  <a:gd name="connsiteX46" fmla="*/ 323348 w 324111"/>
                  <a:gd name="connsiteY46" fmla="*/ 108109 h 302297"/>
                  <a:gd name="connsiteX47" fmla="*/ 313392 w 324111"/>
                  <a:gd name="connsiteY47" fmla="*/ 122142 h 302297"/>
                  <a:gd name="connsiteX48" fmla="*/ 309520 w 324111"/>
                  <a:gd name="connsiteY48" fmla="*/ 121063 h 302297"/>
                  <a:gd name="connsiteX49" fmla="*/ 297905 w 324111"/>
                  <a:gd name="connsiteY49" fmla="*/ 115126 h 302297"/>
                  <a:gd name="connsiteX50" fmla="*/ 293481 w 324111"/>
                  <a:gd name="connsiteY50" fmla="*/ 117824 h 302297"/>
                  <a:gd name="connsiteX51" fmla="*/ 299565 w 324111"/>
                  <a:gd name="connsiteY51" fmla="*/ 140493 h 302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324111" h="302297">
                    <a:moveTo>
                      <a:pt x="299565" y="140493"/>
                    </a:moveTo>
                    <a:lnTo>
                      <a:pt x="310627" y="151287"/>
                    </a:lnTo>
                    <a:lnTo>
                      <a:pt x="287950" y="161002"/>
                    </a:lnTo>
                    <a:lnTo>
                      <a:pt x="310073" y="177734"/>
                    </a:lnTo>
                    <a:lnTo>
                      <a:pt x="307308" y="181512"/>
                    </a:lnTo>
                    <a:cubicBezTo>
                      <a:pt x="303436" y="178273"/>
                      <a:pt x="282419" y="170177"/>
                      <a:pt x="276335" y="167479"/>
                    </a:cubicBezTo>
                    <a:lnTo>
                      <a:pt x="253105" y="176654"/>
                    </a:lnTo>
                    <a:lnTo>
                      <a:pt x="256424" y="197164"/>
                    </a:lnTo>
                    <a:lnTo>
                      <a:pt x="263061" y="212276"/>
                    </a:lnTo>
                    <a:lnTo>
                      <a:pt x="278547" y="231166"/>
                    </a:lnTo>
                    <a:lnTo>
                      <a:pt x="268038" y="243040"/>
                    </a:lnTo>
                    <a:lnTo>
                      <a:pt x="266932" y="255454"/>
                    </a:lnTo>
                    <a:lnTo>
                      <a:pt x="270804" y="278122"/>
                    </a:lnTo>
                    <a:lnTo>
                      <a:pt x="259742" y="290536"/>
                    </a:lnTo>
                    <a:lnTo>
                      <a:pt x="255317" y="301870"/>
                    </a:lnTo>
                    <a:lnTo>
                      <a:pt x="240384" y="285678"/>
                    </a:lnTo>
                    <a:lnTo>
                      <a:pt x="193924" y="263550"/>
                    </a:lnTo>
                    <a:lnTo>
                      <a:pt x="177331" y="268947"/>
                    </a:lnTo>
                    <a:cubicBezTo>
                      <a:pt x="176225" y="264629"/>
                      <a:pt x="172907" y="264089"/>
                      <a:pt x="169588" y="261930"/>
                    </a:cubicBezTo>
                    <a:lnTo>
                      <a:pt x="177884" y="255993"/>
                    </a:lnTo>
                    <a:lnTo>
                      <a:pt x="180097" y="243580"/>
                    </a:lnTo>
                    <a:lnTo>
                      <a:pt x="149677" y="206339"/>
                    </a:lnTo>
                    <a:lnTo>
                      <a:pt x="121469" y="197164"/>
                    </a:lnTo>
                    <a:lnTo>
                      <a:pt x="80540" y="152367"/>
                    </a:lnTo>
                    <a:lnTo>
                      <a:pt x="54545" y="134556"/>
                    </a:lnTo>
                    <a:lnTo>
                      <a:pt x="-764" y="51438"/>
                    </a:lnTo>
                    <a:lnTo>
                      <a:pt x="7532" y="12578"/>
                    </a:lnTo>
                    <a:lnTo>
                      <a:pt x="20806" y="14737"/>
                    </a:lnTo>
                    <a:lnTo>
                      <a:pt x="26337" y="26071"/>
                    </a:lnTo>
                    <a:lnTo>
                      <a:pt x="37399" y="29310"/>
                    </a:lnTo>
                    <a:lnTo>
                      <a:pt x="48461" y="13118"/>
                    </a:lnTo>
                    <a:lnTo>
                      <a:pt x="86071" y="1244"/>
                    </a:lnTo>
                    <a:cubicBezTo>
                      <a:pt x="91602" y="3403"/>
                      <a:pt x="130872" y="9340"/>
                      <a:pt x="138615" y="9880"/>
                    </a:cubicBezTo>
                    <a:cubicBezTo>
                      <a:pt x="142487" y="10419"/>
                      <a:pt x="146358" y="8800"/>
                      <a:pt x="150230" y="8800"/>
                    </a:cubicBezTo>
                    <a:cubicBezTo>
                      <a:pt x="154655" y="8800"/>
                      <a:pt x="159632" y="11499"/>
                      <a:pt x="164610" y="11499"/>
                    </a:cubicBezTo>
                    <a:cubicBezTo>
                      <a:pt x="169035" y="11499"/>
                      <a:pt x="172354" y="3943"/>
                      <a:pt x="177331" y="2863"/>
                    </a:cubicBezTo>
                    <a:cubicBezTo>
                      <a:pt x="180650" y="1784"/>
                      <a:pt x="185075" y="5562"/>
                      <a:pt x="188393" y="5022"/>
                    </a:cubicBezTo>
                    <a:cubicBezTo>
                      <a:pt x="191712" y="4482"/>
                      <a:pt x="194477" y="165"/>
                      <a:pt x="197796" y="-375"/>
                    </a:cubicBezTo>
                    <a:cubicBezTo>
                      <a:pt x="203880" y="-915"/>
                      <a:pt x="209964" y="2863"/>
                      <a:pt x="216601" y="2324"/>
                    </a:cubicBezTo>
                    <a:cubicBezTo>
                      <a:pt x="222132" y="1784"/>
                      <a:pt x="233747" y="704"/>
                      <a:pt x="237618" y="3943"/>
                    </a:cubicBezTo>
                    <a:cubicBezTo>
                      <a:pt x="243149" y="8260"/>
                      <a:pt x="244256" y="16896"/>
                      <a:pt x="249786" y="21754"/>
                    </a:cubicBezTo>
                    <a:cubicBezTo>
                      <a:pt x="258083" y="28230"/>
                      <a:pt x="271357" y="15277"/>
                      <a:pt x="279100" y="12578"/>
                    </a:cubicBezTo>
                    <a:cubicBezTo>
                      <a:pt x="283525" y="11499"/>
                      <a:pt x="288503" y="13118"/>
                      <a:pt x="293481" y="12039"/>
                    </a:cubicBezTo>
                    <a:cubicBezTo>
                      <a:pt x="303989" y="29849"/>
                      <a:pt x="280207" y="49279"/>
                      <a:pt x="282972" y="68709"/>
                    </a:cubicBezTo>
                    <a:cubicBezTo>
                      <a:pt x="283525" y="70868"/>
                      <a:pt x="284631" y="73567"/>
                      <a:pt x="286291" y="74646"/>
                    </a:cubicBezTo>
                    <a:cubicBezTo>
                      <a:pt x="297352" y="82203"/>
                      <a:pt x="310073" y="81663"/>
                      <a:pt x="321135" y="97855"/>
                    </a:cubicBezTo>
                    <a:cubicBezTo>
                      <a:pt x="323348" y="100013"/>
                      <a:pt x="323348" y="104871"/>
                      <a:pt x="323348" y="108109"/>
                    </a:cubicBezTo>
                    <a:cubicBezTo>
                      <a:pt x="323348" y="115126"/>
                      <a:pt x="321688" y="122142"/>
                      <a:pt x="313392" y="122142"/>
                    </a:cubicBezTo>
                    <a:cubicBezTo>
                      <a:pt x="312286" y="122142"/>
                      <a:pt x="310627" y="122142"/>
                      <a:pt x="309520" y="121063"/>
                    </a:cubicBezTo>
                    <a:cubicBezTo>
                      <a:pt x="305096" y="118904"/>
                      <a:pt x="304543" y="114046"/>
                      <a:pt x="297905" y="115126"/>
                    </a:cubicBezTo>
                    <a:cubicBezTo>
                      <a:pt x="296246" y="115126"/>
                      <a:pt x="294034" y="116205"/>
                      <a:pt x="293481" y="117824"/>
                    </a:cubicBezTo>
                    <a:cubicBezTo>
                      <a:pt x="290715" y="123222"/>
                      <a:pt x="301777" y="131317"/>
                      <a:pt x="299565" y="140493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3" name="Freeform 1095">
                <a:extLst>
                  <a:ext uri="{FF2B5EF4-FFF2-40B4-BE49-F238E27FC236}">
                    <a16:creationId xmlns:a16="http://schemas.microsoft.com/office/drawing/2014/main" id="{A6F348AD-76A1-4727-8050-143062A398FB}"/>
                  </a:ext>
                </a:extLst>
              </p:cNvPr>
              <p:cNvSpPr/>
              <p:nvPr/>
            </p:nvSpPr>
            <p:spPr>
              <a:xfrm>
                <a:off x="7461037" y="4400427"/>
                <a:ext cx="530259" cy="418285"/>
              </a:xfrm>
              <a:custGeom>
                <a:avLst/>
                <a:gdLst>
                  <a:gd name="connsiteX0" fmla="*/ 8000 w 530259"/>
                  <a:gd name="connsiteY0" fmla="*/ 74591 h 418285"/>
                  <a:gd name="connsiteX1" fmla="*/ 42292 w 530259"/>
                  <a:gd name="connsiteY1" fmla="*/ 85925 h 418285"/>
                  <a:gd name="connsiteX2" fmla="*/ 40080 w 530259"/>
                  <a:gd name="connsiteY2" fmla="*/ 110752 h 418285"/>
                  <a:gd name="connsiteX3" fmla="*/ 51695 w 530259"/>
                  <a:gd name="connsiteY3" fmla="*/ 113451 h 418285"/>
                  <a:gd name="connsiteX4" fmla="*/ 57779 w 530259"/>
                  <a:gd name="connsiteY4" fmla="*/ 110213 h 418285"/>
                  <a:gd name="connsiteX5" fmla="*/ 66628 w 530259"/>
                  <a:gd name="connsiteY5" fmla="*/ 109673 h 418285"/>
                  <a:gd name="connsiteX6" fmla="*/ 78796 w 530259"/>
                  <a:gd name="connsiteY6" fmla="*/ 109133 h 418285"/>
                  <a:gd name="connsiteX7" fmla="*/ 94283 w 530259"/>
                  <a:gd name="connsiteY7" fmla="*/ 105895 h 418285"/>
                  <a:gd name="connsiteX8" fmla="*/ 157335 w 530259"/>
                  <a:gd name="connsiteY8" fmla="*/ 111292 h 418285"/>
                  <a:gd name="connsiteX9" fmla="*/ 172822 w 530259"/>
                  <a:gd name="connsiteY9" fmla="*/ 104276 h 418285"/>
                  <a:gd name="connsiteX10" fmla="*/ 200477 w 530259"/>
                  <a:gd name="connsiteY10" fmla="*/ 98878 h 418285"/>
                  <a:gd name="connsiteX11" fmla="*/ 207667 w 530259"/>
                  <a:gd name="connsiteY11" fmla="*/ 98878 h 418285"/>
                  <a:gd name="connsiteX12" fmla="*/ 219282 w 530259"/>
                  <a:gd name="connsiteY12" fmla="*/ 96719 h 418285"/>
                  <a:gd name="connsiteX13" fmla="*/ 249149 w 530259"/>
                  <a:gd name="connsiteY13" fmla="*/ 100498 h 418285"/>
                  <a:gd name="connsiteX14" fmla="*/ 262976 w 530259"/>
                  <a:gd name="connsiteY14" fmla="*/ 98339 h 418285"/>
                  <a:gd name="connsiteX15" fmla="*/ 302799 w 530259"/>
                  <a:gd name="connsiteY15" fmla="*/ 48144 h 418285"/>
                  <a:gd name="connsiteX16" fmla="*/ 309436 w 530259"/>
                  <a:gd name="connsiteY16" fmla="*/ 40588 h 418285"/>
                  <a:gd name="connsiteX17" fmla="*/ 345940 w 530259"/>
                  <a:gd name="connsiteY17" fmla="*/ 20619 h 418285"/>
                  <a:gd name="connsiteX18" fmla="*/ 376913 w 530259"/>
                  <a:gd name="connsiteY18" fmla="*/ 3347 h 418285"/>
                  <a:gd name="connsiteX19" fmla="*/ 394612 w 530259"/>
                  <a:gd name="connsiteY19" fmla="*/ -431 h 418285"/>
                  <a:gd name="connsiteX20" fmla="*/ 411205 w 530259"/>
                  <a:gd name="connsiteY20" fmla="*/ 11983 h 418285"/>
                  <a:gd name="connsiteX21" fmla="*/ 431116 w 530259"/>
                  <a:gd name="connsiteY21" fmla="*/ 4967 h 418285"/>
                  <a:gd name="connsiteX22" fmla="*/ 446602 w 530259"/>
                  <a:gd name="connsiteY22" fmla="*/ 14142 h 418285"/>
                  <a:gd name="connsiteX23" fmla="*/ 459324 w 530259"/>
                  <a:gd name="connsiteY23" fmla="*/ 4967 h 418285"/>
                  <a:gd name="connsiteX24" fmla="*/ 467067 w 530259"/>
                  <a:gd name="connsiteY24" fmla="*/ 16840 h 418285"/>
                  <a:gd name="connsiteX25" fmla="*/ 489744 w 530259"/>
                  <a:gd name="connsiteY25" fmla="*/ 24397 h 418285"/>
                  <a:gd name="connsiteX26" fmla="*/ 515186 w 530259"/>
                  <a:gd name="connsiteY26" fmla="*/ 20619 h 418285"/>
                  <a:gd name="connsiteX27" fmla="*/ 520164 w 530259"/>
                  <a:gd name="connsiteY27" fmla="*/ 18999 h 418285"/>
                  <a:gd name="connsiteX28" fmla="*/ 524588 w 530259"/>
                  <a:gd name="connsiteY28" fmla="*/ 57859 h 418285"/>
                  <a:gd name="connsiteX29" fmla="*/ 522929 w 530259"/>
                  <a:gd name="connsiteY29" fmla="*/ 58939 h 418285"/>
                  <a:gd name="connsiteX30" fmla="*/ 511867 w 530259"/>
                  <a:gd name="connsiteY30" fmla="*/ 56780 h 418285"/>
                  <a:gd name="connsiteX31" fmla="*/ 495828 w 530259"/>
                  <a:gd name="connsiteY31" fmla="*/ 64336 h 418285"/>
                  <a:gd name="connsiteX32" fmla="*/ 482553 w 530259"/>
                  <a:gd name="connsiteY32" fmla="*/ 92402 h 418285"/>
                  <a:gd name="connsiteX33" fmla="*/ 489191 w 530259"/>
                  <a:gd name="connsiteY33" fmla="*/ 143136 h 418285"/>
                  <a:gd name="connsiteX34" fmla="*/ 490297 w 530259"/>
                  <a:gd name="connsiteY34" fmla="*/ 150692 h 418285"/>
                  <a:gd name="connsiteX35" fmla="*/ 481447 w 530259"/>
                  <a:gd name="connsiteY35" fmla="*/ 157708 h 418285"/>
                  <a:gd name="connsiteX36" fmla="*/ 473704 w 530259"/>
                  <a:gd name="connsiteY36" fmla="*/ 174979 h 418285"/>
                  <a:gd name="connsiteX37" fmla="*/ 468173 w 530259"/>
                  <a:gd name="connsiteY37" fmla="*/ 183615 h 418285"/>
                  <a:gd name="connsiteX38" fmla="*/ 468726 w 530259"/>
                  <a:gd name="connsiteY38" fmla="*/ 192251 h 418285"/>
                  <a:gd name="connsiteX39" fmla="*/ 488637 w 530259"/>
                  <a:gd name="connsiteY39" fmla="*/ 194949 h 418285"/>
                  <a:gd name="connsiteX40" fmla="*/ 499699 w 530259"/>
                  <a:gd name="connsiteY40" fmla="*/ 208442 h 418285"/>
                  <a:gd name="connsiteX41" fmla="*/ 513527 w 530259"/>
                  <a:gd name="connsiteY41" fmla="*/ 219776 h 418285"/>
                  <a:gd name="connsiteX42" fmla="*/ 524588 w 530259"/>
                  <a:gd name="connsiteY42" fmla="*/ 235428 h 418285"/>
                  <a:gd name="connsiteX43" fmla="*/ 513527 w 530259"/>
                  <a:gd name="connsiteY43" fmla="*/ 234889 h 418285"/>
                  <a:gd name="connsiteX44" fmla="*/ 512420 w 530259"/>
                  <a:gd name="connsiteY44" fmla="*/ 241905 h 418285"/>
                  <a:gd name="connsiteX45" fmla="*/ 499699 w 530259"/>
                  <a:gd name="connsiteY45" fmla="*/ 244064 h 418285"/>
                  <a:gd name="connsiteX46" fmla="*/ 493062 w 530259"/>
                  <a:gd name="connsiteY46" fmla="*/ 253239 h 418285"/>
                  <a:gd name="connsiteX47" fmla="*/ 461536 w 530259"/>
                  <a:gd name="connsiteY47" fmla="*/ 239746 h 418285"/>
                  <a:gd name="connsiteX48" fmla="*/ 454899 w 530259"/>
                  <a:gd name="connsiteY48" fmla="*/ 245683 h 418285"/>
                  <a:gd name="connsiteX49" fmla="*/ 441625 w 530259"/>
                  <a:gd name="connsiteY49" fmla="*/ 247302 h 418285"/>
                  <a:gd name="connsiteX50" fmla="*/ 428350 w 530259"/>
                  <a:gd name="connsiteY50" fmla="*/ 264573 h 418285"/>
                  <a:gd name="connsiteX51" fmla="*/ 409545 w 530259"/>
                  <a:gd name="connsiteY51" fmla="*/ 268352 h 418285"/>
                  <a:gd name="connsiteX52" fmla="*/ 406780 w 530259"/>
                  <a:gd name="connsiteY52" fmla="*/ 283464 h 418285"/>
                  <a:gd name="connsiteX53" fmla="*/ 390740 w 530259"/>
                  <a:gd name="connsiteY53" fmla="*/ 293179 h 418285"/>
                  <a:gd name="connsiteX54" fmla="*/ 387422 w 530259"/>
                  <a:gd name="connsiteY54" fmla="*/ 302354 h 418285"/>
                  <a:gd name="connsiteX55" fmla="*/ 370829 w 530259"/>
                  <a:gd name="connsiteY55" fmla="*/ 309910 h 418285"/>
                  <a:gd name="connsiteX56" fmla="*/ 370276 w 530259"/>
                  <a:gd name="connsiteY56" fmla="*/ 315847 h 418285"/>
                  <a:gd name="connsiteX57" fmla="*/ 378572 w 530259"/>
                  <a:gd name="connsiteY57" fmla="*/ 332039 h 418285"/>
                  <a:gd name="connsiteX58" fmla="*/ 371935 w 530259"/>
                  <a:gd name="connsiteY58" fmla="*/ 350389 h 418285"/>
                  <a:gd name="connsiteX59" fmla="*/ 360320 w 530259"/>
                  <a:gd name="connsiteY59" fmla="*/ 361184 h 418285"/>
                  <a:gd name="connsiteX60" fmla="*/ 352577 w 530259"/>
                  <a:gd name="connsiteY60" fmla="*/ 361184 h 418285"/>
                  <a:gd name="connsiteX61" fmla="*/ 312754 w 530259"/>
                  <a:gd name="connsiteY61" fmla="*/ 381154 h 418285"/>
                  <a:gd name="connsiteX62" fmla="*/ 276250 w 530259"/>
                  <a:gd name="connsiteY62" fmla="*/ 370899 h 418285"/>
                  <a:gd name="connsiteX63" fmla="*/ 263529 w 530259"/>
                  <a:gd name="connsiteY63" fmla="*/ 376836 h 418285"/>
                  <a:gd name="connsiteX64" fmla="*/ 244724 w 530259"/>
                  <a:gd name="connsiteY64" fmla="*/ 372518 h 418285"/>
                  <a:gd name="connsiteX65" fmla="*/ 235321 w 530259"/>
                  <a:gd name="connsiteY65" fmla="*/ 361184 h 418285"/>
                  <a:gd name="connsiteX66" fmla="*/ 224813 w 530259"/>
                  <a:gd name="connsiteY66" fmla="*/ 367661 h 418285"/>
                  <a:gd name="connsiteX67" fmla="*/ 212645 w 530259"/>
                  <a:gd name="connsiteY67" fmla="*/ 363883 h 418285"/>
                  <a:gd name="connsiteX68" fmla="*/ 195499 w 530259"/>
                  <a:gd name="connsiteY68" fmla="*/ 380614 h 418285"/>
                  <a:gd name="connsiteX69" fmla="*/ 165079 w 530259"/>
                  <a:gd name="connsiteY69" fmla="*/ 396806 h 418285"/>
                  <a:gd name="connsiteX70" fmla="*/ 157888 w 530259"/>
                  <a:gd name="connsiteY70" fmla="*/ 400584 h 418285"/>
                  <a:gd name="connsiteX71" fmla="*/ 138530 w 530259"/>
                  <a:gd name="connsiteY71" fmla="*/ 402203 h 418285"/>
                  <a:gd name="connsiteX72" fmla="*/ 116407 w 530259"/>
                  <a:gd name="connsiteY72" fmla="*/ 416236 h 418285"/>
                  <a:gd name="connsiteX73" fmla="*/ 107557 w 530259"/>
                  <a:gd name="connsiteY73" fmla="*/ 417855 h 418285"/>
                  <a:gd name="connsiteX74" fmla="*/ 99261 w 530259"/>
                  <a:gd name="connsiteY74" fmla="*/ 371439 h 418285"/>
                  <a:gd name="connsiteX75" fmla="*/ 79349 w 530259"/>
                  <a:gd name="connsiteY75" fmla="*/ 337976 h 418285"/>
                  <a:gd name="connsiteX76" fmla="*/ 44505 w 530259"/>
                  <a:gd name="connsiteY76" fmla="*/ 325562 h 418285"/>
                  <a:gd name="connsiteX77" fmla="*/ 37867 w 530259"/>
                  <a:gd name="connsiteY77" fmla="*/ 321244 h 418285"/>
                  <a:gd name="connsiteX78" fmla="*/ 33443 w 530259"/>
                  <a:gd name="connsiteY78" fmla="*/ 309370 h 418285"/>
                  <a:gd name="connsiteX79" fmla="*/ 35655 w 530259"/>
                  <a:gd name="connsiteY79" fmla="*/ 307751 h 418285"/>
                  <a:gd name="connsiteX80" fmla="*/ 43951 w 530259"/>
                  <a:gd name="connsiteY80" fmla="*/ 291020 h 418285"/>
                  <a:gd name="connsiteX81" fmla="*/ 31230 w 530259"/>
                  <a:gd name="connsiteY81" fmla="*/ 278067 h 418285"/>
                  <a:gd name="connsiteX82" fmla="*/ 31783 w 530259"/>
                  <a:gd name="connsiteY82" fmla="*/ 257017 h 418285"/>
                  <a:gd name="connsiteX83" fmla="*/ 27912 w 530259"/>
                  <a:gd name="connsiteY83" fmla="*/ 245683 h 418285"/>
                  <a:gd name="connsiteX84" fmla="*/ 34549 w 530259"/>
                  <a:gd name="connsiteY84" fmla="*/ 238667 h 418285"/>
                  <a:gd name="connsiteX85" fmla="*/ 43951 w 530259"/>
                  <a:gd name="connsiteY85" fmla="*/ 237048 h 418285"/>
                  <a:gd name="connsiteX86" fmla="*/ 68841 w 530259"/>
                  <a:gd name="connsiteY86" fmla="*/ 196568 h 418285"/>
                  <a:gd name="connsiteX87" fmla="*/ 50589 w 530259"/>
                  <a:gd name="connsiteY87" fmla="*/ 188472 h 418285"/>
                  <a:gd name="connsiteX88" fmla="*/ 44505 w 530259"/>
                  <a:gd name="connsiteY88" fmla="*/ 177678 h 418285"/>
                  <a:gd name="connsiteX89" fmla="*/ 22934 w 530259"/>
                  <a:gd name="connsiteY89" fmla="*/ 173360 h 418285"/>
                  <a:gd name="connsiteX90" fmla="*/ 12978 w 530259"/>
                  <a:gd name="connsiteY90" fmla="*/ 148533 h 418285"/>
                  <a:gd name="connsiteX91" fmla="*/ -849 w 530259"/>
                  <a:gd name="connsiteY91" fmla="*/ 138818 h 418285"/>
                  <a:gd name="connsiteX92" fmla="*/ 257 w 530259"/>
                  <a:gd name="connsiteY92" fmla="*/ 112371 h 418285"/>
                  <a:gd name="connsiteX93" fmla="*/ 12425 w 530259"/>
                  <a:gd name="connsiteY93" fmla="*/ 101037 h 418285"/>
                  <a:gd name="connsiteX94" fmla="*/ 12425 w 530259"/>
                  <a:gd name="connsiteY94" fmla="*/ 84846 h 418285"/>
                  <a:gd name="connsiteX95" fmla="*/ 8000 w 530259"/>
                  <a:gd name="connsiteY95" fmla="*/ 74591 h 418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530259" h="418285">
                    <a:moveTo>
                      <a:pt x="8000" y="74591"/>
                    </a:moveTo>
                    <a:cubicBezTo>
                      <a:pt x="16850" y="75670"/>
                      <a:pt x="38974" y="76750"/>
                      <a:pt x="42292" y="85925"/>
                    </a:cubicBezTo>
                    <a:cubicBezTo>
                      <a:pt x="45058" y="92941"/>
                      <a:pt x="32890" y="107514"/>
                      <a:pt x="40080" y="110752"/>
                    </a:cubicBezTo>
                    <a:cubicBezTo>
                      <a:pt x="42845" y="111832"/>
                      <a:pt x="48929" y="113451"/>
                      <a:pt x="51695" y="113451"/>
                    </a:cubicBezTo>
                    <a:cubicBezTo>
                      <a:pt x="53907" y="113451"/>
                      <a:pt x="55566" y="111292"/>
                      <a:pt x="57779" y="110213"/>
                    </a:cubicBezTo>
                    <a:cubicBezTo>
                      <a:pt x="60544" y="109673"/>
                      <a:pt x="63863" y="109673"/>
                      <a:pt x="66628" y="109673"/>
                    </a:cubicBezTo>
                    <a:cubicBezTo>
                      <a:pt x="70500" y="109133"/>
                      <a:pt x="74925" y="109673"/>
                      <a:pt x="78796" y="109133"/>
                    </a:cubicBezTo>
                    <a:cubicBezTo>
                      <a:pt x="84327" y="108593"/>
                      <a:pt x="89305" y="105895"/>
                      <a:pt x="94283" y="105895"/>
                    </a:cubicBezTo>
                    <a:cubicBezTo>
                      <a:pt x="115300" y="106435"/>
                      <a:pt x="136318" y="110213"/>
                      <a:pt x="157335" y="111292"/>
                    </a:cubicBezTo>
                    <a:cubicBezTo>
                      <a:pt x="164526" y="111832"/>
                      <a:pt x="166738" y="106435"/>
                      <a:pt x="172822" y="104276"/>
                    </a:cubicBezTo>
                    <a:cubicBezTo>
                      <a:pt x="178906" y="102117"/>
                      <a:pt x="194393" y="98339"/>
                      <a:pt x="200477" y="98878"/>
                    </a:cubicBezTo>
                    <a:cubicBezTo>
                      <a:pt x="202136" y="98878"/>
                      <a:pt x="206007" y="99418"/>
                      <a:pt x="207667" y="98878"/>
                    </a:cubicBezTo>
                    <a:cubicBezTo>
                      <a:pt x="212091" y="97799"/>
                      <a:pt x="214304" y="96180"/>
                      <a:pt x="219282" y="96719"/>
                    </a:cubicBezTo>
                    <a:cubicBezTo>
                      <a:pt x="229237" y="97259"/>
                      <a:pt x="239193" y="99958"/>
                      <a:pt x="249149" y="100498"/>
                    </a:cubicBezTo>
                    <a:cubicBezTo>
                      <a:pt x="253573" y="100498"/>
                      <a:pt x="259104" y="99418"/>
                      <a:pt x="262976" y="98339"/>
                    </a:cubicBezTo>
                    <a:cubicBezTo>
                      <a:pt x="291737" y="90243"/>
                      <a:pt x="291184" y="70273"/>
                      <a:pt x="302799" y="48144"/>
                    </a:cubicBezTo>
                    <a:cubicBezTo>
                      <a:pt x="304458" y="45446"/>
                      <a:pt x="306670" y="42747"/>
                      <a:pt x="309436" y="40588"/>
                    </a:cubicBezTo>
                    <a:cubicBezTo>
                      <a:pt x="320497" y="31413"/>
                      <a:pt x="333219" y="27095"/>
                      <a:pt x="345940" y="20619"/>
                    </a:cubicBezTo>
                    <a:cubicBezTo>
                      <a:pt x="349811" y="18460"/>
                      <a:pt x="376360" y="3887"/>
                      <a:pt x="376913" y="3347"/>
                    </a:cubicBezTo>
                    <a:cubicBezTo>
                      <a:pt x="382997" y="2808"/>
                      <a:pt x="388528" y="649"/>
                      <a:pt x="394612" y="-431"/>
                    </a:cubicBezTo>
                    <a:lnTo>
                      <a:pt x="411205" y="11983"/>
                    </a:lnTo>
                    <a:lnTo>
                      <a:pt x="431116" y="4967"/>
                    </a:lnTo>
                    <a:lnTo>
                      <a:pt x="446602" y="14142"/>
                    </a:lnTo>
                    <a:lnTo>
                      <a:pt x="459324" y="4967"/>
                    </a:lnTo>
                    <a:lnTo>
                      <a:pt x="467067" y="16840"/>
                    </a:lnTo>
                    <a:lnTo>
                      <a:pt x="489744" y="24397"/>
                    </a:lnTo>
                    <a:lnTo>
                      <a:pt x="515186" y="20619"/>
                    </a:lnTo>
                    <a:lnTo>
                      <a:pt x="520164" y="18999"/>
                    </a:lnTo>
                    <a:cubicBezTo>
                      <a:pt x="530672" y="34651"/>
                      <a:pt x="532332" y="40588"/>
                      <a:pt x="524588" y="57859"/>
                    </a:cubicBezTo>
                    <a:lnTo>
                      <a:pt x="522929" y="58939"/>
                    </a:lnTo>
                    <a:cubicBezTo>
                      <a:pt x="519611" y="58399"/>
                      <a:pt x="515739" y="56780"/>
                      <a:pt x="511867" y="56780"/>
                    </a:cubicBezTo>
                    <a:cubicBezTo>
                      <a:pt x="507996" y="57320"/>
                      <a:pt x="499146" y="61637"/>
                      <a:pt x="495828" y="64336"/>
                    </a:cubicBezTo>
                    <a:cubicBezTo>
                      <a:pt x="488637" y="71353"/>
                      <a:pt x="482553" y="82147"/>
                      <a:pt x="482553" y="92402"/>
                    </a:cubicBezTo>
                    <a:cubicBezTo>
                      <a:pt x="482553" y="105355"/>
                      <a:pt x="486425" y="130182"/>
                      <a:pt x="489191" y="143136"/>
                    </a:cubicBezTo>
                    <a:cubicBezTo>
                      <a:pt x="489744" y="146374"/>
                      <a:pt x="491403" y="146914"/>
                      <a:pt x="490297" y="150692"/>
                    </a:cubicBezTo>
                    <a:cubicBezTo>
                      <a:pt x="488084" y="152851"/>
                      <a:pt x="483660" y="154470"/>
                      <a:pt x="481447" y="157708"/>
                    </a:cubicBezTo>
                    <a:cubicBezTo>
                      <a:pt x="478129" y="162566"/>
                      <a:pt x="476469" y="169582"/>
                      <a:pt x="473704" y="174979"/>
                    </a:cubicBezTo>
                    <a:cubicBezTo>
                      <a:pt x="472598" y="178218"/>
                      <a:pt x="469279" y="180916"/>
                      <a:pt x="468173" y="183615"/>
                    </a:cubicBezTo>
                    <a:cubicBezTo>
                      <a:pt x="467620" y="185774"/>
                      <a:pt x="467620" y="190631"/>
                      <a:pt x="468726" y="192251"/>
                    </a:cubicBezTo>
                    <a:cubicBezTo>
                      <a:pt x="475363" y="195489"/>
                      <a:pt x="479788" y="187933"/>
                      <a:pt x="488637" y="194949"/>
                    </a:cubicBezTo>
                    <a:cubicBezTo>
                      <a:pt x="493062" y="198727"/>
                      <a:pt x="495828" y="204664"/>
                      <a:pt x="499699" y="208442"/>
                    </a:cubicBezTo>
                    <a:cubicBezTo>
                      <a:pt x="503571" y="212760"/>
                      <a:pt x="509655" y="215459"/>
                      <a:pt x="513527" y="219776"/>
                    </a:cubicBezTo>
                    <a:cubicBezTo>
                      <a:pt x="517951" y="224094"/>
                      <a:pt x="521823" y="230571"/>
                      <a:pt x="524588" y="235428"/>
                    </a:cubicBezTo>
                    <a:lnTo>
                      <a:pt x="513527" y="234889"/>
                    </a:lnTo>
                    <a:lnTo>
                      <a:pt x="512420" y="241905"/>
                    </a:lnTo>
                    <a:lnTo>
                      <a:pt x="499699" y="244064"/>
                    </a:lnTo>
                    <a:lnTo>
                      <a:pt x="493062" y="253239"/>
                    </a:lnTo>
                    <a:lnTo>
                      <a:pt x="461536" y="239746"/>
                    </a:lnTo>
                    <a:lnTo>
                      <a:pt x="454899" y="245683"/>
                    </a:lnTo>
                    <a:lnTo>
                      <a:pt x="441625" y="247302"/>
                    </a:lnTo>
                    <a:lnTo>
                      <a:pt x="428350" y="264573"/>
                    </a:lnTo>
                    <a:lnTo>
                      <a:pt x="409545" y="268352"/>
                    </a:lnTo>
                    <a:lnTo>
                      <a:pt x="406780" y="283464"/>
                    </a:lnTo>
                    <a:lnTo>
                      <a:pt x="390740" y="293179"/>
                    </a:lnTo>
                    <a:lnTo>
                      <a:pt x="387422" y="302354"/>
                    </a:lnTo>
                    <a:lnTo>
                      <a:pt x="370829" y="309910"/>
                    </a:lnTo>
                    <a:lnTo>
                      <a:pt x="370276" y="315847"/>
                    </a:lnTo>
                    <a:lnTo>
                      <a:pt x="378572" y="332039"/>
                    </a:lnTo>
                    <a:lnTo>
                      <a:pt x="371935" y="350389"/>
                    </a:lnTo>
                    <a:lnTo>
                      <a:pt x="360320" y="361184"/>
                    </a:lnTo>
                    <a:lnTo>
                      <a:pt x="352577" y="361184"/>
                    </a:lnTo>
                    <a:lnTo>
                      <a:pt x="312754" y="381154"/>
                    </a:lnTo>
                    <a:lnTo>
                      <a:pt x="276250" y="370899"/>
                    </a:lnTo>
                    <a:lnTo>
                      <a:pt x="263529" y="376836"/>
                    </a:lnTo>
                    <a:lnTo>
                      <a:pt x="244724" y="372518"/>
                    </a:lnTo>
                    <a:lnTo>
                      <a:pt x="235321" y="361184"/>
                    </a:lnTo>
                    <a:lnTo>
                      <a:pt x="224813" y="367661"/>
                    </a:lnTo>
                    <a:lnTo>
                      <a:pt x="212645" y="363883"/>
                    </a:lnTo>
                    <a:lnTo>
                      <a:pt x="195499" y="380614"/>
                    </a:lnTo>
                    <a:lnTo>
                      <a:pt x="165079" y="396806"/>
                    </a:lnTo>
                    <a:lnTo>
                      <a:pt x="157888" y="400584"/>
                    </a:lnTo>
                    <a:lnTo>
                      <a:pt x="138530" y="402203"/>
                    </a:lnTo>
                    <a:lnTo>
                      <a:pt x="116407" y="416236"/>
                    </a:lnTo>
                    <a:lnTo>
                      <a:pt x="107557" y="417855"/>
                    </a:lnTo>
                    <a:lnTo>
                      <a:pt x="99261" y="371439"/>
                    </a:lnTo>
                    <a:lnTo>
                      <a:pt x="79349" y="337976"/>
                    </a:lnTo>
                    <a:lnTo>
                      <a:pt x="44505" y="325562"/>
                    </a:lnTo>
                    <a:lnTo>
                      <a:pt x="37867" y="321244"/>
                    </a:lnTo>
                    <a:lnTo>
                      <a:pt x="33443" y="309370"/>
                    </a:lnTo>
                    <a:lnTo>
                      <a:pt x="35655" y="307751"/>
                    </a:lnTo>
                    <a:lnTo>
                      <a:pt x="43951" y="291020"/>
                    </a:lnTo>
                    <a:lnTo>
                      <a:pt x="31230" y="278067"/>
                    </a:lnTo>
                    <a:lnTo>
                      <a:pt x="31783" y="257017"/>
                    </a:lnTo>
                    <a:lnTo>
                      <a:pt x="27912" y="245683"/>
                    </a:lnTo>
                    <a:lnTo>
                      <a:pt x="34549" y="238667"/>
                    </a:lnTo>
                    <a:lnTo>
                      <a:pt x="43951" y="237048"/>
                    </a:lnTo>
                    <a:lnTo>
                      <a:pt x="68841" y="196568"/>
                    </a:lnTo>
                    <a:lnTo>
                      <a:pt x="50589" y="188472"/>
                    </a:lnTo>
                    <a:lnTo>
                      <a:pt x="44505" y="177678"/>
                    </a:lnTo>
                    <a:lnTo>
                      <a:pt x="22934" y="173360"/>
                    </a:lnTo>
                    <a:lnTo>
                      <a:pt x="12978" y="148533"/>
                    </a:lnTo>
                    <a:lnTo>
                      <a:pt x="-849" y="138818"/>
                    </a:lnTo>
                    <a:lnTo>
                      <a:pt x="257" y="112371"/>
                    </a:lnTo>
                    <a:lnTo>
                      <a:pt x="12425" y="101037"/>
                    </a:lnTo>
                    <a:lnTo>
                      <a:pt x="12425" y="84846"/>
                    </a:lnTo>
                    <a:lnTo>
                      <a:pt x="8000" y="74591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4" name="Freeform 1096">
                <a:extLst>
                  <a:ext uri="{FF2B5EF4-FFF2-40B4-BE49-F238E27FC236}">
                    <a16:creationId xmlns:a16="http://schemas.microsoft.com/office/drawing/2014/main" id="{1B0E5CC4-5F55-4A0B-8E24-321CABDBFE9C}"/>
                  </a:ext>
                </a:extLst>
              </p:cNvPr>
              <p:cNvSpPr/>
              <p:nvPr/>
            </p:nvSpPr>
            <p:spPr>
              <a:xfrm>
                <a:off x="5794570" y="3750600"/>
                <a:ext cx="293691" cy="230461"/>
              </a:xfrm>
              <a:custGeom>
                <a:avLst/>
                <a:gdLst>
                  <a:gd name="connsiteX0" fmla="*/ 241628 w 293691"/>
                  <a:gd name="connsiteY0" fmla="*/ 80083 h 230461"/>
                  <a:gd name="connsiteX1" fmla="*/ 264305 w 293691"/>
                  <a:gd name="connsiteY1" fmla="*/ 86020 h 230461"/>
                  <a:gd name="connsiteX2" fmla="*/ 269283 w 293691"/>
                  <a:gd name="connsiteY2" fmla="*/ 93576 h 230461"/>
                  <a:gd name="connsiteX3" fmla="*/ 277026 w 293691"/>
                  <a:gd name="connsiteY3" fmla="*/ 97354 h 230461"/>
                  <a:gd name="connsiteX4" fmla="*/ 283663 w 293691"/>
                  <a:gd name="connsiteY4" fmla="*/ 106530 h 230461"/>
                  <a:gd name="connsiteX5" fmla="*/ 274261 w 293691"/>
                  <a:gd name="connsiteY5" fmla="*/ 111387 h 230461"/>
                  <a:gd name="connsiteX6" fmla="*/ 277579 w 293691"/>
                  <a:gd name="connsiteY6" fmla="*/ 118404 h 230461"/>
                  <a:gd name="connsiteX7" fmla="*/ 289747 w 293691"/>
                  <a:gd name="connsiteY7" fmla="*/ 122721 h 230461"/>
                  <a:gd name="connsiteX8" fmla="*/ 291407 w 293691"/>
                  <a:gd name="connsiteY8" fmla="*/ 129738 h 230461"/>
                  <a:gd name="connsiteX9" fmla="*/ 293066 w 293691"/>
                  <a:gd name="connsiteY9" fmla="*/ 135135 h 230461"/>
                  <a:gd name="connsiteX10" fmla="*/ 291960 w 293691"/>
                  <a:gd name="connsiteY10" fmla="*/ 139993 h 230461"/>
                  <a:gd name="connsiteX11" fmla="*/ 290853 w 293691"/>
                  <a:gd name="connsiteY11" fmla="*/ 141072 h 230461"/>
                  <a:gd name="connsiteX12" fmla="*/ 281451 w 293691"/>
                  <a:gd name="connsiteY12" fmla="*/ 144850 h 230461"/>
                  <a:gd name="connsiteX13" fmla="*/ 276473 w 293691"/>
                  <a:gd name="connsiteY13" fmla="*/ 148628 h 230461"/>
                  <a:gd name="connsiteX14" fmla="*/ 272048 w 293691"/>
                  <a:gd name="connsiteY14" fmla="*/ 158883 h 230461"/>
                  <a:gd name="connsiteX15" fmla="*/ 263752 w 293691"/>
                  <a:gd name="connsiteY15" fmla="*/ 155645 h 230461"/>
                  <a:gd name="connsiteX16" fmla="*/ 262093 w 293691"/>
                  <a:gd name="connsiteY16" fmla="*/ 155105 h 230461"/>
                  <a:gd name="connsiteX17" fmla="*/ 256562 w 293691"/>
                  <a:gd name="connsiteY17" fmla="*/ 159423 h 230461"/>
                  <a:gd name="connsiteX18" fmla="*/ 238863 w 293691"/>
                  <a:gd name="connsiteY18" fmla="*/ 196124 h 230461"/>
                  <a:gd name="connsiteX19" fmla="*/ 251031 w 293691"/>
                  <a:gd name="connsiteY19" fmla="*/ 215014 h 230461"/>
                  <a:gd name="connsiteX20" fmla="*/ 243841 w 293691"/>
                  <a:gd name="connsiteY20" fmla="*/ 227428 h 230461"/>
                  <a:gd name="connsiteX21" fmla="*/ 218398 w 293691"/>
                  <a:gd name="connsiteY21" fmla="*/ 230126 h 230461"/>
                  <a:gd name="connsiteX22" fmla="*/ 215633 w 293691"/>
                  <a:gd name="connsiteY22" fmla="*/ 224189 h 230461"/>
                  <a:gd name="connsiteX23" fmla="*/ 210102 w 293691"/>
                  <a:gd name="connsiteY23" fmla="*/ 218252 h 230461"/>
                  <a:gd name="connsiteX24" fmla="*/ 201806 w 293691"/>
                  <a:gd name="connsiteY24" fmla="*/ 209077 h 230461"/>
                  <a:gd name="connsiteX25" fmla="*/ 183554 w 293691"/>
                  <a:gd name="connsiteY25" fmla="*/ 200442 h 230461"/>
                  <a:gd name="connsiteX26" fmla="*/ 171939 w 293691"/>
                  <a:gd name="connsiteY26" fmla="*/ 196124 h 230461"/>
                  <a:gd name="connsiteX27" fmla="*/ 168620 w 293691"/>
                  <a:gd name="connsiteY27" fmla="*/ 177233 h 230461"/>
                  <a:gd name="connsiteX28" fmla="*/ 173045 w 293691"/>
                  <a:gd name="connsiteY28" fmla="*/ 157803 h 230461"/>
                  <a:gd name="connsiteX29" fmla="*/ 170832 w 293691"/>
                  <a:gd name="connsiteY29" fmla="*/ 154565 h 230461"/>
                  <a:gd name="connsiteX30" fmla="*/ 166408 w 293691"/>
                  <a:gd name="connsiteY30" fmla="*/ 155645 h 230461"/>
                  <a:gd name="connsiteX31" fmla="*/ 157558 w 293691"/>
                  <a:gd name="connsiteY31" fmla="*/ 170757 h 230461"/>
                  <a:gd name="connsiteX32" fmla="*/ 148709 w 293691"/>
                  <a:gd name="connsiteY32" fmla="*/ 178313 h 230461"/>
                  <a:gd name="connsiteX33" fmla="*/ 139859 w 293691"/>
                  <a:gd name="connsiteY33" fmla="*/ 176694 h 230461"/>
                  <a:gd name="connsiteX34" fmla="*/ 120501 w 293691"/>
                  <a:gd name="connsiteY34" fmla="*/ 172376 h 230461"/>
                  <a:gd name="connsiteX35" fmla="*/ 119948 w 293691"/>
                  <a:gd name="connsiteY35" fmla="*/ 150787 h 230461"/>
                  <a:gd name="connsiteX36" fmla="*/ 116629 w 293691"/>
                  <a:gd name="connsiteY36" fmla="*/ 141612 h 230461"/>
                  <a:gd name="connsiteX37" fmla="*/ 106674 w 293691"/>
                  <a:gd name="connsiteY37" fmla="*/ 130817 h 230461"/>
                  <a:gd name="connsiteX38" fmla="*/ 90634 w 293691"/>
                  <a:gd name="connsiteY38" fmla="*/ 129738 h 230461"/>
                  <a:gd name="connsiteX39" fmla="*/ 82891 w 293691"/>
                  <a:gd name="connsiteY39" fmla="*/ 132436 h 230461"/>
                  <a:gd name="connsiteX40" fmla="*/ 72935 w 293691"/>
                  <a:gd name="connsiteY40" fmla="*/ 113546 h 230461"/>
                  <a:gd name="connsiteX41" fmla="*/ 52471 w 293691"/>
                  <a:gd name="connsiteY41" fmla="*/ 105990 h 230461"/>
                  <a:gd name="connsiteX42" fmla="*/ 43621 w 293691"/>
                  <a:gd name="connsiteY42" fmla="*/ 72527 h 230461"/>
                  <a:gd name="connsiteX43" fmla="*/ 30347 w 293691"/>
                  <a:gd name="connsiteY43" fmla="*/ 77385 h 230461"/>
                  <a:gd name="connsiteX44" fmla="*/ 27029 w 293691"/>
                  <a:gd name="connsiteY44" fmla="*/ 83322 h 230461"/>
                  <a:gd name="connsiteX45" fmla="*/ 4352 w 293691"/>
                  <a:gd name="connsiteY45" fmla="*/ 64431 h 230461"/>
                  <a:gd name="connsiteX46" fmla="*/ 5458 w 293691"/>
                  <a:gd name="connsiteY46" fmla="*/ 46081 h 230461"/>
                  <a:gd name="connsiteX47" fmla="*/ -626 w 293691"/>
                  <a:gd name="connsiteY47" fmla="*/ 31508 h 230461"/>
                  <a:gd name="connsiteX48" fmla="*/ 22604 w 293691"/>
                  <a:gd name="connsiteY48" fmla="*/ 22333 h 230461"/>
                  <a:gd name="connsiteX49" fmla="*/ 60214 w 293691"/>
                  <a:gd name="connsiteY49" fmla="*/ 3982 h 230461"/>
                  <a:gd name="connsiteX50" fmla="*/ 67957 w 293691"/>
                  <a:gd name="connsiteY50" fmla="*/ 13697 h 230461"/>
                  <a:gd name="connsiteX51" fmla="*/ 71829 w 293691"/>
                  <a:gd name="connsiteY51" fmla="*/ 18555 h 230461"/>
                  <a:gd name="connsiteX52" fmla="*/ 77360 w 293691"/>
                  <a:gd name="connsiteY52" fmla="*/ 19634 h 230461"/>
                  <a:gd name="connsiteX53" fmla="*/ 82891 w 293691"/>
                  <a:gd name="connsiteY53" fmla="*/ 17475 h 230461"/>
                  <a:gd name="connsiteX54" fmla="*/ 93400 w 293691"/>
                  <a:gd name="connsiteY54" fmla="*/ 20714 h 230461"/>
                  <a:gd name="connsiteX55" fmla="*/ 103908 w 293691"/>
                  <a:gd name="connsiteY55" fmla="*/ 28810 h 230461"/>
                  <a:gd name="connsiteX56" fmla="*/ 138753 w 293691"/>
                  <a:gd name="connsiteY56" fmla="*/ 20714 h 230461"/>
                  <a:gd name="connsiteX57" fmla="*/ 147603 w 293691"/>
                  <a:gd name="connsiteY57" fmla="*/ 22333 h 230461"/>
                  <a:gd name="connsiteX58" fmla="*/ 146496 w 293691"/>
                  <a:gd name="connsiteY58" fmla="*/ 744 h 230461"/>
                  <a:gd name="connsiteX59" fmla="*/ 157558 w 293691"/>
                  <a:gd name="connsiteY59" fmla="*/ -335 h 230461"/>
                  <a:gd name="connsiteX60" fmla="*/ 164748 w 293691"/>
                  <a:gd name="connsiteY60" fmla="*/ 2903 h 230461"/>
                  <a:gd name="connsiteX61" fmla="*/ 176363 w 293691"/>
                  <a:gd name="connsiteY61" fmla="*/ 744 h 230461"/>
                  <a:gd name="connsiteX62" fmla="*/ 180788 w 293691"/>
                  <a:gd name="connsiteY62" fmla="*/ 6141 h 230461"/>
                  <a:gd name="connsiteX63" fmla="*/ 197934 w 293691"/>
                  <a:gd name="connsiteY63" fmla="*/ 10459 h 230461"/>
                  <a:gd name="connsiteX64" fmla="*/ 207890 w 293691"/>
                  <a:gd name="connsiteY64" fmla="*/ 23412 h 230461"/>
                  <a:gd name="connsiteX65" fmla="*/ 212314 w 293691"/>
                  <a:gd name="connsiteY65" fmla="*/ 23952 h 230461"/>
                  <a:gd name="connsiteX66" fmla="*/ 231120 w 293691"/>
                  <a:gd name="connsiteY66" fmla="*/ 19095 h 230461"/>
                  <a:gd name="connsiteX67" fmla="*/ 234991 w 293691"/>
                  <a:gd name="connsiteY67" fmla="*/ 26111 h 230461"/>
                  <a:gd name="connsiteX68" fmla="*/ 236650 w 293691"/>
                  <a:gd name="connsiteY68" fmla="*/ 30429 h 230461"/>
                  <a:gd name="connsiteX69" fmla="*/ 248265 w 293691"/>
                  <a:gd name="connsiteY69" fmla="*/ 35826 h 230461"/>
                  <a:gd name="connsiteX70" fmla="*/ 247712 w 293691"/>
                  <a:gd name="connsiteY70" fmla="*/ 40144 h 230461"/>
                  <a:gd name="connsiteX71" fmla="*/ 241628 w 293691"/>
                  <a:gd name="connsiteY71" fmla="*/ 80083 h 23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293691" h="230461">
                    <a:moveTo>
                      <a:pt x="241628" y="80083"/>
                    </a:moveTo>
                    <a:lnTo>
                      <a:pt x="264305" y="86020"/>
                    </a:lnTo>
                    <a:lnTo>
                      <a:pt x="269283" y="93576"/>
                    </a:lnTo>
                    <a:lnTo>
                      <a:pt x="277026" y="97354"/>
                    </a:lnTo>
                    <a:lnTo>
                      <a:pt x="283663" y="106530"/>
                    </a:lnTo>
                    <a:lnTo>
                      <a:pt x="274261" y="111387"/>
                    </a:lnTo>
                    <a:lnTo>
                      <a:pt x="277579" y="118404"/>
                    </a:lnTo>
                    <a:lnTo>
                      <a:pt x="289747" y="122721"/>
                    </a:lnTo>
                    <a:lnTo>
                      <a:pt x="291407" y="129738"/>
                    </a:lnTo>
                    <a:lnTo>
                      <a:pt x="293066" y="135135"/>
                    </a:lnTo>
                    <a:lnTo>
                      <a:pt x="291960" y="139993"/>
                    </a:lnTo>
                    <a:lnTo>
                      <a:pt x="290853" y="141072"/>
                    </a:lnTo>
                    <a:lnTo>
                      <a:pt x="281451" y="144850"/>
                    </a:lnTo>
                    <a:lnTo>
                      <a:pt x="276473" y="148628"/>
                    </a:lnTo>
                    <a:lnTo>
                      <a:pt x="272048" y="158883"/>
                    </a:lnTo>
                    <a:lnTo>
                      <a:pt x="263752" y="155645"/>
                    </a:lnTo>
                    <a:lnTo>
                      <a:pt x="262093" y="155105"/>
                    </a:lnTo>
                    <a:lnTo>
                      <a:pt x="256562" y="159423"/>
                    </a:lnTo>
                    <a:lnTo>
                      <a:pt x="238863" y="196124"/>
                    </a:lnTo>
                    <a:lnTo>
                      <a:pt x="251031" y="215014"/>
                    </a:lnTo>
                    <a:lnTo>
                      <a:pt x="243841" y="227428"/>
                    </a:lnTo>
                    <a:lnTo>
                      <a:pt x="218398" y="230126"/>
                    </a:lnTo>
                    <a:lnTo>
                      <a:pt x="215633" y="224189"/>
                    </a:lnTo>
                    <a:lnTo>
                      <a:pt x="210102" y="218252"/>
                    </a:lnTo>
                    <a:lnTo>
                      <a:pt x="201806" y="209077"/>
                    </a:lnTo>
                    <a:lnTo>
                      <a:pt x="183554" y="200442"/>
                    </a:lnTo>
                    <a:lnTo>
                      <a:pt x="171939" y="196124"/>
                    </a:lnTo>
                    <a:lnTo>
                      <a:pt x="168620" y="177233"/>
                    </a:lnTo>
                    <a:lnTo>
                      <a:pt x="173045" y="157803"/>
                    </a:lnTo>
                    <a:lnTo>
                      <a:pt x="170832" y="154565"/>
                    </a:lnTo>
                    <a:lnTo>
                      <a:pt x="166408" y="155645"/>
                    </a:lnTo>
                    <a:cubicBezTo>
                      <a:pt x="162536" y="160502"/>
                      <a:pt x="158664" y="164280"/>
                      <a:pt x="157558" y="170757"/>
                    </a:cubicBezTo>
                    <a:lnTo>
                      <a:pt x="148709" y="178313"/>
                    </a:lnTo>
                    <a:lnTo>
                      <a:pt x="139859" y="176694"/>
                    </a:lnTo>
                    <a:lnTo>
                      <a:pt x="120501" y="172376"/>
                    </a:lnTo>
                    <a:lnTo>
                      <a:pt x="119948" y="150787"/>
                    </a:lnTo>
                    <a:lnTo>
                      <a:pt x="116629" y="141612"/>
                    </a:lnTo>
                    <a:lnTo>
                      <a:pt x="106674" y="130817"/>
                    </a:lnTo>
                    <a:lnTo>
                      <a:pt x="90634" y="129738"/>
                    </a:lnTo>
                    <a:lnTo>
                      <a:pt x="82891" y="132436"/>
                    </a:lnTo>
                    <a:lnTo>
                      <a:pt x="72935" y="113546"/>
                    </a:lnTo>
                    <a:lnTo>
                      <a:pt x="52471" y="105990"/>
                    </a:lnTo>
                    <a:lnTo>
                      <a:pt x="43621" y="72527"/>
                    </a:lnTo>
                    <a:lnTo>
                      <a:pt x="30347" y="77385"/>
                    </a:lnTo>
                    <a:lnTo>
                      <a:pt x="27029" y="83322"/>
                    </a:lnTo>
                    <a:lnTo>
                      <a:pt x="4352" y="64431"/>
                    </a:lnTo>
                    <a:lnTo>
                      <a:pt x="5458" y="46081"/>
                    </a:lnTo>
                    <a:lnTo>
                      <a:pt x="-626" y="31508"/>
                    </a:lnTo>
                    <a:cubicBezTo>
                      <a:pt x="2139" y="30429"/>
                      <a:pt x="21498" y="23412"/>
                      <a:pt x="22604" y="22333"/>
                    </a:cubicBezTo>
                    <a:cubicBezTo>
                      <a:pt x="32559" y="15316"/>
                      <a:pt x="48599" y="9380"/>
                      <a:pt x="60214" y="3982"/>
                    </a:cubicBezTo>
                    <a:lnTo>
                      <a:pt x="67957" y="13697"/>
                    </a:lnTo>
                    <a:lnTo>
                      <a:pt x="71829" y="18555"/>
                    </a:lnTo>
                    <a:lnTo>
                      <a:pt x="77360" y="19634"/>
                    </a:lnTo>
                    <a:lnTo>
                      <a:pt x="82891" y="17475"/>
                    </a:lnTo>
                    <a:lnTo>
                      <a:pt x="93400" y="20714"/>
                    </a:lnTo>
                    <a:lnTo>
                      <a:pt x="103908" y="28810"/>
                    </a:lnTo>
                    <a:lnTo>
                      <a:pt x="138753" y="20714"/>
                    </a:lnTo>
                    <a:lnTo>
                      <a:pt x="147603" y="22333"/>
                    </a:lnTo>
                    <a:lnTo>
                      <a:pt x="146496" y="744"/>
                    </a:lnTo>
                    <a:lnTo>
                      <a:pt x="157558" y="-335"/>
                    </a:lnTo>
                    <a:lnTo>
                      <a:pt x="164748" y="2903"/>
                    </a:lnTo>
                    <a:lnTo>
                      <a:pt x="176363" y="744"/>
                    </a:lnTo>
                    <a:lnTo>
                      <a:pt x="180788" y="6141"/>
                    </a:lnTo>
                    <a:lnTo>
                      <a:pt x="197934" y="10459"/>
                    </a:lnTo>
                    <a:lnTo>
                      <a:pt x="207890" y="23412"/>
                    </a:lnTo>
                    <a:lnTo>
                      <a:pt x="212314" y="23952"/>
                    </a:lnTo>
                    <a:lnTo>
                      <a:pt x="231120" y="19095"/>
                    </a:lnTo>
                    <a:lnTo>
                      <a:pt x="234991" y="26111"/>
                    </a:lnTo>
                    <a:lnTo>
                      <a:pt x="236650" y="30429"/>
                    </a:lnTo>
                    <a:lnTo>
                      <a:pt x="248265" y="35826"/>
                    </a:lnTo>
                    <a:lnTo>
                      <a:pt x="247712" y="40144"/>
                    </a:lnTo>
                    <a:cubicBezTo>
                      <a:pt x="242181" y="44462"/>
                      <a:pt x="241628" y="72527"/>
                      <a:pt x="241628" y="80083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5" name="Freeform 1097">
                <a:extLst>
                  <a:ext uri="{FF2B5EF4-FFF2-40B4-BE49-F238E27FC236}">
                    <a16:creationId xmlns:a16="http://schemas.microsoft.com/office/drawing/2014/main" id="{AA8D54B6-9556-4DD0-A1AF-3BEDC33A174C}"/>
                  </a:ext>
                </a:extLst>
              </p:cNvPr>
              <p:cNvSpPr/>
              <p:nvPr/>
            </p:nvSpPr>
            <p:spPr>
              <a:xfrm>
                <a:off x="9392987" y="3899564"/>
                <a:ext cx="471771" cy="470204"/>
              </a:xfrm>
              <a:custGeom>
                <a:avLst/>
                <a:gdLst>
                  <a:gd name="connsiteX0" fmla="*/ 62519 w 471771"/>
                  <a:gd name="connsiteY0" fmla="*/ 416836 h 470204"/>
                  <a:gd name="connsiteX1" fmla="*/ 85749 w 471771"/>
                  <a:gd name="connsiteY1" fmla="*/ 401184 h 470204"/>
                  <a:gd name="connsiteX2" fmla="*/ 94045 w 471771"/>
                  <a:gd name="connsiteY2" fmla="*/ 389310 h 470204"/>
                  <a:gd name="connsiteX3" fmla="*/ 128890 w 471771"/>
                  <a:gd name="connsiteY3" fmla="*/ 386612 h 470204"/>
                  <a:gd name="connsiteX4" fmla="*/ 141611 w 471771"/>
                  <a:gd name="connsiteY4" fmla="*/ 380135 h 470204"/>
                  <a:gd name="connsiteX5" fmla="*/ 155438 w 471771"/>
                  <a:gd name="connsiteY5" fmla="*/ 390929 h 470204"/>
                  <a:gd name="connsiteX6" fmla="*/ 169266 w 471771"/>
                  <a:gd name="connsiteY6" fmla="*/ 393088 h 470204"/>
                  <a:gd name="connsiteX7" fmla="*/ 193602 w 471771"/>
                  <a:gd name="connsiteY7" fmla="*/ 417916 h 470204"/>
                  <a:gd name="connsiteX8" fmla="*/ 233977 w 471771"/>
                  <a:gd name="connsiteY8" fmla="*/ 442203 h 470204"/>
                  <a:gd name="connsiteX9" fmla="*/ 188071 w 471771"/>
                  <a:gd name="connsiteY9" fmla="*/ 465411 h 470204"/>
                  <a:gd name="connsiteX10" fmla="*/ 172031 w 471771"/>
                  <a:gd name="connsiteY10" fmla="*/ 469729 h 470204"/>
                  <a:gd name="connsiteX11" fmla="*/ 154885 w 471771"/>
                  <a:gd name="connsiteY11" fmla="*/ 467030 h 470204"/>
                  <a:gd name="connsiteX12" fmla="*/ 134421 w 471771"/>
                  <a:gd name="connsiteY12" fmla="*/ 455696 h 470204"/>
                  <a:gd name="connsiteX13" fmla="*/ 113403 w 471771"/>
                  <a:gd name="connsiteY13" fmla="*/ 454077 h 470204"/>
                  <a:gd name="connsiteX14" fmla="*/ 94045 w 471771"/>
                  <a:gd name="connsiteY14" fmla="*/ 438965 h 470204"/>
                  <a:gd name="connsiteX15" fmla="*/ 73581 w 471771"/>
                  <a:gd name="connsiteY15" fmla="*/ 426012 h 470204"/>
                  <a:gd name="connsiteX16" fmla="*/ 62519 w 471771"/>
                  <a:gd name="connsiteY16" fmla="*/ 416836 h 470204"/>
                  <a:gd name="connsiteX17" fmla="*/ 308645 w 471771"/>
                  <a:gd name="connsiteY17" fmla="*/ 269492 h 470204"/>
                  <a:gd name="connsiteX18" fmla="*/ 289840 w 471771"/>
                  <a:gd name="connsiteY18" fmla="*/ 305653 h 470204"/>
                  <a:gd name="connsiteX19" fmla="*/ 278225 w 471771"/>
                  <a:gd name="connsiteY19" fmla="*/ 333719 h 470204"/>
                  <a:gd name="connsiteX20" fmla="*/ 270482 w 471771"/>
                  <a:gd name="connsiteY20" fmla="*/ 367182 h 470204"/>
                  <a:gd name="connsiteX21" fmla="*/ 268269 w 471771"/>
                  <a:gd name="connsiteY21" fmla="*/ 377976 h 470204"/>
                  <a:gd name="connsiteX22" fmla="*/ 254995 w 471771"/>
                  <a:gd name="connsiteY22" fmla="*/ 384993 h 470204"/>
                  <a:gd name="connsiteX23" fmla="*/ 241721 w 471771"/>
                  <a:gd name="connsiteY23" fmla="*/ 376897 h 470204"/>
                  <a:gd name="connsiteX24" fmla="*/ 231765 w 471771"/>
                  <a:gd name="connsiteY24" fmla="*/ 364483 h 470204"/>
                  <a:gd name="connsiteX25" fmla="*/ 231212 w 471771"/>
                  <a:gd name="connsiteY25" fmla="*/ 340196 h 470204"/>
                  <a:gd name="connsiteX26" fmla="*/ 215172 w 471771"/>
                  <a:gd name="connsiteY26" fmla="*/ 339116 h 470204"/>
                  <a:gd name="connsiteX27" fmla="*/ 197473 w 471771"/>
                  <a:gd name="connsiteY27" fmla="*/ 342894 h 470204"/>
                  <a:gd name="connsiteX28" fmla="*/ 158204 w 471771"/>
                  <a:gd name="connsiteY28" fmla="*/ 334798 h 470204"/>
                  <a:gd name="connsiteX29" fmla="*/ 151567 w 471771"/>
                  <a:gd name="connsiteY29" fmla="*/ 335878 h 470204"/>
                  <a:gd name="connsiteX30" fmla="*/ 133868 w 471771"/>
                  <a:gd name="connsiteY30" fmla="*/ 331020 h 470204"/>
                  <a:gd name="connsiteX31" fmla="*/ 126678 w 471771"/>
                  <a:gd name="connsiteY31" fmla="*/ 304034 h 470204"/>
                  <a:gd name="connsiteX32" fmla="*/ 70262 w 471771"/>
                  <a:gd name="connsiteY32" fmla="*/ 270031 h 470204"/>
                  <a:gd name="connsiteX33" fmla="*/ 70262 w 471771"/>
                  <a:gd name="connsiteY33" fmla="*/ 253300 h 470204"/>
                  <a:gd name="connsiteX34" fmla="*/ 65284 w 471771"/>
                  <a:gd name="connsiteY34" fmla="*/ 246823 h 470204"/>
                  <a:gd name="connsiteX35" fmla="*/ 56435 w 471771"/>
                  <a:gd name="connsiteY35" fmla="*/ 245204 h 470204"/>
                  <a:gd name="connsiteX36" fmla="*/ 40395 w 471771"/>
                  <a:gd name="connsiteY36" fmla="*/ 248982 h 470204"/>
                  <a:gd name="connsiteX37" fmla="*/ 28227 w 471771"/>
                  <a:gd name="connsiteY37" fmla="*/ 245744 h 470204"/>
                  <a:gd name="connsiteX38" fmla="*/ 23249 w 471771"/>
                  <a:gd name="connsiteY38" fmla="*/ 238188 h 470204"/>
                  <a:gd name="connsiteX39" fmla="*/ -1087 w 471771"/>
                  <a:gd name="connsiteY39" fmla="*/ 231711 h 470204"/>
                  <a:gd name="connsiteX40" fmla="*/ 15506 w 471771"/>
                  <a:gd name="connsiteY40" fmla="*/ 201487 h 470204"/>
                  <a:gd name="connsiteX41" fmla="*/ 21590 w 471771"/>
                  <a:gd name="connsiteY41" fmla="*/ 197169 h 470204"/>
                  <a:gd name="connsiteX42" fmla="*/ 39842 w 471771"/>
                  <a:gd name="connsiteY42" fmla="*/ 193391 h 470204"/>
                  <a:gd name="connsiteX43" fmla="*/ 89620 w 471771"/>
                  <a:gd name="connsiteY43" fmla="*/ 192851 h 470204"/>
                  <a:gd name="connsiteX44" fmla="*/ 132209 w 471771"/>
                  <a:gd name="connsiteY44" fmla="*/ 165325 h 470204"/>
                  <a:gd name="connsiteX45" fmla="*/ 139952 w 471771"/>
                  <a:gd name="connsiteY45" fmla="*/ 156150 h 470204"/>
                  <a:gd name="connsiteX46" fmla="*/ 96811 w 471771"/>
                  <a:gd name="connsiteY46" fmla="*/ 142657 h 470204"/>
                  <a:gd name="connsiteX47" fmla="*/ 61966 w 471771"/>
                  <a:gd name="connsiteY47" fmla="*/ 137260 h 470204"/>
                  <a:gd name="connsiteX48" fmla="*/ 66944 w 471771"/>
                  <a:gd name="connsiteY48" fmla="*/ 111893 h 470204"/>
                  <a:gd name="connsiteX49" fmla="*/ 98470 w 471771"/>
                  <a:gd name="connsiteY49" fmla="*/ 101098 h 470204"/>
                  <a:gd name="connsiteX50" fmla="*/ 138846 w 471771"/>
                  <a:gd name="connsiteY50" fmla="*/ 107575 h 470204"/>
                  <a:gd name="connsiteX51" fmla="*/ 151014 w 471771"/>
                  <a:gd name="connsiteY51" fmla="*/ 103257 h 470204"/>
                  <a:gd name="connsiteX52" fmla="*/ 162075 w 471771"/>
                  <a:gd name="connsiteY52" fmla="*/ 107575 h 470204"/>
                  <a:gd name="connsiteX53" fmla="*/ 172031 w 471771"/>
                  <a:gd name="connsiteY53" fmla="*/ 117829 h 470204"/>
                  <a:gd name="connsiteX54" fmla="*/ 195814 w 471771"/>
                  <a:gd name="connsiteY54" fmla="*/ 116750 h 470204"/>
                  <a:gd name="connsiteX55" fmla="*/ 216832 w 471771"/>
                  <a:gd name="connsiteY55" fmla="*/ 108114 h 470204"/>
                  <a:gd name="connsiteX56" fmla="*/ 224575 w 471771"/>
                  <a:gd name="connsiteY56" fmla="*/ 72493 h 470204"/>
                  <a:gd name="connsiteX57" fmla="*/ 242827 w 471771"/>
                  <a:gd name="connsiteY57" fmla="*/ 41189 h 470204"/>
                  <a:gd name="connsiteX58" fmla="*/ 242827 w 471771"/>
                  <a:gd name="connsiteY58" fmla="*/ -370 h 470204"/>
                  <a:gd name="connsiteX59" fmla="*/ 253336 w 471771"/>
                  <a:gd name="connsiteY59" fmla="*/ 1789 h 470204"/>
                  <a:gd name="connsiteX60" fmla="*/ 287627 w 471771"/>
                  <a:gd name="connsiteY60" fmla="*/ 19060 h 470204"/>
                  <a:gd name="connsiteX61" fmla="*/ 292052 w 471771"/>
                  <a:gd name="connsiteY61" fmla="*/ 20679 h 470204"/>
                  <a:gd name="connsiteX62" fmla="*/ 319154 w 471771"/>
                  <a:gd name="connsiteY62" fmla="*/ 39570 h 470204"/>
                  <a:gd name="connsiteX63" fmla="*/ 346255 w 471771"/>
                  <a:gd name="connsiteY63" fmla="*/ 63857 h 470204"/>
                  <a:gd name="connsiteX64" fmla="*/ 368379 w 471771"/>
                  <a:gd name="connsiteY64" fmla="*/ 68175 h 470204"/>
                  <a:gd name="connsiteX65" fmla="*/ 377228 w 471771"/>
                  <a:gd name="connsiteY65" fmla="*/ 81668 h 470204"/>
                  <a:gd name="connsiteX66" fmla="*/ 421476 w 471771"/>
                  <a:gd name="connsiteY66" fmla="*/ 63857 h 470204"/>
                  <a:gd name="connsiteX67" fmla="*/ 436409 w 471771"/>
                  <a:gd name="connsiteY67" fmla="*/ 66556 h 470204"/>
                  <a:gd name="connsiteX68" fmla="*/ 449683 w 471771"/>
                  <a:gd name="connsiteY68" fmla="*/ 67635 h 470204"/>
                  <a:gd name="connsiteX69" fmla="*/ 469595 w 471771"/>
                  <a:gd name="connsiteY69" fmla="*/ 81668 h 470204"/>
                  <a:gd name="connsiteX70" fmla="*/ 467935 w 471771"/>
                  <a:gd name="connsiteY70" fmla="*/ 90304 h 470204"/>
                  <a:gd name="connsiteX71" fmla="*/ 455767 w 471771"/>
                  <a:gd name="connsiteY71" fmla="*/ 90304 h 470204"/>
                  <a:gd name="connsiteX72" fmla="*/ 436409 w 471771"/>
                  <a:gd name="connsiteY72" fmla="*/ 97860 h 470204"/>
                  <a:gd name="connsiteX73" fmla="*/ 424241 w 471771"/>
                  <a:gd name="connsiteY73" fmla="*/ 103257 h 470204"/>
                  <a:gd name="connsiteX74" fmla="*/ 403224 w 471771"/>
                  <a:gd name="connsiteY74" fmla="*/ 135101 h 470204"/>
                  <a:gd name="connsiteX75" fmla="*/ 401564 w 471771"/>
                  <a:gd name="connsiteY75" fmla="*/ 145355 h 470204"/>
                  <a:gd name="connsiteX76" fmla="*/ 408201 w 471771"/>
                  <a:gd name="connsiteY76" fmla="*/ 158309 h 470204"/>
                  <a:gd name="connsiteX77" fmla="*/ 414285 w 471771"/>
                  <a:gd name="connsiteY77" fmla="*/ 176659 h 470204"/>
                  <a:gd name="connsiteX78" fmla="*/ 419816 w 471771"/>
                  <a:gd name="connsiteY78" fmla="*/ 208503 h 470204"/>
                  <a:gd name="connsiteX79" fmla="*/ 438068 w 471771"/>
                  <a:gd name="connsiteY79" fmla="*/ 227933 h 470204"/>
                  <a:gd name="connsiteX80" fmla="*/ 430325 w 471771"/>
                  <a:gd name="connsiteY80" fmla="*/ 244664 h 470204"/>
                  <a:gd name="connsiteX81" fmla="*/ 438068 w 471771"/>
                  <a:gd name="connsiteY81" fmla="*/ 282445 h 470204"/>
                  <a:gd name="connsiteX82" fmla="*/ 435856 w 471771"/>
                  <a:gd name="connsiteY82" fmla="*/ 281905 h 470204"/>
                  <a:gd name="connsiteX83" fmla="*/ 422029 w 471771"/>
                  <a:gd name="connsiteY83" fmla="*/ 272730 h 470204"/>
                  <a:gd name="connsiteX84" fmla="*/ 415392 w 471771"/>
                  <a:gd name="connsiteY84" fmla="*/ 285144 h 470204"/>
                  <a:gd name="connsiteX85" fmla="*/ 441940 w 471771"/>
                  <a:gd name="connsiteY85" fmla="*/ 342354 h 470204"/>
                  <a:gd name="connsiteX86" fmla="*/ 448577 w 471771"/>
                  <a:gd name="connsiteY86" fmla="*/ 357467 h 470204"/>
                  <a:gd name="connsiteX87" fmla="*/ 430325 w 471771"/>
                  <a:gd name="connsiteY87" fmla="*/ 375278 h 470204"/>
                  <a:gd name="connsiteX88" fmla="*/ 419263 w 471771"/>
                  <a:gd name="connsiteY88" fmla="*/ 370960 h 470204"/>
                  <a:gd name="connsiteX89" fmla="*/ 408755 w 471771"/>
                  <a:gd name="connsiteY89" fmla="*/ 360705 h 470204"/>
                  <a:gd name="connsiteX90" fmla="*/ 395480 w 471771"/>
                  <a:gd name="connsiteY90" fmla="*/ 369880 h 470204"/>
                  <a:gd name="connsiteX91" fmla="*/ 387737 w 471771"/>
                  <a:gd name="connsiteY91" fmla="*/ 367721 h 470204"/>
                  <a:gd name="connsiteX92" fmla="*/ 384972 w 471771"/>
                  <a:gd name="connsiteY92" fmla="*/ 360705 h 470204"/>
                  <a:gd name="connsiteX93" fmla="*/ 357317 w 471771"/>
                  <a:gd name="connsiteY93" fmla="*/ 356927 h 470204"/>
                  <a:gd name="connsiteX94" fmla="*/ 357870 w 471771"/>
                  <a:gd name="connsiteY94" fmla="*/ 343974 h 470204"/>
                  <a:gd name="connsiteX95" fmla="*/ 373910 w 471771"/>
                  <a:gd name="connsiteY95" fmla="*/ 331020 h 470204"/>
                  <a:gd name="connsiteX96" fmla="*/ 374463 w 471771"/>
                  <a:gd name="connsiteY96" fmla="*/ 320765 h 470204"/>
                  <a:gd name="connsiteX97" fmla="*/ 350127 w 471771"/>
                  <a:gd name="connsiteY97" fmla="*/ 312130 h 470204"/>
                  <a:gd name="connsiteX98" fmla="*/ 344596 w 471771"/>
                  <a:gd name="connsiteY98" fmla="*/ 303494 h 470204"/>
                  <a:gd name="connsiteX99" fmla="*/ 355658 w 471771"/>
                  <a:gd name="connsiteY99" fmla="*/ 279746 h 470204"/>
                  <a:gd name="connsiteX100" fmla="*/ 308645 w 471771"/>
                  <a:gd name="connsiteY100" fmla="*/ 269492 h 47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471771" h="470204">
                    <a:moveTo>
                      <a:pt x="62519" y="416836"/>
                    </a:moveTo>
                    <a:lnTo>
                      <a:pt x="85749" y="401184"/>
                    </a:lnTo>
                    <a:lnTo>
                      <a:pt x="94045" y="389310"/>
                    </a:lnTo>
                    <a:lnTo>
                      <a:pt x="128890" y="386612"/>
                    </a:lnTo>
                    <a:lnTo>
                      <a:pt x="141611" y="380135"/>
                    </a:lnTo>
                    <a:lnTo>
                      <a:pt x="155438" y="390929"/>
                    </a:lnTo>
                    <a:lnTo>
                      <a:pt x="169266" y="393088"/>
                    </a:lnTo>
                    <a:lnTo>
                      <a:pt x="193602" y="417916"/>
                    </a:lnTo>
                    <a:lnTo>
                      <a:pt x="233977" y="442203"/>
                    </a:lnTo>
                    <a:cubicBezTo>
                      <a:pt x="219597" y="455157"/>
                      <a:pt x="206876" y="460014"/>
                      <a:pt x="188071" y="465411"/>
                    </a:cubicBezTo>
                    <a:cubicBezTo>
                      <a:pt x="183093" y="467030"/>
                      <a:pt x="177562" y="469729"/>
                      <a:pt x="172031" y="469729"/>
                    </a:cubicBezTo>
                    <a:cubicBezTo>
                      <a:pt x="167053" y="470269"/>
                      <a:pt x="159310" y="468650"/>
                      <a:pt x="154885" y="467030"/>
                    </a:cubicBezTo>
                    <a:cubicBezTo>
                      <a:pt x="147695" y="464872"/>
                      <a:pt x="141611" y="458395"/>
                      <a:pt x="134421" y="455696"/>
                    </a:cubicBezTo>
                    <a:cubicBezTo>
                      <a:pt x="126678" y="452458"/>
                      <a:pt x="118934" y="456776"/>
                      <a:pt x="113403" y="454077"/>
                    </a:cubicBezTo>
                    <a:cubicBezTo>
                      <a:pt x="106766" y="449759"/>
                      <a:pt x="100682" y="443283"/>
                      <a:pt x="94045" y="438965"/>
                    </a:cubicBezTo>
                    <a:cubicBezTo>
                      <a:pt x="85196" y="433568"/>
                      <a:pt x="81877" y="434107"/>
                      <a:pt x="73581" y="426012"/>
                    </a:cubicBezTo>
                    <a:lnTo>
                      <a:pt x="62519" y="416836"/>
                    </a:lnTo>
                    <a:close/>
                    <a:moveTo>
                      <a:pt x="308645" y="269492"/>
                    </a:moveTo>
                    <a:cubicBezTo>
                      <a:pt x="304773" y="280826"/>
                      <a:pt x="295371" y="294319"/>
                      <a:pt x="289840" y="305653"/>
                    </a:cubicBezTo>
                    <a:cubicBezTo>
                      <a:pt x="285415" y="314829"/>
                      <a:pt x="281543" y="324004"/>
                      <a:pt x="278225" y="333719"/>
                    </a:cubicBezTo>
                    <a:cubicBezTo>
                      <a:pt x="274906" y="344513"/>
                      <a:pt x="273247" y="356387"/>
                      <a:pt x="270482" y="367182"/>
                    </a:cubicBezTo>
                    <a:cubicBezTo>
                      <a:pt x="269928" y="370420"/>
                      <a:pt x="269375" y="375817"/>
                      <a:pt x="268269" y="377976"/>
                    </a:cubicBezTo>
                    <a:cubicBezTo>
                      <a:pt x="264951" y="383913"/>
                      <a:pt x="258314" y="381754"/>
                      <a:pt x="254995" y="384993"/>
                    </a:cubicBezTo>
                    <a:lnTo>
                      <a:pt x="241721" y="376897"/>
                    </a:lnTo>
                    <a:lnTo>
                      <a:pt x="231765" y="364483"/>
                    </a:lnTo>
                    <a:lnTo>
                      <a:pt x="231212" y="340196"/>
                    </a:lnTo>
                    <a:lnTo>
                      <a:pt x="215172" y="339116"/>
                    </a:lnTo>
                    <a:lnTo>
                      <a:pt x="197473" y="342894"/>
                    </a:lnTo>
                    <a:lnTo>
                      <a:pt x="158204" y="334798"/>
                    </a:lnTo>
                    <a:lnTo>
                      <a:pt x="151567" y="335878"/>
                    </a:lnTo>
                    <a:lnTo>
                      <a:pt x="133868" y="331020"/>
                    </a:lnTo>
                    <a:lnTo>
                      <a:pt x="126678" y="304034"/>
                    </a:lnTo>
                    <a:lnTo>
                      <a:pt x="70262" y="270031"/>
                    </a:lnTo>
                    <a:lnTo>
                      <a:pt x="70262" y="253300"/>
                    </a:lnTo>
                    <a:lnTo>
                      <a:pt x="65284" y="246823"/>
                    </a:lnTo>
                    <a:lnTo>
                      <a:pt x="56435" y="245204"/>
                    </a:lnTo>
                    <a:lnTo>
                      <a:pt x="40395" y="248982"/>
                    </a:lnTo>
                    <a:lnTo>
                      <a:pt x="28227" y="245744"/>
                    </a:lnTo>
                    <a:lnTo>
                      <a:pt x="23249" y="238188"/>
                    </a:lnTo>
                    <a:lnTo>
                      <a:pt x="-1087" y="231711"/>
                    </a:lnTo>
                    <a:lnTo>
                      <a:pt x="15506" y="201487"/>
                    </a:lnTo>
                    <a:lnTo>
                      <a:pt x="21590" y="197169"/>
                    </a:lnTo>
                    <a:lnTo>
                      <a:pt x="39842" y="193391"/>
                    </a:lnTo>
                    <a:lnTo>
                      <a:pt x="89620" y="192851"/>
                    </a:lnTo>
                    <a:lnTo>
                      <a:pt x="132209" y="165325"/>
                    </a:lnTo>
                    <a:lnTo>
                      <a:pt x="139952" y="156150"/>
                    </a:lnTo>
                    <a:lnTo>
                      <a:pt x="96811" y="142657"/>
                    </a:lnTo>
                    <a:lnTo>
                      <a:pt x="61966" y="137260"/>
                    </a:lnTo>
                    <a:lnTo>
                      <a:pt x="66944" y="111893"/>
                    </a:lnTo>
                    <a:lnTo>
                      <a:pt x="98470" y="101098"/>
                    </a:lnTo>
                    <a:lnTo>
                      <a:pt x="138846" y="107575"/>
                    </a:lnTo>
                    <a:lnTo>
                      <a:pt x="151014" y="103257"/>
                    </a:lnTo>
                    <a:lnTo>
                      <a:pt x="162075" y="107575"/>
                    </a:lnTo>
                    <a:lnTo>
                      <a:pt x="172031" y="117829"/>
                    </a:lnTo>
                    <a:lnTo>
                      <a:pt x="195814" y="116750"/>
                    </a:lnTo>
                    <a:lnTo>
                      <a:pt x="216832" y="108114"/>
                    </a:lnTo>
                    <a:lnTo>
                      <a:pt x="224575" y="72493"/>
                    </a:lnTo>
                    <a:lnTo>
                      <a:pt x="242827" y="41189"/>
                    </a:lnTo>
                    <a:lnTo>
                      <a:pt x="242827" y="-370"/>
                    </a:lnTo>
                    <a:cubicBezTo>
                      <a:pt x="246145" y="170"/>
                      <a:pt x="250570" y="710"/>
                      <a:pt x="253336" y="1789"/>
                    </a:cubicBezTo>
                    <a:cubicBezTo>
                      <a:pt x="264951" y="6646"/>
                      <a:pt x="276012" y="13663"/>
                      <a:pt x="287627" y="19060"/>
                    </a:cubicBezTo>
                    <a:cubicBezTo>
                      <a:pt x="289287" y="19600"/>
                      <a:pt x="290393" y="20140"/>
                      <a:pt x="292052" y="20679"/>
                    </a:cubicBezTo>
                    <a:cubicBezTo>
                      <a:pt x="300902" y="26077"/>
                      <a:pt x="311410" y="33093"/>
                      <a:pt x="319154" y="39570"/>
                    </a:cubicBezTo>
                    <a:cubicBezTo>
                      <a:pt x="329109" y="47665"/>
                      <a:pt x="333534" y="59000"/>
                      <a:pt x="346255" y="63857"/>
                    </a:cubicBezTo>
                    <a:cubicBezTo>
                      <a:pt x="353445" y="66556"/>
                      <a:pt x="362295" y="64937"/>
                      <a:pt x="368379" y="68175"/>
                    </a:cubicBezTo>
                    <a:cubicBezTo>
                      <a:pt x="373910" y="70334"/>
                      <a:pt x="371144" y="78430"/>
                      <a:pt x="377228" y="81668"/>
                    </a:cubicBezTo>
                    <a:cubicBezTo>
                      <a:pt x="398246" y="91383"/>
                      <a:pt x="408755" y="63857"/>
                      <a:pt x="421476" y="63857"/>
                    </a:cubicBezTo>
                    <a:cubicBezTo>
                      <a:pt x="426453" y="63857"/>
                      <a:pt x="431431" y="66016"/>
                      <a:pt x="436409" y="66556"/>
                    </a:cubicBezTo>
                    <a:cubicBezTo>
                      <a:pt x="440834" y="67096"/>
                      <a:pt x="445812" y="66556"/>
                      <a:pt x="449683" y="67635"/>
                    </a:cubicBezTo>
                    <a:cubicBezTo>
                      <a:pt x="454661" y="69254"/>
                      <a:pt x="467382" y="77350"/>
                      <a:pt x="469595" y="81668"/>
                    </a:cubicBezTo>
                    <a:cubicBezTo>
                      <a:pt x="471254" y="84367"/>
                      <a:pt x="471254" y="89224"/>
                      <a:pt x="467935" y="90304"/>
                    </a:cubicBezTo>
                    <a:cubicBezTo>
                      <a:pt x="466276" y="90843"/>
                      <a:pt x="458533" y="89764"/>
                      <a:pt x="455767" y="90304"/>
                    </a:cubicBezTo>
                    <a:cubicBezTo>
                      <a:pt x="451896" y="90843"/>
                      <a:pt x="440834" y="95701"/>
                      <a:pt x="436409" y="97860"/>
                    </a:cubicBezTo>
                    <a:cubicBezTo>
                      <a:pt x="433644" y="98939"/>
                      <a:pt x="426453" y="101098"/>
                      <a:pt x="424241" y="103257"/>
                    </a:cubicBezTo>
                    <a:cubicBezTo>
                      <a:pt x="421476" y="105956"/>
                      <a:pt x="404883" y="131323"/>
                      <a:pt x="403224" y="135101"/>
                    </a:cubicBezTo>
                    <a:cubicBezTo>
                      <a:pt x="402117" y="137260"/>
                      <a:pt x="401011" y="143196"/>
                      <a:pt x="401564" y="145355"/>
                    </a:cubicBezTo>
                    <a:cubicBezTo>
                      <a:pt x="402117" y="148594"/>
                      <a:pt x="406542" y="155070"/>
                      <a:pt x="408201" y="158309"/>
                    </a:cubicBezTo>
                    <a:cubicBezTo>
                      <a:pt x="410414" y="164246"/>
                      <a:pt x="412626" y="170722"/>
                      <a:pt x="414285" y="176659"/>
                    </a:cubicBezTo>
                    <a:cubicBezTo>
                      <a:pt x="416498" y="187454"/>
                      <a:pt x="417051" y="198248"/>
                      <a:pt x="419816" y="208503"/>
                    </a:cubicBezTo>
                    <a:cubicBezTo>
                      <a:pt x="423688" y="221996"/>
                      <a:pt x="435856" y="219297"/>
                      <a:pt x="438068" y="227933"/>
                    </a:cubicBezTo>
                    <a:cubicBezTo>
                      <a:pt x="440281" y="237108"/>
                      <a:pt x="430878" y="237108"/>
                      <a:pt x="430325" y="244664"/>
                    </a:cubicBezTo>
                    <a:cubicBezTo>
                      <a:pt x="429772" y="257078"/>
                      <a:pt x="445259" y="269492"/>
                      <a:pt x="438068" y="282445"/>
                    </a:cubicBezTo>
                    <a:lnTo>
                      <a:pt x="435856" y="281905"/>
                    </a:lnTo>
                    <a:cubicBezTo>
                      <a:pt x="431984" y="278127"/>
                      <a:pt x="429219" y="270571"/>
                      <a:pt x="422029" y="272730"/>
                    </a:cubicBezTo>
                    <a:cubicBezTo>
                      <a:pt x="417051" y="273810"/>
                      <a:pt x="414285" y="280826"/>
                      <a:pt x="415392" y="285144"/>
                    </a:cubicBezTo>
                    <a:cubicBezTo>
                      <a:pt x="420369" y="302955"/>
                      <a:pt x="433644" y="325083"/>
                      <a:pt x="441940" y="342354"/>
                    </a:cubicBezTo>
                    <a:cubicBezTo>
                      <a:pt x="444152" y="347212"/>
                      <a:pt x="446365" y="352609"/>
                      <a:pt x="448577" y="357467"/>
                    </a:cubicBezTo>
                    <a:lnTo>
                      <a:pt x="430325" y="375278"/>
                    </a:lnTo>
                    <a:lnTo>
                      <a:pt x="419263" y="370960"/>
                    </a:lnTo>
                    <a:lnTo>
                      <a:pt x="408755" y="360705"/>
                    </a:lnTo>
                    <a:lnTo>
                      <a:pt x="395480" y="369880"/>
                    </a:lnTo>
                    <a:lnTo>
                      <a:pt x="387737" y="367721"/>
                    </a:lnTo>
                    <a:lnTo>
                      <a:pt x="384972" y="360705"/>
                    </a:lnTo>
                    <a:lnTo>
                      <a:pt x="357317" y="356927"/>
                    </a:lnTo>
                    <a:lnTo>
                      <a:pt x="357870" y="343974"/>
                    </a:lnTo>
                    <a:lnTo>
                      <a:pt x="373910" y="331020"/>
                    </a:lnTo>
                    <a:lnTo>
                      <a:pt x="374463" y="320765"/>
                    </a:lnTo>
                    <a:lnTo>
                      <a:pt x="350127" y="312130"/>
                    </a:lnTo>
                    <a:lnTo>
                      <a:pt x="344596" y="303494"/>
                    </a:lnTo>
                    <a:lnTo>
                      <a:pt x="355658" y="279746"/>
                    </a:lnTo>
                    <a:lnTo>
                      <a:pt x="308645" y="269492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6" name="Freeform 1098">
                <a:extLst>
                  <a:ext uri="{FF2B5EF4-FFF2-40B4-BE49-F238E27FC236}">
                    <a16:creationId xmlns:a16="http://schemas.microsoft.com/office/drawing/2014/main" id="{35A43A3B-790E-4197-98EB-7F8789A46E1C}"/>
                  </a:ext>
                </a:extLst>
              </p:cNvPr>
              <p:cNvSpPr/>
              <p:nvPr/>
            </p:nvSpPr>
            <p:spPr>
              <a:xfrm>
                <a:off x="6341578" y="4016144"/>
                <a:ext cx="608954" cy="307102"/>
              </a:xfrm>
              <a:custGeom>
                <a:avLst/>
                <a:gdLst>
                  <a:gd name="connsiteX0" fmla="*/ 214439 w 608954"/>
                  <a:gd name="connsiteY0" fmla="*/ 239802 h 307102"/>
                  <a:gd name="connsiteX1" fmla="*/ 179594 w 608954"/>
                  <a:gd name="connsiteY1" fmla="*/ 258153 h 307102"/>
                  <a:gd name="connsiteX2" fmla="*/ 166320 w 608954"/>
                  <a:gd name="connsiteY2" fmla="*/ 254375 h 307102"/>
                  <a:gd name="connsiteX3" fmla="*/ 154705 w 608954"/>
                  <a:gd name="connsiteY3" fmla="*/ 259233 h 307102"/>
                  <a:gd name="connsiteX4" fmla="*/ 140324 w 608954"/>
                  <a:gd name="connsiteY4" fmla="*/ 258693 h 307102"/>
                  <a:gd name="connsiteX5" fmla="*/ 125944 w 608954"/>
                  <a:gd name="connsiteY5" fmla="*/ 269487 h 307102"/>
                  <a:gd name="connsiteX6" fmla="*/ 121519 w 608954"/>
                  <a:gd name="connsiteY6" fmla="*/ 280282 h 307102"/>
                  <a:gd name="connsiteX7" fmla="*/ 108245 w 608954"/>
                  <a:gd name="connsiteY7" fmla="*/ 287298 h 307102"/>
                  <a:gd name="connsiteX8" fmla="*/ 97183 w 608954"/>
                  <a:gd name="connsiteY8" fmla="*/ 285679 h 307102"/>
                  <a:gd name="connsiteX9" fmla="*/ 96630 w 608954"/>
                  <a:gd name="connsiteY9" fmla="*/ 277043 h 307102"/>
                  <a:gd name="connsiteX10" fmla="*/ 78378 w 608954"/>
                  <a:gd name="connsiteY10" fmla="*/ 274885 h 307102"/>
                  <a:gd name="connsiteX11" fmla="*/ 72847 w 608954"/>
                  <a:gd name="connsiteY11" fmla="*/ 264090 h 307102"/>
                  <a:gd name="connsiteX12" fmla="*/ 69529 w 608954"/>
                  <a:gd name="connsiteY12" fmla="*/ 264090 h 307102"/>
                  <a:gd name="connsiteX13" fmla="*/ 54042 w 608954"/>
                  <a:gd name="connsiteY13" fmla="*/ 276504 h 307102"/>
                  <a:gd name="connsiteX14" fmla="*/ 49064 w 608954"/>
                  <a:gd name="connsiteY14" fmla="*/ 279742 h 307102"/>
                  <a:gd name="connsiteX15" fmla="*/ 31918 w 608954"/>
                  <a:gd name="connsiteY15" fmla="*/ 275964 h 307102"/>
                  <a:gd name="connsiteX16" fmla="*/ 25834 w 608954"/>
                  <a:gd name="connsiteY16" fmla="*/ 272186 h 307102"/>
                  <a:gd name="connsiteX17" fmla="*/ 29706 w 608954"/>
                  <a:gd name="connsiteY17" fmla="*/ 263011 h 307102"/>
                  <a:gd name="connsiteX18" fmla="*/ 7582 w 608954"/>
                  <a:gd name="connsiteY18" fmla="*/ 258153 h 307102"/>
                  <a:gd name="connsiteX19" fmla="*/ 9242 w 608954"/>
                  <a:gd name="connsiteY19" fmla="*/ 243041 h 307102"/>
                  <a:gd name="connsiteX20" fmla="*/ -714 w 608954"/>
                  <a:gd name="connsiteY20" fmla="*/ 231707 h 307102"/>
                  <a:gd name="connsiteX21" fmla="*/ 5370 w 608954"/>
                  <a:gd name="connsiteY21" fmla="*/ 208499 h 307102"/>
                  <a:gd name="connsiteX22" fmla="*/ 3711 w 608954"/>
                  <a:gd name="connsiteY22" fmla="*/ 202562 h 307102"/>
                  <a:gd name="connsiteX23" fmla="*/ 3158 w 608954"/>
                  <a:gd name="connsiteY23" fmla="*/ 198244 h 307102"/>
                  <a:gd name="connsiteX24" fmla="*/ 11454 w 608954"/>
                  <a:gd name="connsiteY24" fmla="*/ 195545 h 307102"/>
                  <a:gd name="connsiteX25" fmla="*/ 20857 w 608954"/>
                  <a:gd name="connsiteY25" fmla="*/ 191767 h 307102"/>
                  <a:gd name="connsiteX26" fmla="*/ 24728 w 608954"/>
                  <a:gd name="connsiteY26" fmla="*/ 196625 h 307102"/>
                  <a:gd name="connsiteX27" fmla="*/ 35790 w 608954"/>
                  <a:gd name="connsiteY27" fmla="*/ 199863 h 307102"/>
                  <a:gd name="connsiteX28" fmla="*/ 55148 w 608954"/>
                  <a:gd name="connsiteY28" fmla="*/ 224151 h 307102"/>
                  <a:gd name="connsiteX29" fmla="*/ 73400 w 608954"/>
                  <a:gd name="connsiteY29" fmla="*/ 210657 h 307102"/>
                  <a:gd name="connsiteX30" fmla="*/ 75060 w 608954"/>
                  <a:gd name="connsiteY30" fmla="*/ 196625 h 307102"/>
                  <a:gd name="connsiteX31" fmla="*/ 82250 w 608954"/>
                  <a:gd name="connsiteY31" fmla="*/ 193386 h 307102"/>
                  <a:gd name="connsiteX32" fmla="*/ 88334 w 608954"/>
                  <a:gd name="connsiteY32" fmla="*/ 192847 h 307102"/>
                  <a:gd name="connsiteX33" fmla="*/ 96077 w 608954"/>
                  <a:gd name="connsiteY33" fmla="*/ 197164 h 307102"/>
                  <a:gd name="connsiteX34" fmla="*/ 106033 w 608954"/>
                  <a:gd name="connsiteY34" fmla="*/ 198244 h 307102"/>
                  <a:gd name="connsiteX35" fmla="*/ 117648 w 608954"/>
                  <a:gd name="connsiteY35" fmla="*/ 213356 h 307102"/>
                  <a:gd name="connsiteX36" fmla="*/ 146408 w 608954"/>
                  <a:gd name="connsiteY36" fmla="*/ 207419 h 307102"/>
                  <a:gd name="connsiteX37" fmla="*/ 159130 w 608954"/>
                  <a:gd name="connsiteY37" fmla="*/ 195005 h 307102"/>
                  <a:gd name="connsiteX38" fmla="*/ 177935 w 608954"/>
                  <a:gd name="connsiteY38" fmla="*/ 185830 h 307102"/>
                  <a:gd name="connsiteX39" fmla="*/ 207802 w 608954"/>
                  <a:gd name="connsiteY39" fmla="*/ 182052 h 307102"/>
                  <a:gd name="connsiteX40" fmla="*/ 213333 w 608954"/>
                  <a:gd name="connsiteY40" fmla="*/ 170178 h 307102"/>
                  <a:gd name="connsiteX41" fmla="*/ 234903 w 608954"/>
                  <a:gd name="connsiteY41" fmla="*/ 169099 h 307102"/>
                  <a:gd name="connsiteX42" fmla="*/ 240434 w 608954"/>
                  <a:gd name="connsiteY42" fmla="*/ 176655 h 307102"/>
                  <a:gd name="connsiteX43" fmla="*/ 244306 w 608954"/>
                  <a:gd name="connsiteY43" fmla="*/ 176115 h 307102"/>
                  <a:gd name="connsiteX44" fmla="*/ 259239 w 608954"/>
                  <a:gd name="connsiteY44" fmla="*/ 173417 h 307102"/>
                  <a:gd name="connsiteX45" fmla="*/ 266982 w 608954"/>
                  <a:gd name="connsiteY45" fmla="*/ 186910 h 307102"/>
                  <a:gd name="connsiteX46" fmla="*/ 278044 w 608954"/>
                  <a:gd name="connsiteY46" fmla="*/ 191767 h 307102"/>
                  <a:gd name="connsiteX47" fmla="*/ 284128 w 608954"/>
                  <a:gd name="connsiteY47" fmla="*/ 183132 h 307102"/>
                  <a:gd name="connsiteX48" fmla="*/ 286894 w 608954"/>
                  <a:gd name="connsiteY48" fmla="*/ 163162 h 307102"/>
                  <a:gd name="connsiteX49" fmla="*/ 274726 w 608954"/>
                  <a:gd name="connsiteY49" fmla="*/ 162082 h 307102"/>
                  <a:gd name="connsiteX50" fmla="*/ 280257 w 608954"/>
                  <a:gd name="connsiteY50" fmla="*/ 148050 h 307102"/>
                  <a:gd name="connsiteX51" fmla="*/ 264217 w 608954"/>
                  <a:gd name="connsiteY51" fmla="*/ 129699 h 307102"/>
                  <a:gd name="connsiteX52" fmla="*/ 258133 w 608954"/>
                  <a:gd name="connsiteY52" fmla="*/ 121603 h 307102"/>
                  <a:gd name="connsiteX53" fmla="*/ 258133 w 608954"/>
                  <a:gd name="connsiteY53" fmla="*/ 112428 h 307102"/>
                  <a:gd name="connsiteX54" fmla="*/ 264217 w 608954"/>
                  <a:gd name="connsiteY54" fmla="*/ 101094 h 307102"/>
                  <a:gd name="connsiteX55" fmla="*/ 284128 w 608954"/>
                  <a:gd name="connsiteY55" fmla="*/ 90299 h 307102"/>
                  <a:gd name="connsiteX56" fmla="*/ 296296 w 608954"/>
                  <a:gd name="connsiteY56" fmla="*/ 84902 h 307102"/>
                  <a:gd name="connsiteX57" fmla="*/ 304593 w 608954"/>
                  <a:gd name="connsiteY57" fmla="*/ 56836 h 307102"/>
                  <a:gd name="connsiteX58" fmla="*/ 328929 w 608954"/>
                  <a:gd name="connsiteY58" fmla="*/ 64392 h 307102"/>
                  <a:gd name="connsiteX59" fmla="*/ 333907 w 608954"/>
                  <a:gd name="connsiteY59" fmla="*/ 47661 h 307102"/>
                  <a:gd name="connsiteX60" fmla="*/ 335566 w 608954"/>
                  <a:gd name="connsiteY60" fmla="*/ 30930 h 307102"/>
                  <a:gd name="connsiteX61" fmla="*/ 353265 w 608954"/>
                  <a:gd name="connsiteY61" fmla="*/ 43883 h 307102"/>
                  <a:gd name="connsiteX62" fmla="*/ 354924 w 608954"/>
                  <a:gd name="connsiteY62" fmla="*/ 51979 h 307102"/>
                  <a:gd name="connsiteX63" fmla="*/ 373729 w 608954"/>
                  <a:gd name="connsiteY63" fmla="*/ 57916 h 307102"/>
                  <a:gd name="connsiteX64" fmla="*/ 382579 w 608954"/>
                  <a:gd name="connsiteY64" fmla="*/ 46582 h 307102"/>
                  <a:gd name="connsiteX65" fmla="*/ 401384 w 608954"/>
                  <a:gd name="connsiteY65" fmla="*/ 50899 h 307102"/>
                  <a:gd name="connsiteX66" fmla="*/ 403596 w 608954"/>
                  <a:gd name="connsiteY66" fmla="*/ 47121 h 307102"/>
                  <a:gd name="connsiteX67" fmla="*/ 413552 w 608954"/>
                  <a:gd name="connsiteY67" fmla="*/ 24993 h 307102"/>
                  <a:gd name="connsiteX68" fmla="*/ 424061 w 608954"/>
                  <a:gd name="connsiteY68" fmla="*/ 26072 h 307102"/>
                  <a:gd name="connsiteX69" fmla="*/ 431804 w 608954"/>
                  <a:gd name="connsiteY69" fmla="*/ -374 h 307102"/>
                  <a:gd name="connsiteX70" fmla="*/ 499281 w 608954"/>
                  <a:gd name="connsiteY70" fmla="*/ 10420 h 307102"/>
                  <a:gd name="connsiteX71" fmla="*/ 510343 w 608954"/>
                  <a:gd name="connsiteY71" fmla="*/ 16897 h 307102"/>
                  <a:gd name="connsiteX72" fmla="*/ 536891 w 608954"/>
                  <a:gd name="connsiteY72" fmla="*/ 19056 h 307102"/>
                  <a:gd name="connsiteX73" fmla="*/ 545188 w 608954"/>
                  <a:gd name="connsiteY73" fmla="*/ 7721 h 307102"/>
                  <a:gd name="connsiteX74" fmla="*/ 560674 w 608954"/>
                  <a:gd name="connsiteY74" fmla="*/ 8801 h 307102"/>
                  <a:gd name="connsiteX75" fmla="*/ 564546 w 608954"/>
                  <a:gd name="connsiteY75" fmla="*/ 12579 h 307102"/>
                  <a:gd name="connsiteX76" fmla="*/ 583904 w 608954"/>
                  <a:gd name="connsiteY76" fmla="*/ 15278 h 307102"/>
                  <a:gd name="connsiteX77" fmla="*/ 583904 w 608954"/>
                  <a:gd name="connsiteY77" fmla="*/ 63853 h 307102"/>
                  <a:gd name="connsiteX78" fmla="*/ 591094 w 608954"/>
                  <a:gd name="connsiteY78" fmla="*/ 75187 h 307102"/>
                  <a:gd name="connsiteX79" fmla="*/ 598285 w 608954"/>
                  <a:gd name="connsiteY79" fmla="*/ 87061 h 307102"/>
                  <a:gd name="connsiteX80" fmla="*/ 601050 w 608954"/>
                  <a:gd name="connsiteY80" fmla="*/ 95157 h 307102"/>
                  <a:gd name="connsiteX81" fmla="*/ 606028 w 608954"/>
                  <a:gd name="connsiteY81" fmla="*/ 109729 h 307102"/>
                  <a:gd name="connsiteX82" fmla="*/ 601050 w 608954"/>
                  <a:gd name="connsiteY82" fmla="*/ 116206 h 307102"/>
                  <a:gd name="connsiteX83" fmla="*/ 608240 w 608954"/>
                  <a:gd name="connsiteY83" fmla="*/ 129159 h 307102"/>
                  <a:gd name="connsiteX84" fmla="*/ 602156 w 608954"/>
                  <a:gd name="connsiteY84" fmla="*/ 135636 h 307102"/>
                  <a:gd name="connsiteX85" fmla="*/ 585564 w 608954"/>
                  <a:gd name="connsiteY85" fmla="*/ 137255 h 307102"/>
                  <a:gd name="connsiteX86" fmla="*/ 581139 w 608954"/>
                  <a:gd name="connsiteY86" fmla="*/ 135096 h 307102"/>
                  <a:gd name="connsiteX87" fmla="*/ 573395 w 608954"/>
                  <a:gd name="connsiteY87" fmla="*/ 131858 h 307102"/>
                  <a:gd name="connsiteX88" fmla="*/ 557909 w 608954"/>
                  <a:gd name="connsiteY88" fmla="*/ 140493 h 307102"/>
                  <a:gd name="connsiteX89" fmla="*/ 561227 w 608954"/>
                  <a:gd name="connsiteY89" fmla="*/ 145351 h 307102"/>
                  <a:gd name="connsiteX90" fmla="*/ 570077 w 608954"/>
                  <a:gd name="connsiteY90" fmla="*/ 147510 h 307102"/>
                  <a:gd name="connsiteX91" fmla="*/ 577820 w 608954"/>
                  <a:gd name="connsiteY91" fmla="*/ 152367 h 307102"/>
                  <a:gd name="connsiteX92" fmla="*/ 574502 w 608954"/>
                  <a:gd name="connsiteY92" fmla="*/ 162622 h 307102"/>
                  <a:gd name="connsiteX93" fmla="*/ 563440 w 608954"/>
                  <a:gd name="connsiteY93" fmla="*/ 171258 h 307102"/>
                  <a:gd name="connsiteX94" fmla="*/ 569524 w 608954"/>
                  <a:gd name="connsiteY94" fmla="*/ 218753 h 307102"/>
                  <a:gd name="connsiteX95" fmla="*/ 553484 w 608954"/>
                  <a:gd name="connsiteY95" fmla="*/ 224151 h 307102"/>
                  <a:gd name="connsiteX96" fmla="*/ 541316 w 608954"/>
                  <a:gd name="connsiteY96" fmla="*/ 243581 h 307102"/>
                  <a:gd name="connsiteX97" fmla="*/ 532467 w 608954"/>
                  <a:gd name="connsiteY97" fmla="*/ 247359 h 307102"/>
                  <a:gd name="connsiteX98" fmla="*/ 536338 w 608954"/>
                  <a:gd name="connsiteY98" fmla="*/ 263550 h 307102"/>
                  <a:gd name="connsiteX99" fmla="*/ 515874 w 608954"/>
                  <a:gd name="connsiteY99" fmla="*/ 261391 h 307102"/>
                  <a:gd name="connsiteX100" fmla="*/ 502600 w 608954"/>
                  <a:gd name="connsiteY100" fmla="*/ 268408 h 307102"/>
                  <a:gd name="connsiteX101" fmla="*/ 495409 w 608954"/>
                  <a:gd name="connsiteY101" fmla="*/ 275964 h 307102"/>
                  <a:gd name="connsiteX102" fmla="*/ 487666 w 608954"/>
                  <a:gd name="connsiteY102" fmla="*/ 276504 h 307102"/>
                  <a:gd name="connsiteX103" fmla="*/ 455587 w 608954"/>
                  <a:gd name="connsiteY103" fmla="*/ 275424 h 307102"/>
                  <a:gd name="connsiteX104" fmla="*/ 451715 w 608954"/>
                  <a:gd name="connsiteY104" fmla="*/ 279742 h 307102"/>
                  <a:gd name="connsiteX105" fmla="*/ 441206 w 608954"/>
                  <a:gd name="connsiteY105" fmla="*/ 285139 h 307102"/>
                  <a:gd name="connsiteX106" fmla="*/ 419083 w 608954"/>
                  <a:gd name="connsiteY106" fmla="*/ 306728 h 307102"/>
                  <a:gd name="connsiteX107" fmla="*/ 348840 w 608954"/>
                  <a:gd name="connsiteY107" fmla="*/ 300791 h 307102"/>
                  <a:gd name="connsiteX108" fmla="*/ 266429 w 608954"/>
                  <a:gd name="connsiteY108" fmla="*/ 290536 h 307102"/>
                  <a:gd name="connsiteX109" fmla="*/ 243200 w 608954"/>
                  <a:gd name="connsiteY109" fmla="*/ 286758 h 307102"/>
                  <a:gd name="connsiteX110" fmla="*/ 228266 w 608954"/>
                  <a:gd name="connsiteY110" fmla="*/ 277043 h 307102"/>
                  <a:gd name="connsiteX111" fmla="*/ 213333 w 608954"/>
                  <a:gd name="connsiteY111" fmla="*/ 255454 h 307102"/>
                  <a:gd name="connsiteX112" fmla="*/ 214439 w 608954"/>
                  <a:gd name="connsiteY112" fmla="*/ 239802 h 307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608954" h="307102">
                    <a:moveTo>
                      <a:pt x="214439" y="239802"/>
                    </a:moveTo>
                    <a:lnTo>
                      <a:pt x="179594" y="258153"/>
                    </a:lnTo>
                    <a:lnTo>
                      <a:pt x="166320" y="254375"/>
                    </a:lnTo>
                    <a:lnTo>
                      <a:pt x="154705" y="259233"/>
                    </a:lnTo>
                    <a:lnTo>
                      <a:pt x="140324" y="258693"/>
                    </a:lnTo>
                    <a:lnTo>
                      <a:pt x="125944" y="269487"/>
                    </a:lnTo>
                    <a:lnTo>
                      <a:pt x="121519" y="280282"/>
                    </a:lnTo>
                    <a:lnTo>
                      <a:pt x="108245" y="287298"/>
                    </a:lnTo>
                    <a:lnTo>
                      <a:pt x="97183" y="285679"/>
                    </a:lnTo>
                    <a:lnTo>
                      <a:pt x="96630" y="277043"/>
                    </a:lnTo>
                    <a:lnTo>
                      <a:pt x="78378" y="274885"/>
                    </a:lnTo>
                    <a:lnTo>
                      <a:pt x="72847" y="264090"/>
                    </a:lnTo>
                    <a:lnTo>
                      <a:pt x="69529" y="264090"/>
                    </a:lnTo>
                    <a:lnTo>
                      <a:pt x="54042" y="276504"/>
                    </a:lnTo>
                    <a:lnTo>
                      <a:pt x="49064" y="279742"/>
                    </a:lnTo>
                    <a:lnTo>
                      <a:pt x="31918" y="275964"/>
                    </a:lnTo>
                    <a:lnTo>
                      <a:pt x="25834" y="272186"/>
                    </a:lnTo>
                    <a:lnTo>
                      <a:pt x="29706" y="263011"/>
                    </a:lnTo>
                    <a:lnTo>
                      <a:pt x="7582" y="258153"/>
                    </a:lnTo>
                    <a:lnTo>
                      <a:pt x="9242" y="243041"/>
                    </a:lnTo>
                    <a:lnTo>
                      <a:pt x="-714" y="231707"/>
                    </a:lnTo>
                    <a:cubicBezTo>
                      <a:pt x="2051" y="222531"/>
                      <a:pt x="5923" y="215515"/>
                      <a:pt x="5370" y="208499"/>
                    </a:cubicBezTo>
                    <a:cubicBezTo>
                      <a:pt x="5370" y="206340"/>
                      <a:pt x="4264" y="204720"/>
                      <a:pt x="3711" y="202562"/>
                    </a:cubicBezTo>
                    <a:lnTo>
                      <a:pt x="3158" y="198244"/>
                    </a:lnTo>
                    <a:lnTo>
                      <a:pt x="11454" y="195545"/>
                    </a:lnTo>
                    <a:lnTo>
                      <a:pt x="20857" y="191767"/>
                    </a:lnTo>
                    <a:lnTo>
                      <a:pt x="24728" y="196625"/>
                    </a:lnTo>
                    <a:lnTo>
                      <a:pt x="35790" y="199863"/>
                    </a:lnTo>
                    <a:lnTo>
                      <a:pt x="55148" y="224151"/>
                    </a:lnTo>
                    <a:lnTo>
                      <a:pt x="73400" y="210657"/>
                    </a:lnTo>
                    <a:lnTo>
                      <a:pt x="75060" y="196625"/>
                    </a:lnTo>
                    <a:lnTo>
                      <a:pt x="82250" y="193386"/>
                    </a:lnTo>
                    <a:lnTo>
                      <a:pt x="88334" y="192847"/>
                    </a:lnTo>
                    <a:lnTo>
                      <a:pt x="96077" y="197164"/>
                    </a:lnTo>
                    <a:lnTo>
                      <a:pt x="106033" y="198244"/>
                    </a:lnTo>
                    <a:lnTo>
                      <a:pt x="117648" y="213356"/>
                    </a:lnTo>
                    <a:lnTo>
                      <a:pt x="146408" y="207419"/>
                    </a:lnTo>
                    <a:lnTo>
                      <a:pt x="159130" y="195005"/>
                    </a:lnTo>
                    <a:lnTo>
                      <a:pt x="177935" y="185830"/>
                    </a:lnTo>
                    <a:lnTo>
                      <a:pt x="207802" y="182052"/>
                    </a:lnTo>
                    <a:cubicBezTo>
                      <a:pt x="209461" y="178814"/>
                      <a:pt x="212226" y="173417"/>
                      <a:pt x="213333" y="170178"/>
                    </a:cubicBezTo>
                    <a:lnTo>
                      <a:pt x="234903" y="169099"/>
                    </a:lnTo>
                    <a:lnTo>
                      <a:pt x="240434" y="176655"/>
                    </a:lnTo>
                    <a:lnTo>
                      <a:pt x="244306" y="176115"/>
                    </a:lnTo>
                    <a:lnTo>
                      <a:pt x="259239" y="173417"/>
                    </a:lnTo>
                    <a:lnTo>
                      <a:pt x="266982" y="186910"/>
                    </a:lnTo>
                    <a:lnTo>
                      <a:pt x="278044" y="191767"/>
                    </a:lnTo>
                    <a:lnTo>
                      <a:pt x="284128" y="183132"/>
                    </a:lnTo>
                    <a:lnTo>
                      <a:pt x="286894" y="163162"/>
                    </a:lnTo>
                    <a:lnTo>
                      <a:pt x="274726" y="162082"/>
                    </a:lnTo>
                    <a:lnTo>
                      <a:pt x="280257" y="148050"/>
                    </a:lnTo>
                    <a:lnTo>
                      <a:pt x="264217" y="129699"/>
                    </a:lnTo>
                    <a:lnTo>
                      <a:pt x="258133" y="121603"/>
                    </a:lnTo>
                    <a:lnTo>
                      <a:pt x="258133" y="112428"/>
                    </a:lnTo>
                    <a:lnTo>
                      <a:pt x="264217" y="101094"/>
                    </a:lnTo>
                    <a:cubicBezTo>
                      <a:pt x="272513" y="97855"/>
                      <a:pt x="276385" y="94077"/>
                      <a:pt x="284128" y="90299"/>
                    </a:cubicBezTo>
                    <a:cubicBezTo>
                      <a:pt x="288000" y="88140"/>
                      <a:pt x="292978" y="87601"/>
                      <a:pt x="296296" y="84902"/>
                    </a:cubicBezTo>
                    <a:cubicBezTo>
                      <a:pt x="305146" y="78425"/>
                      <a:pt x="304040" y="66551"/>
                      <a:pt x="304593" y="56836"/>
                    </a:cubicBezTo>
                    <a:cubicBezTo>
                      <a:pt x="313995" y="58995"/>
                      <a:pt x="320632" y="60614"/>
                      <a:pt x="328929" y="64392"/>
                    </a:cubicBezTo>
                    <a:lnTo>
                      <a:pt x="333907" y="47661"/>
                    </a:lnTo>
                    <a:lnTo>
                      <a:pt x="335566" y="30930"/>
                    </a:lnTo>
                    <a:lnTo>
                      <a:pt x="353265" y="43883"/>
                    </a:lnTo>
                    <a:lnTo>
                      <a:pt x="354924" y="51979"/>
                    </a:lnTo>
                    <a:lnTo>
                      <a:pt x="373729" y="57916"/>
                    </a:lnTo>
                    <a:lnTo>
                      <a:pt x="382579" y="46582"/>
                    </a:lnTo>
                    <a:lnTo>
                      <a:pt x="401384" y="50899"/>
                    </a:lnTo>
                    <a:lnTo>
                      <a:pt x="403596" y="47121"/>
                    </a:lnTo>
                    <a:lnTo>
                      <a:pt x="413552" y="24993"/>
                    </a:lnTo>
                    <a:lnTo>
                      <a:pt x="424061" y="26072"/>
                    </a:lnTo>
                    <a:lnTo>
                      <a:pt x="431804" y="-374"/>
                    </a:lnTo>
                    <a:lnTo>
                      <a:pt x="499281" y="10420"/>
                    </a:lnTo>
                    <a:lnTo>
                      <a:pt x="510343" y="16897"/>
                    </a:lnTo>
                    <a:lnTo>
                      <a:pt x="536891" y="19056"/>
                    </a:lnTo>
                    <a:lnTo>
                      <a:pt x="545188" y="7721"/>
                    </a:lnTo>
                    <a:lnTo>
                      <a:pt x="560674" y="8801"/>
                    </a:lnTo>
                    <a:lnTo>
                      <a:pt x="564546" y="12579"/>
                    </a:lnTo>
                    <a:lnTo>
                      <a:pt x="583904" y="15278"/>
                    </a:lnTo>
                    <a:cubicBezTo>
                      <a:pt x="581692" y="31469"/>
                      <a:pt x="576161" y="48740"/>
                      <a:pt x="583904" y="63853"/>
                    </a:cubicBezTo>
                    <a:cubicBezTo>
                      <a:pt x="586117" y="68170"/>
                      <a:pt x="588882" y="70869"/>
                      <a:pt x="591094" y="75187"/>
                    </a:cubicBezTo>
                    <a:lnTo>
                      <a:pt x="598285" y="87061"/>
                    </a:lnTo>
                    <a:lnTo>
                      <a:pt x="601050" y="95157"/>
                    </a:lnTo>
                    <a:lnTo>
                      <a:pt x="606028" y="109729"/>
                    </a:lnTo>
                    <a:lnTo>
                      <a:pt x="601050" y="116206"/>
                    </a:lnTo>
                    <a:lnTo>
                      <a:pt x="608240" y="129159"/>
                    </a:lnTo>
                    <a:lnTo>
                      <a:pt x="602156" y="135636"/>
                    </a:lnTo>
                    <a:lnTo>
                      <a:pt x="585564" y="137255"/>
                    </a:lnTo>
                    <a:lnTo>
                      <a:pt x="581139" y="135096"/>
                    </a:lnTo>
                    <a:lnTo>
                      <a:pt x="573395" y="131858"/>
                    </a:lnTo>
                    <a:lnTo>
                      <a:pt x="557909" y="140493"/>
                    </a:lnTo>
                    <a:lnTo>
                      <a:pt x="561227" y="145351"/>
                    </a:lnTo>
                    <a:lnTo>
                      <a:pt x="570077" y="147510"/>
                    </a:lnTo>
                    <a:lnTo>
                      <a:pt x="577820" y="152367"/>
                    </a:lnTo>
                    <a:lnTo>
                      <a:pt x="574502" y="162622"/>
                    </a:lnTo>
                    <a:lnTo>
                      <a:pt x="563440" y="171258"/>
                    </a:lnTo>
                    <a:lnTo>
                      <a:pt x="569524" y="218753"/>
                    </a:lnTo>
                    <a:lnTo>
                      <a:pt x="553484" y="224151"/>
                    </a:lnTo>
                    <a:lnTo>
                      <a:pt x="541316" y="243581"/>
                    </a:lnTo>
                    <a:lnTo>
                      <a:pt x="532467" y="247359"/>
                    </a:lnTo>
                    <a:lnTo>
                      <a:pt x="536338" y="263550"/>
                    </a:lnTo>
                    <a:lnTo>
                      <a:pt x="515874" y="261391"/>
                    </a:lnTo>
                    <a:lnTo>
                      <a:pt x="502600" y="268408"/>
                    </a:lnTo>
                    <a:lnTo>
                      <a:pt x="495409" y="275964"/>
                    </a:lnTo>
                    <a:lnTo>
                      <a:pt x="487666" y="276504"/>
                    </a:lnTo>
                    <a:cubicBezTo>
                      <a:pt x="476051" y="273805"/>
                      <a:pt x="467755" y="276504"/>
                      <a:pt x="455587" y="275424"/>
                    </a:cubicBezTo>
                    <a:lnTo>
                      <a:pt x="451715" y="279742"/>
                    </a:lnTo>
                    <a:lnTo>
                      <a:pt x="441206" y="285139"/>
                    </a:lnTo>
                    <a:lnTo>
                      <a:pt x="419083" y="306728"/>
                    </a:lnTo>
                    <a:lnTo>
                      <a:pt x="348840" y="300791"/>
                    </a:lnTo>
                    <a:lnTo>
                      <a:pt x="266429" y="290536"/>
                    </a:lnTo>
                    <a:lnTo>
                      <a:pt x="243200" y="286758"/>
                    </a:lnTo>
                    <a:lnTo>
                      <a:pt x="228266" y="277043"/>
                    </a:lnTo>
                    <a:lnTo>
                      <a:pt x="213333" y="255454"/>
                    </a:lnTo>
                    <a:lnTo>
                      <a:pt x="214439" y="239802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8" name="Freeform 1099">
                <a:extLst>
                  <a:ext uri="{FF2B5EF4-FFF2-40B4-BE49-F238E27FC236}">
                    <a16:creationId xmlns:a16="http://schemas.microsoft.com/office/drawing/2014/main" id="{8117AE13-E1C9-4DE9-B674-D3E8DE1C18A5}"/>
                  </a:ext>
                </a:extLst>
              </p:cNvPr>
              <p:cNvSpPr/>
              <p:nvPr/>
            </p:nvSpPr>
            <p:spPr>
              <a:xfrm>
                <a:off x="9284581" y="4131645"/>
                <a:ext cx="364487" cy="210492"/>
              </a:xfrm>
              <a:custGeom>
                <a:avLst/>
                <a:gdLst>
                  <a:gd name="connsiteX0" fmla="*/ 35991 w 364487"/>
                  <a:gd name="connsiteY0" fmla="*/ 140485 h 210492"/>
                  <a:gd name="connsiteX1" fmla="*/ 38203 w 364487"/>
                  <a:gd name="connsiteY1" fmla="*/ 116197 h 210492"/>
                  <a:gd name="connsiteX2" fmla="*/ 26588 w 364487"/>
                  <a:gd name="connsiteY2" fmla="*/ 100006 h 210492"/>
                  <a:gd name="connsiteX3" fmla="*/ 5018 w 364487"/>
                  <a:gd name="connsiteY3" fmla="*/ 98386 h 210492"/>
                  <a:gd name="connsiteX4" fmla="*/ -1066 w 364487"/>
                  <a:gd name="connsiteY4" fmla="*/ 84354 h 210492"/>
                  <a:gd name="connsiteX5" fmla="*/ 2805 w 364487"/>
                  <a:gd name="connsiteY5" fmla="*/ 78956 h 210492"/>
                  <a:gd name="connsiteX6" fmla="*/ 61433 w 364487"/>
                  <a:gd name="connsiteY6" fmla="*/ 46033 h 210492"/>
                  <a:gd name="connsiteX7" fmla="*/ 76366 w 364487"/>
                  <a:gd name="connsiteY7" fmla="*/ 25524 h 210492"/>
                  <a:gd name="connsiteX8" fmla="*/ 99596 w 364487"/>
                  <a:gd name="connsiteY8" fmla="*/ 13110 h 210492"/>
                  <a:gd name="connsiteX9" fmla="*/ 107340 w 364487"/>
                  <a:gd name="connsiteY9" fmla="*/ -383 h 210492"/>
                  <a:gd name="connsiteX10" fmla="*/ 131676 w 364487"/>
                  <a:gd name="connsiteY10" fmla="*/ 6094 h 210492"/>
                  <a:gd name="connsiteX11" fmla="*/ 136654 w 364487"/>
                  <a:gd name="connsiteY11" fmla="*/ 13650 h 210492"/>
                  <a:gd name="connsiteX12" fmla="*/ 148822 w 364487"/>
                  <a:gd name="connsiteY12" fmla="*/ 16888 h 210492"/>
                  <a:gd name="connsiteX13" fmla="*/ 164861 w 364487"/>
                  <a:gd name="connsiteY13" fmla="*/ 13110 h 210492"/>
                  <a:gd name="connsiteX14" fmla="*/ 173711 w 364487"/>
                  <a:gd name="connsiteY14" fmla="*/ 14729 h 210492"/>
                  <a:gd name="connsiteX15" fmla="*/ 178688 w 364487"/>
                  <a:gd name="connsiteY15" fmla="*/ 21206 h 210492"/>
                  <a:gd name="connsiteX16" fmla="*/ 178688 w 364487"/>
                  <a:gd name="connsiteY16" fmla="*/ 37937 h 210492"/>
                  <a:gd name="connsiteX17" fmla="*/ 235104 w 364487"/>
                  <a:gd name="connsiteY17" fmla="*/ 71940 h 210492"/>
                  <a:gd name="connsiteX18" fmla="*/ 242294 w 364487"/>
                  <a:gd name="connsiteY18" fmla="*/ 98926 h 210492"/>
                  <a:gd name="connsiteX19" fmla="*/ 259993 w 364487"/>
                  <a:gd name="connsiteY19" fmla="*/ 103784 h 210492"/>
                  <a:gd name="connsiteX20" fmla="*/ 266630 w 364487"/>
                  <a:gd name="connsiteY20" fmla="*/ 102704 h 210492"/>
                  <a:gd name="connsiteX21" fmla="*/ 305900 w 364487"/>
                  <a:gd name="connsiteY21" fmla="*/ 110800 h 210492"/>
                  <a:gd name="connsiteX22" fmla="*/ 323599 w 364487"/>
                  <a:gd name="connsiteY22" fmla="*/ 107022 h 210492"/>
                  <a:gd name="connsiteX23" fmla="*/ 339638 w 364487"/>
                  <a:gd name="connsiteY23" fmla="*/ 108101 h 210492"/>
                  <a:gd name="connsiteX24" fmla="*/ 340191 w 364487"/>
                  <a:gd name="connsiteY24" fmla="*/ 132389 h 210492"/>
                  <a:gd name="connsiteX25" fmla="*/ 350147 w 364487"/>
                  <a:gd name="connsiteY25" fmla="*/ 144803 h 210492"/>
                  <a:gd name="connsiteX26" fmla="*/ 363421 w 364487"/>
                  <a:gd name="connsiteY26" fmla="*/ 152898 h 210492"/>
                  <a:gd name="connsiteX27" fmla="*/ 362315 w 364487"/>
                  <a:gd name="connsiteY27" fmla="*/ 170709 h 210492"/>
                  <a:gd name="connsiteX28" fmla="*/ 355125 w 364487"/>
                  <a:gd name="connsiteY28" fmla="*/ 197156 h 210492"/>
                  <a:gd name="connsiteX29" fmla="*/ 342404 w 364487"/>
                  <a:gd name="connsiteY29" fmla="*/ 210109 h 210492"/>
                  <a:gd name="connsiteX30" fmla="*/ 302028 w 364487"/>
                  <a:gd name="connsiteY30" fmla="*/ 185822 h 210492"/>
                  <a:gd name="connsiteX31" fmla="*/ 277692 w 364487"/>
                  <a:gd name="connsiteY31" fmla="*/ 160994 h 210492"/>
                  <a:gd name="connsiteX32" fmla="*/ 263865 w 364487"/>
                  <a:gd name="connsiteY32" fmla="*/ 158835 h 210492"/>
                  <a:gd name="connsiteX33" fmla="*/ 250037 w 364487"/>
                  <a:gd name="connsiteY33" fmla="*/ 148041 h 210492"/>
                  <a:gd name="connsiteX34" fmla="*/ 237316 w 364487"/>
                  <a:gd name="connsiteY34" fmla="*/ 154518 h 210492"/>
                  <a:gd name="connsiteX35" fmla="*/ 202471 w 364487"/>
                  <a:gd name="connsiteY35" fmla="*/ 157216 h 210492"/>
                  <a:gd name="connsiteX36" fmla="*/ 194175 w 364487"/>
                  <a:gd name="connsiteY36" fmla="*/ 169090 h 210492"/>
                  <a:gd name="connsiteX37" fmla="*/ 170945 w 364487"/>
                  <a:gd name="connsiteY37" fmla="*/ 184742 h 210492"/>
                  <a:gd name="connsiteX38" fmla="*/ 168733 w 364487"/>
                  <a:gd name="connsiteY38" fmla="*/ 182583 h 210492"/>
                  <a:gd name="connsiteX39" fmla="*/ 146609 w 364487"/>
                  <a:gd name="connsiteY39" fmla="*/ 177186 h 210492"/>
                  <a:gd name="connsiteX40" fmla="*/ 120061 w 364487"/>
                  <a:gd name="connsiteY40" fmla="*/ 169090 h 210492"/>
                  <a:gd name="connsiteX41" fmla="*/ 88534 w 364487"/>
                  <a:gd name="connsiteY41" fmla="*/ 190139 h 210492"/>
                  <a:gd name="connsiteX42" fmla="*/ 68623 w 364487"/>
                  <a:gd name="connsiteY42" fmla="*/ 193378 h 210492"/>
                  <a:gd name="connsiteX43" fmla="*/ 59221 w 364487"/>
                  <a:gd name="connsiteY43" fmla="*/ 189060 h 210492"/>
                  <a:gd name="connsiteX44" fmla="*/ 52584 w 364487"/>
                  <a:gd name="connsiteY44" fmla="*/ 174487 h 210492"/>
                  <a:gd name="connsiteX45" fmla="*/ 44287 w 364487"/>
                  <a:gd name="connsiteY45" fmla="*/ 166392 h 210492"/>
                  <a:gd name="connsiteX46" fmla="*/ 42628 w 364487"/>
                  <a:gd name="connsiteY46" fmla="*/ 153978 h 210492"/>
                  <a:gd name="connsiteX47" fmla="*/ 36544 w 364487"/>
                  <a:gd name="connsiteY47" fmla="*/ 149660 h 210492"/>
                  <a:gd name="connsiteX48" fmla="*/ 35991 w 364487"/>
                  <a:gd name="connsiteY48" fmla="*/ 140485 h 2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64487" h="210492">
                    <a:moveTo>
                      <a:pt x="35991" y="140485"/>
                    </a:moveTo>
                    <a:lnTo>
                      <a:pt x="38203" y="116197"/>
                    </a:lnTo>
                    <a:lnTo>
                      <a:pt x="26588" y="100006"/>
                    </a:lnTo>
                    <a:lnTo>
                      <a:pt x="5018" y="98386"/>
                    </a:lnTo>
                    <a:lnTo>
                      <a:pt x="-1066" y="84354"/>
                    </a:lnTo>
                    <a:lnTo>
                      <a:pt x="2805" y="78956"/>
                    </a:lnTo>
                    <a:lnTo>
                      <a:pt x="61433" y="46033"/>
                    </a:lnTo>
                    <a:lnTo>
                      <a:pt x="76366" y="25524"/>
                    </a:lnTo>
                    <a:lnTo>
                      <a:pt x="99596" y="13110"/>
                    </a:lnTo>
                    <a:lnTo>
                      <a:pt x="107340" y="-383"/>
                    </a:lnTo>
                    <a:lnTo>
                      <a:pt x="131676" y="6094"/>
                    </a:lnTo>
                    <a:lnTo>
                      <a:pt x="136654" y="13650"/>
                    </a:lnTo>
                    <a:lnTo>
                      <a:pt x="148822" y="16888"/>
                    </a:lnTo>
                    <a:lnTo>
                      <a:pt x="164861" y="13110"/>
                    </a:lnTo>
                    <a:lnTo>
                      <a:pt x="173711" y="14729"/>
                    </a:lnTo>
                    <a:lnTo>
                      <a:pt x="178688" y="21206"/>
                    </a:lnTo>
                    <a:lnTo>
                      <a:pt x="178688" y="37937"/>
                    </a:lnTo>
                    <a:lnTo>
                      <a:pt x="235104" y="71940"/>
                    </a:lnTo>
                    <a:lnTo>
                      <a:pt x="242294" y="98926"/>
                    </a:lnTo>
                    <a:lnTo>
                      <a:pt x="259993" y="103784"/>
                    </a:lnTo>
                    <a:lnTo>
                      <a:pt x="266630" y="102704"/>
                    </a:lnTo>
                    <a:lnTo>
                      <a:pt x="305900" y="110800"/>
                    </a:lnTo>
                    <a:lnTo>
                      <a:pt x="323599" y="107022"/>
                    </a:lnTo>
                    <a:lnTo>
                      <a:pt x="339638" y="108101"/>
                    </a:lnTo>
                    <a:lnTo>
                      <a:pt x="340191" y="132389"/>
                    </a:lnTo>
                    <a:lnTo>
                      <a:pt x="350147" y="144803"/>
                    </a:lnTo>
                    <a:lnTo>
                      <a:pt x="363421" y="152898"/>
                    </a:lnTo>
                    <a:cubicBezTo>
                      <a:pt x="357890" y="158296"/>
                      <a:pt x="362868" y="164772"/>
                      <a:pt x="362315" y="170709"/>
                    </a:cubicBezTo>
                    <a:cubicBezTo>
                      <a:pt x="362315" y="177186"/>
                      <a:pt x="358997" y="191759"/>
                      <a:pt x="355125" y="197156"/>
                    </a:cubicBezTo>
                    <a:cubicBezTo>
                      <a:pt x="353466" y="198775"/>
                      <a:pt x="344616" y="207950"/>
                      <a:pt x="342404" y="210109"/>
                    </a:cubicBezTo>
                    <a:lnTo>
                      <a:pt x="302028" y="185822"/>
                    </a:lnTo>
                    <a:lnTo>
                      <a:pt x="277692" y="160994"/>
                    </a:lnTo>
                    <a:lnTo>
                      <a:pt x="263865" y="158835"/>
                    </a:lnTo>
                    <a:lnTo>
                      <a:pt x="250037" y="148041"/>
                    </a:lnTo>
                    <a:lnTo>
                      <a:pt x="237316" y="154518"/>
                    </a:lnTo>
                    <a:lnTo>
                      <a:pt x="202471" y="157216"/>
                    </a:lnTo>
                    <a:lnTo>
                      <a:pt x="194175" y="169090"/>
                    </a:lnTo>
                    <a:lnTo>
                      <a:pt x="170945" y="184742"/>
                    </a:lnTo>
                    <a:cubicBezTo>
                      <a:pt x="170392" y="184202"/>
                      <a:pt x="169839" y="182583"/>
                      <a:pt x="168733" y="182583"/>
                    </a:cubicBezTo>
                    <a:cubicBezTo>
                      <a:pt x="162649" y="180964"/>
                      <a:pt x="152693" y="178805"/>
                      <a:pt x="146609" y="177186"/>
                    </a:cubicBezTo>
                    <a:cubicBezTo>
                      <a:pt x="139419" y="175567"/>
                      <a:pt x="127804" y="169630"/>
                      <a:pt x="120061" y="169090"/>
                    </a:cubicBezTo>
                    <a:cubicBezTo>
                      <a:pt x="113424" y="168550"/>
                      <a:pt x="95172" y="185822"/>
                      <a:pt x="88534" y="190139"/>
                    </a:cubicBezTo>
                    <a:cubicBezTo>
                      <a:pt x="83004" y="193917"/>
                      <a:pt x="75260" y="194457"/>
                      <a:pt x="68623" y="193378"/>
                    </a:cubicBezTo>
                    <a:cubicBezTo>
                      <a:pt x="65858" y="192838"/>
                      <a:pt x="59774" y="189060"/>
                      <a:pt x="59221" y="189060"/>
                    </a:cubicBezTo>
                    <a:cubicBezTo>
                      <a:pt x="57561" y="184202"/>
                      <a:pt x="55902" y="178265"/>
                      <a:pt x="52584" y="174487"/>
                    </a:cubicBezTo>
                    <a:cubicBezTo>
                      <a:pt x="50924" y="171789"/>
                      <a:pt x="45393" y="170709"/>
                      <a:pt x="44287" y="166392"/>
                    </a:cubicBezTo>
                    <a:cubicBezTo>
                      <a:pt x="43181" y="162074"/>
                      <a:pt x="47606" y="159375"/>
                      <a:pt x="42628" y="153978"/>
                    </a:cubicBezTo>
                    <a:cubicBezTo>
                      <a:pt x="40969" y="152359"/>
                      <a:pt x="37650" y="151819"/>
                      <a:pt x="36544" y="149660"/>
                    </a:cubicBezTo>
                    <a:cubicBezTo>
                      <a:pt x="35438" y="147501"/>
                      <a:pt x="35991" y="143183"/>
                      <a:pt x="35991" y="140485"/>
                    </a:cubicBez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69" name="Freeform 1100">
                <a:extLst>
                  <a:ext uri="{FF2B5EF4-FFF2-40B4-BE49-F238E27FC236}">
                    <a16:creationId xmlns:a16="http://schemas.microsoft.com/office/drawing/2014/main" id="{C6FB18EC-D105-4A6C-BAD4-A3A2F076A405}"/>
                  </a:ext>
                </a:extLst>
              </p:cNvPr>
              <p:cNvSpPr/>
              <p:nvPr/>
            </p:nvSpPr>
            <p:spPr>
              <a:xfrm>
                <a:off x="7227079" y="4714006"/>
                <a:ext cx="181967" cy="348121"/>
              </a:xfrm>
              <a:custGeom>
                <a:avLst/>
                <a:gdLst>
                  <a:gd name="connsiteX0" fmla="*/ 141347 w 181967"/>
                  <a:gd name="connsiteY0" fmla="*/ 172785 h 348121"/>
                  <a:gd name="connsiteX1" fmla="*/ 130285 w 181967"/>
                  <a:gd name="connsiteY1" fmla="*/ 164149 h 348121"/>
                  <a:gd name="connsiteX2" fmla="*/ 119776 w 181967"/>
                  <a:gd name="connsiteY2" fmla="*/ 140941 h 348121"/>
                  <a:gd name="connsiteX3" fmla="*/ 125860 w 181967"/>
                  <a:gd name="connsiteY3" fmla="*/ 125829 h 348121"/>
                  <a:gd name="connsiteX4" fmla="*/ 114798 w 181967"/>
                  <a:gd name="connsiteY4" fmla="*/ 89128 h 348121"/>
                  <a:gd name="connsiteX5" fmla="*/ 120882 w 181967"/>
                  <a:gd name="connsiteY5" fmla="*/ 66999 h 348121"/>
                  <a:gd name="connsiteX6" fmla="*/ 100418 w 181967"/>
                  <a:gd name="connsiteY6" fmla="*/ 36235 h 348121"/>
                  <a:gd name="connsiteX7" fmla="*/ 88803 w 181967"/>
                  <a:gd name="connsiteY7" fmla="*/ 29758 h 348121"/>
                  <a:gd name="connsiteX8" fmla="*/ 79400 w 181967"/>
                  <a:gd name="connsiteY8" fmla="*/ 27060 h 348121"/>
                  <a:gd name="connsiteX9" fmla="*/ 69998 w 181967"/>
                  <a:gd name="connsiteY9" fmla="*/ 7090 h 348121"/>
                  <a:gd name="connsiteX10" fmla="*/ 58936 w 181967"/>
                  <a:gd name="connsiteY10" fmla="*/ 4931 h 348121"/>
                  <a:gd name="connsiteX11" fmla="*/ 50640 w 181967"/>
                  <a:gd name="connsiteY11" fmla="*/ 9249 h 348121"/>
                  <a:gd name="connsiteX12" fmla="*/ 44556 w 181967"/>
                  <a:gd name="connsiteY12" fmla="*/ 16265 h 348121"/>
                  <a:gd name="connsiteX13" fmla="*/ 34600 w 181967"/>
                  <a:gd name="connsiteY13" fmla="*/ 15725 h 348121"/>
                  <a:gd name="connsiteX14" fmla="*/ 30728 w 181967"/>
                  <a:gd name="connsiteY14" fmla="*/ -466 h 348121"/>
                  <a:gd name="connsiteX15" fmla="*/ 23538 w 181967"/>
                  <a:gd name="connsiteY15" fmla="*/ 2232 h 348121"/>
                  <a:gd name="connsiteX16" fmla="*/ -798 w 181967"/>
                  <a:gd name="connsiteY16" fmla="*/ 60522 h 348121"/>
                  <a:gd name="connsiteX17" fmla="*/ 8051 w 181967"/>
                  <a:gd name="connsiteY17" fmla="*/ 65380 h 348121"/>
                  <a:gd name="connsiteX18" fmla="*/ 10264 w 181967"/>
                  <a:gd name="connsiteY18" fmla="*/ 71317 h 348121"/>
                  <a:gd name="connsiteX19" fmla="*/ 10817 w 181967"/>
                  <a:gd name="connsiteY19" fmla="*/ 93446 h 348121"/>
                  <a:gd name="connsiteX20" fmla="*/ 30728 w 181967"/>
                  <a:gd name="connsiteY20" fmla="*/ 100462 h 348121"/>
                  <a:gd name="connsiteX21" fmla="*/ 29622 w 181967"/>
                  <a:gd name="connsiteY21" fmla="*/ 105319 h 348121"/>
                  <a:gd name="connsiteX22" fmla="*/ 33494 w 181967"/>
                  <a:gd name="connsiteY22" fmla="*/ 122051 h 348121"/>
                  <a:gd name="connsiteX23" fmla="*/ 26304 w 181967"/>
                  <a:gd name="connsiteY23" fmla="*/ 129067 h 348121"/>
                  <a:gd name="connsiteX24" fmla="*/ 27410 w 181967"/>
                  <a:gd name="connsiteY24" fmla="*/ 136084 h 348121"/>
                  <a:gd name="connsiteX25" fmla="*/ 24644 w 181967"/>
                  <a:gd name="connsiteY25" fmla="*/ 154434 h 348121"/>
                  <a:gd name="connsiteX26" fmla="*/ 33494 w 181967"/>
                  <a:gd name="connsiteY26" fmla="*/ 160371 h 348121"/>
                  <a:gd name="connsiteX27" fmla="*/ 30175 w 181967"/>
                  <a:gd name="connsiteY27" fmla="*/ 178182 h 348121"/>
                  <a:gd name="connsiteX28" fmla="*/ 40684 w 181967"/>
                  <a:gd name="connsiteY28" fmla="*/ 202470 h 348121"/>
                  <a:gd name="connsiteX29" fmla="*/ 34600 w 181967"/>
                  <a:gd name="connsiteY29" fmla="*/ 209486 h 348121"/>
                  <a:gd name="connsiteX30" fmla="*/ 27410 w 181967"/>
                  <a:gd name="connsiteY30" fmla="*/ 232154 h 348121"/>
                  <a:gd name="connsiteX31" fmla="*/ 27963 w 181967"/>
                  <a:gd name="connsiteY31" fmla="*/ 238631 h 348121"/>
                  <a:gd name="connsiteX32" fmla="*/ 44002 w 181967"/>
                  <a:gd name="connsiteY32" fmla="*/ 268856 h 348121"/>
                  <a:gd name="connsiteX33" fmla="*/ 32388 w 181967"/>
                  <a:gd name="connsiteY33" fmla="*/ 267776 h 348121"/>
                  <a:gd name="connsiteX34" fmla="*/ 45109 w 181967"/>
                  <a:gd name="connsiteY34" fmla="*/ 281809 h 348121"/>
                  <a:gd name="connsiteX35" fmla="*/ 46768 w 181967"/>
                  <a:gd name="connsiteY35" fmla="*/ 285047 h 348121"/>
                  <a:gd name="connsiteX36" fmla="*/ 80507 w 181967"/>
                  <a:gd name="connsiteY36" fmla="*/ 296921 h 348121"/>
                  <a:gd name="connsiteX37" fmla="*/ 93781 w 181967"/>
                  <a:gd name="connsiteY37" fmla="*/ 315812 h 348121"/>
                  <a:gd name="connsiteX38" fmla="*/ 102630 w 181967"/>
                  <a:gd name="connsiteY38" fmla="*/ 320129 h 348121"/>
                  <a:gd name="connsiteX39" fmla="*/ 102630 w 181967"/>
                  <a:gd name="connsiteY39" fmla="*/ 332543 h 348121"/>
                  <a:gd name="connsiteX40" fmla="*/ 119776 w 181967"/>
                  <a:gd name="connsiteY40" fmla="*/ 341718 h 348121"/>
                  <a:gd name="connsiteX41" fmla="*/ 120882 w 181967"/>
                  <a:gd name="connsiteY41" fmla="*/ 347655 h 348121"/>
                  <a:gd name="connsiteX42" fmla="*/ 139134 w 181967"/>
                  <a:gd name="connsiteY42" fmla="*/ 318510 h 348121"/>
                  <a:gd name="connsiteX43" fmla="*/ 134710 w 181967"/>
                  <a:gd name="connsiteY43" fmla="*/ 306636 h 348121"/>
                  <a:gd name="connsiteX44" fmla="*/ 134710 w 181967"/>
                  <a:gd name="connsiteY44" fmla="*/ 299080 h 348121"/>
                  <a:gd name="connsiteX45" fmla="*/ 141347 w 181967"/>
                  <a:gd name="connsiteY45" fmla="*/ 290445 h 348121"/>
                  <a:gd name="connsiteX46" fmla="*/ 159599 w 181967"/>
                  <a:gd name="connsiteY46" fmla="*/ 283968 h 348121"/>
                  <a:gd name="connsiteX47" fmla="*/ 163470 w 181967"/>
                  <a:gd name="connsiteY47" fmla="*/ 262919 h 348121"/>
                  <a:gd name="connsiteX48" fmla="*/ 172320 w 181967"/>
                  <a:gd name="connsiteY48" fmla="*/ 251584 h 348121"/>
                  <a:gd name="connsiteX49" fmla="*/ 181169 w 181967"/>
                  <a:gd name="connsiteY49" fmla="*/ 227297 h 348121"/>
                  <a:gd name="connsiteX50" fmla="*/ 173426 w 181967"/>
                  <a:gd name="connsiteY50" fmla="*/ 212724 h 348121"/>
                  <a:gd name="connsiteX51" fmla="*/ 171767 w 181967"/>
                  <a:gd name="connsiteY51" fmla="*/ 205168 h 348121"/>
                  <a:gd name="connsiteX52" fmla="*/ 172873 w 181967"/>
                  <a:gd name="connsiteY52" fmla="*/ 192215 h 348121"/>
                  <a:gd name="connsiteX53" fmla="*/ 164577 w 181967"/>
                  <a:gd name="connsiteY53" fmla="*/ 185738 h 348121"/>
                  <a:gd name="connsiteX54" fmla="*/ 156280 w 181967"/>
                  <a:gd name="connsiteY54" fmla="*/ 185198 h 348121"/>
                  <a:gd name="connsiteX55" fmla="*/ 146878 w 181967"/>
                  <a:gd name="connsiteY55" fmla="*/ 171166 h 348121"/>
                  <a:gd name="connsiteX56" fmla="*/ 141347 w 181967"/>
                  <a:gd name="connsiteY56" fmla="*/ 172785 h 348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81967" h="348121">
                    <a:moveTo>
                      <a:pt x="141347" y="172785"/>
                    </a:moveTo>
                    <a:lnTo>
                      <a:pt x="130285" y="164149"/>
                    </a:lnTo>
                    <a:lnTo>
                      <a:pt x="119776" y="140941"/>
                    </a:lnTo>
                    <a:lnTo>
                      <a:pt x="125860" y="125829"/>
                    </a:lnTo>
                    <a:lnTo>
                      <a:pt x="114798" y="89128"/>
                    </a:lnTo>
                    <a:lnTo>
                      <a:pt x="120882" y="66999"/>
                    </a:lnTo>
                    <a:lnTo>
                      <a:pt x="100418" y="36235"/>
                    </a:lnTo>
                    <a:lnTo>
                      <a:pt x="88803" y="29758"/>
                    </a:lnTo>
                    <a:lnTo>
                      <a:pt x="79400" y="27060"/>
                    </a:lnTo>
                    <a:lnTo>
                      <a:pt x="69998" y="7090"/>
                    </a:lnTo>
                    <a:lnTo>
                      <a:pt x="58936" y="4931"/>
                    </a:lnTo>
                    <a:lnTo>
                      <a:pt x="50640" y="9249"/>
                    </a:lnTo>
                    <a:lnTo>
                      <a:pt x="44556" y="16265"/>
                    </a:lnTo>
                    <a:lnTo>
                      <a:pt x="34600" y="15725"/>
                    </a:lnTo>
                    <a:lnTo>
                      <a:pt x="30728" y="-466"/>
                    </a:lnTo>
                    <a:lnTo>
                      <a:pt x="23538" y="2232"/>
                    </a:lnTo>
                    <a:lnTo>
                      <a:pt x="-798" y="60522"/>
                    </a:lnTo>
                    <a:lnTo>
                      <a:pt x="8051" y="65380"/>
                    </a:lnTo>
                    <a:lnTo>
                      <a:pt x="10264" y="71317"/>
                    </a:lnTo>
                    <a:lnTo>
                      <a:pt x="10817" y="93446"/>
                    </a:lnTo>
                    <a:cubicBezTo>
                      <a:pt x="15242" y="93985"/>
                      <a:pt x="28516" y="96144"/>
                      <a:pt x="30728" y="100462"/>
                    </a:cubicBezTo>
                    <a:cubicBezTo>
                      <a:pt x="30728" y="101541"/>
                      <a:pt x="29622" y="103700"/>
                      <a:pt x="29622" y="105319"/>
                    </a:cubicBezTo>
                    <a:cubicBezTo>
                      <a:pt x="30175" y="110717"/>
                      <a:pt x="32941" y="116654"/>
                      <a:pt x="33494" y="122051"/>
                    </a:cubicBezTo>
                    <a:cubicBezTo>
                      <a:pt x="31834" y="126369"/>
                      <a:pt x="28516" y="125289"/>
                      <a:pt x="26304" y="129067"/>
                    </a:cubicBezTo>
                    <a:cubicBezTo>
                      <a:pt x="26304" y="129607"/>
                      <a:pt x="27410" y="135004"/>
                      <a:pt x="27410" y="136084"/>
                    </a:cubicBezTo>
                    <a:cubicBezTo>
                      <a:pt x="27410" y="140401"/>
                      <a:pt x="23538" y="151196"/>
                      <a:pt x="24644" y="154434"/>
                    </a:cubicBezTo>
                    <a:cubicBezTo>
                      <a:pt x="25197" y="156593"/>
                      <a:pt x="32941" y="156053"/>
                      <a:pt x="33494" y="160371"/>
                    </a:cubicBezTo>
                    <a:cubicBezTo>
                      <a:pt x="33494" y="162530"/>
                      <a:pt x="30175" y="174404"/>
                      <a:pt x="30175" y="178182"/>
                    </a:cubicBezTo>
                    <a:cubicBezTo>
                      <a:pt x="29069" y="190056"/>
                      <a:pt x="37365" y="193834"/>
                      <a:pt x="40684" y="202470"/>
                    </a:cubicBezTo>
                    <a:cubicBezTo>
                      <a:pt x="42343" y="207867"/>
                      <a:pt x="36259" y="206787"/>
                      <a:pt x="34600" y="209486"/>
                    </a:cubicBezTo>
                    <a:cubicBezTo>
                      <a:pt x="32941" y="212185"/>
                      <a:pt x="28516" y="228376"/>
                      <a:pt x="27410" y="232154"/>
                    </a:cubicBezTo>
                    <a:cubicBezTo>
                      <a:pt x="27410" y="233774"/>
                      <a:pt x="27410" y="237012"/>
                      <a:pt x="27963" y="238631"/>
                    </a:cubicBezTo>
                    <a:cubicBezTo>
                      <a:pt x="31281" y="244028"/>
                      <a:pt x="54511" y="261839"/>
                      <a:pt x="44002" y="268856"/>
                    </a:cubicBezTo>
                    <a:cubicBezTo>
                      <a:pt x="40684" y="268856"/>
                      <a:pt x="37365" y="267776"/>
                      <a:pt x="32388" y="267776"/>
                    </a:cubicBezTo>
                    <a:cubicBezTo>
                      <a:pt x="32941" y="280730"/>
                      <a:pt x="39025" y="276951"/>
                      <a:pt x="45109" y="281809"/>
                    </a:cubicBezTo>
                    <a:cubicBezTo>
                      <a:pt x="45662" y="282888"/>
                      <a:pt x="45662" y="284508"/>
                      <a:pt x="46768" y="285047"/>
                    </a:cubicBezTo>
                    <a:cubicBezTo>
                      <a:pt x="53958" y="289365"/>
                      <a:pt x="71104" y="292603"/>
                      <a:pt x="80507" y="296921"/>
                    </a:cubicBezTo>
                    <a:cubicBezTo>
                      <a:pt x="92121" y="302858"/>
                      <a:pt x="89909" y="311494"/>
                      <a:pt x="93781" y="315812"/>
                    </a:cubicBezTo>
                    <a:cubicBezTo>
                      <a:pt x="95993" y="317970"/>
                      <a:pt x="99865" y="316891"/>
                      <a:pt x="102630" y="320129"/>
                    </a:cubicBezTo>
                    <a:cubicBezTo>
                      <a:pt x="103183" y="323907"/>
                      <a:pt x="101524" y="328765"/>
                      <a:pt x="102630" y="332543"/>
                    </a:cubicBezTo>
                    <a:cubicBezTo>
                      <a:pt x="103183" y="337400"/>
                      <a:pt x="115351" y="339559"/>
                      <a:pt x="119776" y="341718"/>
                    </a:cubicBezTo>
                    <a:cubicBezTo>
                      <a:pt x="121435" y="343877"/>
                      <a:pt x="121435" y="344957"/>
                      <a:pt x="120882" y="347655"/>
                    </a:cubicBezTo>
                    <a:lnTo>
                      <a:pt x="139134" y="318510"/>
                    </a:lnTo>
                    <a:lnTo>
                      <a:pt x="134710" y="306636"/>
                    </a:lnTo>
                    <a:lnTo>
                      <a:pt x="134710" y="299080"/>
                    </a:lnTo>
                    <a:lnTo>
                      <a:pt x="141347" y="290445"/>
                    </a:lnTo>
                    <a:lnTo>
                      <a:pt x="159599" y="283968"/>
                    </a:lnTo>
                    <a:lnTo>
                      <a:pt x="163470" y="262919"/>
                    </a:lnTo>
                    <a:lnTo>
                      <a:pt x="172320" y="251584"/>
                    </a:lnTo>
                    <a:lnTo>
                      <a:pt x="181169" y="227297"/>
                    </a:lnTo>
                    <a:lnTo>
                      <a:pt x="173426" y="212724"/>
                    </a:lnTo>
                    <a:lnTo>
                      <a:pt x="171767" y="205168"/>
                    </a:lnTo>
                    <a:lnTo>
                      <a:pt x="172873" y="192215"/>
                    </a:lnTo>
                    <a:lnTo>
                      <a:pt x="164577" y="185738"/>
                    </a:lnTo>
                    <a:lnTo>
                      <a:pt x="156280" y="185198"/>
                    </a:lnTo>
                    <a:lnTo>
                      <a:pt x="146878" y="171166"/>
                    </a:lnTo>
                    <a:lnTo>
                      <a:pt x="141347" y="172785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  <p:sp>
            <p:nvSpPr>
              <p:cNvPr id="70" name="Freeform 1101">
                <a:extLst>
                  <a:ext uri="{FF2B5EF4-FFF2-40B4-BE49-F238E27FC236}">
                    <a16:creationId xmlns:a16="http://schemas.microsoft.com/office/drawing/2014/main" id="{BEA04CEF-D520-4ABC-B99E-FE889BAA290C}"/>
                  </a:ext>
                </a:extLst>
              </p:cNvPr>
              <p:cNvSpPr/>
              <p:nvPr/>
            </p:nvSpPr>
            <p:spPr>
              <a:xfrm>
                <a:off x="5636386" y="4770137"/>
                <a:ext cx="27101" cy="24287"/>
              </a:xfrm>
              <a:custGeom>
                <a:avLst/>
                <a:gdLst>
                  <a:gd name="connsiteX0" fmla="*/ 24300 w 27101"/>
                  <a:gd name="connsiteY0" fmla="*/ 21136 h 24287"/>
                  <a:gd name="connsiteX1" fmla="*/ 26512 w 27101"/>
                  <a:gd name="connsiteY1" fmla="*/ 9262 h 24287"/>
                  <a:gd name="connsiteX2" fmla="*/ 26512 w 27101"/>
                  <a:gd name="connsiteY2" fmla="*/ 7103 h 24287"/>
                  <a:gd name="connsiteX3" fmla="*/ 8260 w 27101"/>
                  <a:gd name="connsiteY3" fmla="*/ -453 h 24287"/>
                  <a:gd name="connsiteX4" fmla="*/ -37 w 27101"/>
                  <a:gd name="connsiteY4" fmla="*/ 7103 h 24287"/>
                  <a:gd name="connsiteX5" fmla="*/ -590 w 27101"/>
                  <a:gd name="connsiteY5" fmla="*/ 22755 h 24287"/>
                  <a:gd name="connsiteX6" fmla="*/ 4388 w 27101"/>
                  <a:gd name="connsiteY6" fmla="*/ 23835 h 24287"/>
                  <a:gd name="connsiteX7" fmla="*/ 20428 w 27101"/>
                  <a:gd name="connsiteY7" fmla="*/ 20057 h 24287"/>
                  <a:gd name="connsiteX8" fmla="*/ 24300 w 27101"/>
                  <a:gd name="connsiteY8" fmla="*/ 21136 h 2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101" h="24287">
                    <a:moveTo>
                      <a:pt x="24300" y="21136"/>
                    </a:moveTo>
                    <a:lnTo>
                      <a:pt x="26512" y="9262"/>
                    </a:lnTo>
                    <a:lnTo>
                      <a:pt x="26512" y="7103"/>
                    </a:lnTo>
                    <a:lnTo>
                      <a:pt x="8260" y="-453"/>
                    </a:lnTo>
                    <a:lnTo>
                      <a:pt x="-37" y="7103"/>
                    </a:lnTo>
                    <a:lnTo>
                      <a:pt x="-590" y="22755"/>
                    </a:lnTo>
                    <a:lnTo>
                      <a:pt x="4388" y="23835"/>
                    </a:lnTo>
                    <a:lnTo>
                      <a:pt x="20428" y="20057"/>
                    </a:lnTo>
                    <a:lnTo>
                      <a:pt x="24300" y="21136"/>
                    </a:lnTo>
                    <a:close/>
                  </a:path>
                </a:pathLst>
              </a:custGeom>
              <a:grpFill/>
              <a:ln w="161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83">
                  <a:defRPr/>
                </a:pPr>
                <a:endParaRPr lang="en-GB" sz="1013">
                  <a:solidFill>
                    <a:srgbClr val="000000"/>
                  </a:solidFill>
                  <a:latin typeface="UniCredit (Body)"/>
                </a:endParaRPr>
              </a:p>
            </p:txBody>
          </p:sp>
        </p:grpSp>
        <p:sp>
          <p:nvSpPr>
            <p:cNvPr id="11" name="Freeform 1048">
              <a:extLst>
                <a:ext uri="{FF2B5EF4-FFF2-40B4-BE49-F238E27FC236}">
                  <a16:creationId xmlns:a16="http://schemas.microsoft.com/office/drawing/2014/main" id="{09985716-99A0-443A-89E6-CC74EAF71077}"/>
                </a:ext>
              </a:extLst>
            </p:cNvPr>
            <p:cNvSpPr/>
            <p:nvPr/>
          </p:nvSpPr>
          <p:spPr>
            <a:xfrm>
              <a:off x="6508833" y="3223000"/>
              <a:ext cx="280570" cy="300411"/>
            </a:xfrm>
            <a:custGeom>
              <a:avLst/>
              <a:gdLst>
                <a:gd name="connsiteX0" fmla="*/ 57275 w 402650"/>
                <a:gd name="connsiteY0" fmla="*/ 283471 h 513276"/>
                <a:gd name="connsiteX1" fmla="*/ 51191 w 402650"/>
                <a:gd name="connsiteY1" fmla="*/ 260803 h 513276"/>
                <a:gd name="connsiteX2" fmla="*/ 55616 w 402650"/>
                <a:gd name="connsiteY2" fmla="*/ 258104 h 513276"/>
                <a:gd name="connsiteX3" fmla="*/ 67231 w 402650"/>
                <a:gd name="connsiteY3" fmla="*/ 264041 h 513276"/>
                <a:gd name="connsiteX4" fmla="*/ 71103 w 402650"/>
                <a:gd name="connsiteY4" fmla="*/ 265121 h 513276"/>
                <a:gd name="connsiteX5" fmla="*/ 81058 w 402650"/>
                <a:gd name="connsiteY5" fmla="*/ 251088 h 513276"/>
                <a:gd name="connsiteX6" fmla="*/ 78846 w 402650"/>
                <a:gd name="connsiteY6" fmla="*/ 240833 h 513276"/>
                <a:gd name="connsiteX7" fmla="*/ 44001 w 402650"/>
                <a:gd name="connsiteY7" fmla="*/ 217625 h 513276"/>
                <a:gd name="connsiteX8" fmla="*/ 40682 w 402650"/>
                <a:gd name="connsiteY8" fmla="*/ 211688 h 513276"/>
                <a:gd name="connsiteX9" fmla="*/ 51191 w 402650"/>
                <a:gd name="connsiteY9" fmla="*/ 155017 h 513276"/>
                <a:gd name="connsiteX10" fmla="*/ 37917 w 402650"/>
                <a:gd name="connsiteY10" fmla="*/ 139905 h 513276"/>
                <a:gd name="connsiteX11" fmla="*/ 44001 w 402650"/>
                <a:gd name="connsiteY11" fmla="*/ 112919 h 513276"/>
                <a:gd name="connsiteX12" fmla="*/ 24643 w 402650"/>
                <a:gd name="connsiteY12" fmla="*/ 105902 h 513276"/>
                <a:gd name="connsiteX13" fmla="*/ 13028 w 402650"/>
                <a:gd name="connsiteY13" fmla="*/ 85932 h 513276"/>
                <a:gd name="connsiteX14" fmla="*/ 1413 w 402650"/>
                <a:gd name="connsiteY14" fmla="*/ 60026 h 513276"/>
                <a:gd name="connsiteX15" fmla="*/ -799 w 402650"/>
                <a:gd name="connsiteY15" fmla="*/ 48152 h 513276"/>
                <a:gd name="connsiteX16" fmla="*/ 14134 w 402650"/>
                <a:gd name="connsiteY16" fmla="*/ 30881 h 513276"/>
                <a:gd name="connsiteX17" fmla="*/ 28514 w 402650"/>
                <a:gd name="connsiteY17" fmla="*/ 29262 h 513276"/>
                <a:gd name="connsiteX18" fmla="*/ 56722 w 402650"/>
                <a:gd name="connsiteY18" fmla="*/ 2275 h 513276"/>
                <a:gd name="connsiteX19" fmla="*/ 73868 w 402650"/>
                <a:gd name="connsiteY19" fmla="*/ 6053 h 513276"/>
                <a:gd name="connsiteX20" fmla="*/ 94332 w 402650"/>
                <a:gd name="connsiteY20" fmla="*/ -423 h 513276"/>
                <a:gd name="connsiteX21" fmla="*/ 113138 w 402650"/>
                <a:gd name="connsiteY21" fmla="*/ 2275 h 513276"/>
                <a:gd name="connsiteX22" fmla="*/ 119775 w 402650"/>
                <a:gd name="connsiteY22" fmla="*/ 17388 h 513276"/>
                <a:gd name="connsiteX23" fmla="*/ 130283 w 402650"/>
                <a:gd name="connsiteY23" fmla="*/ 24944 h 513276"/>
                <a:gd name="connsiteX24" fmla="*/ 151854 w 402650"/>
                <a:gd name="connsiteY24" fmla="*/ 33579 h 513276"/>
                <a:gd name="connsiteX25" fmla="*/ 155726 w 402650"/>
                <a:gd name="connsiteY25" fmla="*/ 38437 h 513276"/>
                <a:gd name="connsiteX26" fmla="*/ 161810 w 402650"/>
                <a:gd name="connsiteY26" fmla="*/ 39516 h 513276"/>
                <a:gd name="connsiteX27" fmla="*/ 162363 w 402650"/>
                <a:gd name="connsiteY27" fmla="*/ 55708 h 513276"/>
                <a:gd name="connsiteX28" fmla="*/ 166234 w 402650"/>
                <a:gd name="connsiteY28" fmla="*/ 67042 h 513276"/>
                <a:gd name="connsiteX29" fmla="*/ 179509 w 402650"/>
                <a:gd name="connsiteY29" fmla="*/ 76757 h 513276"/>
                <a:gd name="connsiteX30" fmla="*/ 199973 w 402650"/>
                <a:gd name="connsiteY30" fmla="*/ 84313 h 513276"/>
                <a:gd name="connsiteX31" fmla="*/ 228181 w 402650"/>
                <a:gd name="connsiteY31" fmla="*/ 102124 h 513276"/>
                <a:gd name="connsiteX32" fmla="*/ 234265 w 402650"/>
                <a:gd name="connsiteY32" fmla="*/ 141524 h 513276"/>
                <a:gd name="connsiteX33" fmla="*/ 252517 w 402650"/>
                <a:gd name="connsiteY33" fmla="*/ 149080 h 513276"/>
                <a:gd name="connsiteX34" fmla="*/ 282937 w 402650"/>
                <a:gd name="connsiteY34" fmla="*/ 154477 h 513276"/>
                <a:gd name="connsiteX35" fmla="*/ 292339 w 402650"/>
                <a:gd name="connsiteY35" fmla="*/ 162573 h 513276"/>
                <a:gd name="connsiteX36" fmla="*/ 322206 w 402650"/>
                <a:gd name="connsiteY36" fmla="*/ 135047 h 513276"/>
                <a:gd name="connsiteX37" fmla="*/ 334374 w 402650"/>
                <a:gd name="connsiteY37" fmla="*/ 138825 h 513276"/>
                <a:gd name="connsiteX38" fmla="*/ 337140 w 402650"/>
                <a:gd name="connsiteY38" fmla="*/ 148540 h 513276"/>
                <a:gd name="connsiteX39" fmla="*/ 328843 w 402650"/>
                <a:gd name="connsiteY39" fmla="*/ 152858 h 513276"/>
                <a:gd name="connsiteX40" fmla="*/ 326631 w 402650"/>
                <a:gd name="connsiteY40" fmla="*/ 163653 h 513276"/>
                <a:gd name="connsiteX41" fmla="*/ 341565 w 402650"/>
                <a:gd name="connsiteY41" fmla="*/ 180384 h 513276"/>
                <a:gd name="connsiteX42" fmla="*/ 345436 w 402650"/>
                <a:gd name="connsiteY42" fmla="*/ 190639 h 513276"/>
                <a:gd name="connsiteX43" fmla="*/ 345436 w 402650"/>
                <a:gd name="connsiteY43" fmla="*/ 206831 h 513276"/>
                <a:gd name="connsiteX44" fmla="*/ 333268 w 402650"/>
                <a:gd name="connsiteY44" fmla="*/ 218165 h 513276"/>
                <a:gd name="connsiteX45" fmla="*/ 332162 w 402650"/>
                <a:gd name="connsiteY45" fmla="*/ 244611 h 513276"/>
                <a:gd name="connsiteX46" fmla="*/ 345989 w 402650"/>
                <a:gd name="connsiteY46" fmla="*/ 254326 h 513276"/>
                <a:gd name="connsiteX47" fmla="*/ 355945 w 402650"/>
                <a:gd name="connsiteY47" fmla="*/ 279153 h 513276"/>
                <a:gd name="connsiteX48" fmla="*/ 377516 w 402650"/>
                <a:gd name="connsiteY48" fmla="*/ 283471 h 513276"/>
                <a:gd name="connsiteX49" fmla="*/ 383600 w 402650"/>
                <a:gd name="connsiteY49" fmla="*/ 294266 h 513276"/>
                <a:gd name="connsiteX50" fmla="*/ 401852 w 402650"/>
                <a:gd name="connsiteY50" fmla="*/ 302362 h 513276"/>
                <a:gd name="connsiteX51" fmla="*/ 376962 w 402650"/>
                <a:gd name="connsiteY51" fmla="*/ 342841 h 513276"/>
                <a:gd name="connsiteX52" fmla="*/ 367560 w 402650"/>
                <a:gd name="connsiteY52" fmla="*/ 344460 h 513276"/>
                <a:gd name="connsiteX53" fmla="*/ 360923 w 402650"/>
                <a:gd name="connsiteY53" fmla="*/ 351476 h 513276"/>
                <a:gd name="connsiteX54" fmla="*/ 364794 w 402650"/>
                <a:gd name="connsiteY54" fmla="*/ 362811 h 513276"/>
                <a:gd name="connsiteX55" fmla="*/ 364241 w 402650"/>
                <a:gd name="connsiteY55" fmla="*/ 383860 h 513276"/>
                <a:gd name="connsiteX56" fmla="*/ 376962 w 402650"/>
                <a:gd name="connsiteY56" fmla="*/ 396813 h 513276"/>
                <a:gd name="connsiteX57" fmla="*/ 368666 w 402650"/>
                <a:gd name="connsiteY57" fmla="*/ 413545 h 513276"/>
                <a:gd name="connsiteX58" fmla="*/ 366454 w 402650"/>
                <a:gd name="connsiteY58" fmla="*/ 415164 h 513276"/>
                <a:gd name="connsiteX59" fmla="*/ 358710 w 402650"/>
                <a:gd name="connsiteY59" fmla="*/ 413545 h 513276"/>
                <a:gd name="connsiteX60" fmla="*/ 337693 w 402650"/>
                <a:gd name="connsiteY60" fmla="*/ 423799 h 513276"/>
                <a:gd name="connsiteX61" fmla="*/ 310591 w 402650"/>
                <a:gd name="connsiteY61" fmla="*/ 420561 h 513276"/>
                <a:gd name="connsiteX62" fmla="*/ 298423 w 402650"/>
                <a:gd name="connsiteY62" fmla="*/ 425958 h 513276"/>
                <a:gd name="connsiteX63" fmla="*/ 297317 w 402650"/>
                <a:gd name="connsiteY63" fmla="*/ 442690 h 513276"/>
                <a:gd name="connsiteX64" fmla="*/ 269110 w 402650"/>
                <a:gd name="connsiteY64" fmla="*/ 460500 h 513276"/>
                <a:gd name="connsiteX65" fmla="*/ 261919 w 402650"/>
                <a:gd name="connsiteY65" fmla="*/ 463199 h 513276"/>
                <a:gd name="connsiteX66" fmla="*/ 247539 w 402650"/>
                <a:gd name="connsiteY66" fmla="*/ 499900 h 513276"/>
                <a:gd name="connsiteX67" fmla="*/ 237030 w 402650"/>
                <a:gd name="connsiteY67" fmla="*/ 504758 h 513276"/>
                <a:gd name="connsiteX68" fmla="*/ 222650 w 402650"/>
                <a:gd name="connsiteY68" fmla="*/ 509076 h 513276"/>
                <a:gd name="connsiteX69" fmla="*/ 213800 w 402650"/>
                <a:gd name="connsiteY69" fmla="*/ 508536 h 513276"/>
                <a:gd name="connsiteX70" fmla="*/ 219884 w 402650"/>
                <a:gd name="connsiteY70" fmla="*/ 486407 h 513276"/>
                <a:gd name="connsiteX71" fmla="*/ 199420 w 402650"/>
                <a:gd name="connsiteY71" fmla="*/ 455643 h 513276"/>
                <a:gd name="connsiteX72" fmla="*/ 187805 w 402650"/>
                <a:gd name="connsiteY72" fmla="*/ 449166 h 513276"/>
                <a:gd name="connsiteX73" fmla="*/ 178402 w 402650"/>
                <a:gd name="connsiteY73" fmla="*/ 446468 h 513276"/>
                <a:gd name="connsiteX74" fmla="*/ 169000 w 402650"/>
                <a:gd name="connsiteY74" fmla="*/ 426498 h 513276"/>
                <a:gd name="connsiteX75" fmla="*/ 157938 w 402650"/>
                <a:gd name="connsiteY75" fmla="*/ 424339 h 513276"/>
                <a:gd name="connsiteX76" fmla="*/ 149642 w 402650"/>
                <a:gd name="connsiteY76" fmla="*/ 428657 h 513276"/>
                <a:gd name="connsiteX77" fmla="*/ 143558 w 402650"/>
                <a:gd name="connsiteY77" fmla="*/ 435673 h 513276"/>
                <a:gd name="connsiteX78" fmla="*/ 133602 w 402650"/>
                <a:gd name="connsiteY78" fmla="*/ 435133 h 513276"/>
                <a:gd name="connsiteX79" fmla="*/ 129730 w 402650"/>
                <a:gd name="connsiteY79" fmla="*/ 418942 h 513276"/>
                <a:gd name="connsiteX80" fmla="*/ 122540 w 402650"/>
                <a:gd name="connsiteY80" fmla="*/ 421640 h 513276"/>
                <a:gd name="connsiteX81" fmla="*/ 98204 w 402650"/>
                <a:gd name="connsiteY81" fmla="*/ 479931 h 513276"/>
                <a:gd name="connsiteX82" fmla="*/ 107054 w 402650"/>
                <a:gd name="connsiteY82" fmla="*/ 484788 h 513276"/>
                <a:gd name="connsiteX83" fmla="*/ 109266 w 402650"/>
                <a:gd name="connsiteY83" fmla="*/ 490725 h 513276"/>
                <a:gd name="connsiteX84" fmla="*/ 109819 w 402650"/>
                <a:gd name="connsiteY84" fmla="*/ 512854 h 513276"/>
                <a:gd name="connsiteX85" fmla="*/ 90461 w 402650"/>
                <a:gd name="connsiteY85" fmla="*/ 502059 h 513276"/>
                <a:gd name="connsiteX86" fmla="*/ 79952 w 402650"/>
                <a:gd name="connsiteY86" fmla="*/ 488026 h 513276"/>
                <a:gd name="connsiteX87" fmla="*/ 66678 w 402650"/>
                <a:gd name="connsiteY87" fmla="*/ 482629 h 513276"/>
                <a:gd name="connsiteX88" fmla="*/ 57275 w 402650"/>
                <a:gd name="connsiteY88" fmla="*/ 467517 h 513276"/>
                <a:gd name="connsiteX89" fmla="*/ 43448 w 402650"/>
                <a:gd name="connsiteY89" fmla="*/ 465898 h 513276"/>
                <a:gd name="connsiteX90" fmla="*/ 27961 w 402650"/>
                <a:gd name="connsiteY90" fmla="*/ 456183 h 513276"/>
                <a:gd name="connsiteX91" fmla="*/ 14687 w 402650"/>
                <a:gd name="connsiteY91" fmla="*/ 458881 h 513276"/>
                <a:gd name="connsiteX92" fmla="*/ 13028 w 402650"/>
                <a:gd name="connsiteY92" fmla="*/ 444848 h 513276"/>
                <a:gd name="connsiteX93" fmla="*/ 17453 w 402650"/>
                <a:gd name="connsiteY93" fmla="*/ 433514 h 513276"/>
                <a:gd name="connsiteX94" fmla="*/ 28514 w 402650"/>
                <a:gd name="connsiteY94" fmla="*/ 421101 h 513276"/>
                <a:gd name="connsiteX95" fmla="*/ 24643 w 402650"/>
                <a:gd name="connsiteY95" fmla="*/ 398432 h 513276"/>
                <a:gd name="connsiteX96" fmla="*/ 25749 w 402650"/>
                <a:gd name="connsiteY96" fmla="*/ 386019 h 513276"/>
                <a:gd name="connsiteX97" fmla="*/ 36258 w 402650"/>
                <a:gd name="connsiteY97" fmla="*/ 374145 h 513276"/>
                <a:gd name="connsiteX98" fmla="*/ 20771 w 402650"/>
                <a:gd name="connsiteY98" fmla="*/ 355254 h 513276"/>
                <a:gd name="connsiteX99" fmla="*/ 14134 w 402650"/>
                <a:gd name="connsiteY99" fmla="*/ 340142 h 513276"/>
                <a:gd name="connsiteX100" fmla="*/ 10816 w 402650"/>
                <a:gd name="connsiteY100" fmla="*/ 319633 h 513276"/>
                <a:gd name="connsiteX101" fmla="*/ 34045 w 402650"/>
                <a:gd name="connsiteY101" fmla="*/ 310457 h 513276"/>
                <a:gd name="connsiteX102" fmla="*/ 65019 w 402650"/>
                <a:gd name="connsiteY102" fmla="*/ 324490 h 513276"/>
                <a:gd name="connsiteX103" fmla="*/ 67784 w 402650"/>
                <a:gd name="connsiteY103" fmla="*/ 320712 h 513276"/>
                <a:gd name="connsiteX104" fmla="*/ 45660 w 402650"/>
                <a:gd name="connsiteY104" fmla="*/ 303981 h 513276"/>
                <a:gd name="connsiteX105" fmla="*/ 68337 w 402650"/>
                <a:gd name="connsiteY105" fmla="*/ 294266 h 513276"/>
                <a:gd name="connsiteX106" fmla="*/ 57275 w 402650"/>
                <a:gd name="connsiteY106" fmla="*/ 283471 h 513276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34401 w 402651"/>
                <a:gd name="connsiteY78" fmla="*/ 435556 h 513277"/>
                <a:gd name="connsiteX79" fmla="*/ 130529 w 402651"/>
                <a:gd name="connsiteY79" fmla="*/ 419365 h 513277"/>
                <a:gd name="connsiteX80" fmla="*/ 123339 w 402651"/>
                <a:gd name="connsiteY80" fmla="*/ 422063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1615 w 402651"/>
                <a:gd name="connsiteY100" fmla="*/ 320056 h 513277"/>
                <a:gd name="connsiteX101" fmla="*/ 34844 w 402651"/>
                <a:gd name="connsiteY101" fmla="*/ 3108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30529 w 402651"/>
                <a:gd name="connsiteY79" fmla="*/ 419365 h 513277"/>
                <a:gd name="connsiteX80" fmla="*/ 123339 w 402651"/>
                <a:gd name="connsiteY80" fmla="*/ 422063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1615 w 402651"/>
                <a:gd name="connsiteY100" fmla="*/ 320056 h 513277"/>
                <a:gd name="connsiteX101" fmla="*/ 34844 w 402651"/>
                <a:gd name="connsiteY101" fmla="*/ 3108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30529 w 402651"/>
                <a:gd name="connsiteY79" fmla="*/ 419365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1615 w 402651"/>
                <a:gd name="connsiteY100" fmla="*/ 320056 h 513277"/>
                <a:gd name="connsiteX101" fmla="*/ 34844 w 402651"/>
                <a:gd name="connsiteY101" fmla="*/ 3108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1615 w 402651"/>
                <a:gd name="connsiteY100" fmla="*/ 320056 h 513277"/>
                <a:gd name="connsiteX101" fmla="*/ 34844 w 402651"/>
                <a:gd name="connsiteY101" fmla="*/ 3108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1615 w 402651"/>
                <a:gd name="connsiteY100" fmla="*/ 3200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4933 w 402651"/>
                <a:gd name="connsiteY99" fmla="*/ 340565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21570 w 402651"/>
                <a:gd name="connsiteY98" fmla="*/ 355677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37057 w 402651"/>
                <a:gd name="connsiteY97" fmla="*/ 374568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26548 w 402651"/>
                <a:gd name="connsiteY96" fmla="*/ 386442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25442 w 402651"/>
                <a:gd name="connsiteY95" fmla="*/ 398855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29313 w 402651"/>
                <a:gd name="connsiteY94" fmla="*/ 421524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8252 w 402651"/>
                <a:gd name="connsiteY93" fmla="*/ 433937 h 513277"/>
                <a:gd name="connsiteX94" fmla="*/ 166262 w 402651"/>
                <a:gd name="connsiteY94" fmla="*/ 378348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3827 w 402651"/>
                <a:gd name="connsiteY92" fmla="*/ 445271 h 513277"/>
                <a:gd name="connsiteX93" fmla="*/ 178026 w 402651"/>
                <a:gd name="connsiteY93" fmla="*/ 385621 h 513277"/>
                <a:gd name="connsiteX94" fmla="*/ 166262 w 402651"/>
                <a:gd name="connsiteY94" fmla="*/ 378348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5486 w 402651"/>
                <a:gd name="connsiteY91" fmla="*/ 459304 h 513277"/>
                <a:gd name="connsiteX92" fmla="*/ 181901 w 402651"/>
                <a:gd name="connsiteY92" fmla="*/ 391815 h 513277"/>
                <a:gd name="connsiteX93" fmla="*/ 178026 w 402651"/>
                <a:gd name="connsiteY93" fmla="*/ 385621 h 513277"/>
                <a:gd name="connsiteX94" fmla="*/ 166262 w 402651"/>
                <a:gd name="connsiteY94" fmla="*/ 378348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28760 w 402651"/>
                <a:gd name="connsiteY90" fmla="*/ 456606 h 513277"/>
                <a:gd name="connsiteX91" fmla="*/ 166960 w 402651"/>
                <a:gd name="connsiteY91" fmla="*/ 394540 h 513277"/>
                <a:gd name="connsiteX92" fmla="*/ 181901 w 402651"/>
                <a:gd name="connsiteY92" fmla="*/ 391815 h 513277"/>
                <a:gd name="connsiteX93" fmla="*/ 178026 w 402651"/>
                <a:gd name="connsiteY93" fmla="*/ 385621 h 513277"/>
                <a:gd name="connsiteX94" fmla="*/ 166262 w 402651"/>
                <a:gd name="connsiteY94" fmla="*/ 378348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44247 w 402651"/>
                <a:gd name="connsiteY89" fmla="*/ 466321 h 513277"/>
                <a:gd name="connsiteX90" fmla="*/ 158447 w 402651"/>
                <a:gd name="connsiteY90" fmla="*/ 399038 h 513277"/>
                <a:gd name="connsiteX91" fmla="*/ 166960 w 402651"/>
                <a:gd name="connsiteY91" fmla="*/ 394540 h 513277"/>
                <a:gd name="connsiteX92" fmla="*/ 181901 w 402651"/>
                <a:gd name="connsiteY92" fmla="*/ 391815 h 513277"/>
                <a:gd name="connsiteX93" fmla="*/ 178026 w 402651"/>
                <a:gd name="connsiteY93" fmla="*/ 385621 h 513277"/>
                <a:gd name="connsiteX94" fmla="*/ 166262 w 402651"/>
                <a:gd name="connsiteY94" fmla="*/ 378348 h 513277"/>
                <a:gd name="connsiteX95" fmla="*/ 158241 w 402651"/>
                <a:gd name="connsiteY95" fmla="*/ 381379 h 513277"/>
                <a:gd name="connsiteX96" fmla="*/ 142748 w 402651"/>
                <a:gd name="connsiteY96" fmla="*/ 368966 h 513277"/>
                <a:gd name="connsiteX97" fmla="*/ 136657 w 402651"/>
                <a:gd name="connsiteY97" fmla="*/ 366344 h 513277"/>
                <a:gd name="connsiteX98" fmla="*/ 121170 w 402651"/>
                <a:gd name="connsiteY98" fmla="*/ 359789 h 513277"/>
                <a:gd name="connsiteX99" fmla="*/ 111420 w 402651"/>
                <a:gd name="connsiteY99" fmla="*/ 360097 h 513277"/>
                <a:gd name="connsiteX100" fmla="*/ 101877 w 402651"/>
                <a:gd name="connsiteY100" fmla="*/ 345756 h 513277"/>
                <a:gd name="connsiteX101" fmla="*/ 81531 w 402651"/>
                <a:gd name="connsiteY101" fmla="*/ 336580 h 513277"/>
                <a:gd name="connsiteX102" fmla="*/ 65818 w 402651"/>
                <a:gd name="connsiteY102" fmla="*/ 324913 h 513277"/>
                <a:gd name="connsiteX103" fmla="*/ 68583 w 402651"/>
                <a:gd name="connsiteY103" fmla="*/ 321135 h 513277"/>
                <a:gd name="connsiteX104" fmla="*/ 46459 w 402651"/>
                <a:gd name="connsiteY104" fmla="*/ 304404 h 513277"/>
                <a:gd name="connsiteX105" fmla="*/ 69136 w 402651"/>
                <a:gd name="connsiteY105" fmla="*/ 294689 h 513277"/>
                <a:gd name="connsiteX106" fmla="*/ 58074 w 402651"/>
                <a:gd name="connsiteY106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58074 w 402651"/>
                <a:gd name="connsiteY88" fmla="*/ 467940 h 513277"/>
                <a:gd name="connsiteX89" fmla="*/ 158447 w 402651"/>
                <a:gd name="connsiteY89" fmla="*/ 399038 h 513277"/>
                <a:gd name="connsiteX90" fmla="*/ 166960 w 402651"/>
                <a:gd name="connsiteY90" fmla="*/ 394540 h 513277"/>
                <a:gd name="connsiteX91" fmla="*/ 181901 w 402651"/>
                <a:gd name="connsiteY91" fmla="*/ 391815 h 513277"/>
                <a:gd name="connsiteX92" fmla="*/ 178026 w 402651"/>
                <a:gd name="connsiteY92" fmla="*/ 385621 h 513277"/>
                <a:gd name="connsiteX93" fmla="*/ 166262 w 402651"/>
                <a:gd name="connsiteY93" fmla="*/ 378348 h 513277"/>
                <a:gd name="connsiteX94" fmla="*/ 158241 w 402651"/>
                <a:gd name="connsiteY94" fmla="*/ 381379 h 513277"/>
                <a:gd name="connsiteX95" fmla="*/ 142748 w 402651"/>
                <a:gd name="connsiteY95" fmla="*/ 368966 h 513277"/>
                <a:gd name="connsiteX96" fmla="*/ 136657 w 402651"/>
                <a:gd name="connsiteY96" fmla="*/ 366344 h 513277"/>
                <a:gd name="connsiteX97" fmla="*/ 121170 w 402651"/>
                <a:gd name="connsiteY97" fmla="*/ 359789 h 513277"/>
                <a:gd name="connsiteX98" fmla="*/ 111420 w 402651"/>
                <a:gd name="connsiteY98" fmla="*/ 360097 h 513277"/>
                <a:gd name="connsiteX99" fmla="*/ 101877 w 402651"/>
                <a:gd name="connsiteY99" fmla="*/ 345756 h 513277"/>
                <a:gd name="connsiteX100" fmla="*/ 81531 w 402651"/>
                <a:gd name="connsiteY100" fmla="*/ 336580 h 513277"/>
                <a:gd name="connsiteX101" fmla="*/ 65818 w 402651"/>
                <a:gd name="connsiteY101" fmla="*/ 324913 h 513277"/>
                <a:gd name="connsiteX102" fmla="*/ 68583 w 402651"/>
                <a:gd name="connsiteY102" fmla="*/ 321135 h 513277"/>
                <a:gd name="connsiteX103" fmla="*/ 46459 w 402651"/>
                <a:gd name="connsiteY103" fmla="*/ 304404 h 513277"/>
                <a:gd name="connsiteX104" fmla="*/ 69136 w 402651"/>
                <a:gd name="connsiteY104" fmla="*/ 294689 h 513277"/>
                <a:gd name="connsiteX105" fmla="*/ 58074 w 402651"/>
                <a:gd name="connsiteY105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67477 w 402651"/>
                <a:gd name="connsiteY87" fmla="*/ 483052 h 513277"/>
                <a:gd name="connsiteX88" fmla="*/ 158447 w 402651"/>
                <a:gd name="connsiteY88" fmla="*/ 399038 h 513277"/>
                <a:gd name="connsiteX89" fmla="*/ 166960 w 402651"/>
                <a:gd name="connsiteY89" fmla="*/ 394540 h 513277"/>
                <a:gd name="connsiteX90" fmla="*/ 181901 w 402651"/>
                <a:gd name="connsiteY90" fmla="*/ 391815 h 513277"/>
                <a:gd name="connsiteX91" fmla="*/ 178026 w 402651"/>
                <a:gd name="connsiteY91" fmla="*/ 385621 h 513277"/>
                <a:gd name="connsiteX92" fmla="*/ 166262 w 402651"/>
                <a:gd name="connsiteY92" fmla="*/ 378348 h 513277"/>
                <a:gd name="connsiteX93" fmla="*/ 158241 w 402651"/>
                <a:gd name="connsiteY93" fmla="*/ 381379 h 513277"/>
                <a:gd name="connsiteX94" fmla="*/ 142748 w 402651"/>
                <a:gd name="connsiteY94" fmla="*/ 368966 h 513277"/>
                <a:gd name="connsiteX95" fmla="*/ 136657 w 402651"/>
                <a:gd name="connsiteY95" fmla="*/ 366344 h 513277"/>
                <a:gd name="connsiteX96" fmla="*/ 121170 w 402651"/>
                <a:gd name="connsiteY96" fmla="*/ 359789 h 513277"/>
                <a:gd name="connsiteX97" fmla="*/ 111420 w 402651"/>
                <a:gd name="connsiteY97" fmla="*/ 360097 h 513277"/>
                <a:gd name="connsiteX98" fmla="*/ 101877 w 402651"/>
                <a:gd name="connsiteY98" fmla="*/ 345756 h 513277"/>
                <a:gd name="connsiteX99" fmla="*/ 81531 w 402651"/>
                <a:gd name="connsiteY99" fmla="*/ 336580 h 513277"/>
                <a:gd name="connsiteX100" fmla="*/ 65818 w 402651"/>
                <a:gd name="connsiteY100" fmla="*/ 324913 h 513277"/>
                <a:gd name="connsiteX101" fmla="*/ 68583 w 402651"/>
                <a:gd name="connsiteY101" fmla="*/ 321135 h 513277"/>
                <a:gd name="connsiteX102" fmla="*/ 46459 w 402651"/>
                <a:gd name="connsiteY102" fmla="*/ 304404 h 513277"/>
                <a:gd name="connsiteX103" fmla="*/ 69136 w 402651"/>
                <a:gd name="connsiteY103" fmla="*/ 294689 h 513277"/>
                <a:gd name="connsiteX104" fmla="*/ 58074 w 402651"/>
                <a:gd name="connsiteY104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80751 w 402651"/>
                <a:gd name="connsiteY86" fmla="*/ 488449 h 513277"/>
                <a:gd name="connsiteX87" fmla="*/ 158447 w 402651"/>
                <a:gd name="connsiteY87" fmla="*/ 399038 h 513277"/>
                <a:gd name="connsiteX88" fmla="*/ 166960 w 402651"/>
                <a:gd name="connsiteY88" fmla="*/ 394540 h 513277"/>
                <a:gd name="connsiteX89" fmla="*/ 181901 w 402651"/>
                <a:gd name="connsiteY89" fmla="*/ 391815 h 513277"/>
                <a:gd name="connsiteX90" fmla="*/ 178026 w 402651"/>
                <a:gd name="connsiteY90" fmla="*/ 385621 h 513277"/>
                <a:gd name="connsiteX91" fmla="*/ 166262 w 402651"/>
                <a:gd name="connsiteY91" fmla="*/ 378348 h 513277"/>
                <a:gd name="connsiteX92" fmla="*/ 158241 w 402651"/>
                <a:gd name="connsiteY92" fmla="*/ 381379 h 513277"/>
                <a:gd name="connsiteX93" fmla="*/ 142748 w 402651"/>
                <a:gd name="connsiteY93" fmla="*/ 368966 h 513277"/>
                <a:gd name="connsiteX94" fmla="*/ 136657 w 402651"/>
                <a:gd name="connsiteY94" fmla="*/ 366344 h 513277"/>
                <a:gd name="connsiteX95" fmla="*/ 121170 w 402651"/>
                <a:gd name="connsiteY95" fmla="*/ 359789 h 513277"/>
                <a:gd name="connsiteX96" fmla="*/ 111420 w 402651"/>
                <a:gd name="connsiteY96" fmla="*/ 360097 h 513277"/>
                <a:gd name="connsiteX97" fmla="*/ 101877 w 402651"/>
                <a:gd name="connsiteY97" fmla="*/ 345756 h 513277"/>
                <a:gd name="connsiteX98" fmla="*/ 81531 w 402651"/>
                <a:gd name="connsiteY98" fmla="*/ 336580 h 513277"/>
                <a:gd name="connsiteX99" fmla="*/ 65818 w 402651"/>
                <a:gd name="connsiteY99" fmla="*/ 324913 h 513277"/>
                <a:gd name="connsiteX100" fmla="*/ 68583 w 402651"/>
                <a:gd name="connsiteY100" fmla="*/ 321135 h 513277"/>
                <a:gd name="connsiteX101" fmla="*/ 46459 w 402651"/>
                <a:gd name="connsiteY101" fmla="*/ 304404 h 513277"/>
                <a:gd name="connsiteX102" fmla="*/ 69136 w 402651"/>
                <a:gd name="connsiteY102" fmla="*/ 294689 h 513277"/>
                <a:gd name="connsiteX103" fmla="*/ 58074 w 402651"/>
                <a:gd name="connsiteY103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91260 w 402651"/>
                <a:gd name="connsiteY85" fmla="*/ 502482 h 513277"/>
                <a:gd name="connsiteX86" fmla="*/ 158447 w 402651"/>
                <a:gd name="connsiteY86" fmla="*/ 399038 h 513277"/>
                <a:gd name="connsiteX87" fmla="*/ 166960 w 402651"/>
                <a:gd name="connsiteY87" fmla="*/ 394540 h 513277"/>
                <a:gd name="connsiteX88" fmla="*/ 181901 w 402651"/>
                <a:gd name="connsiteY88" fmla="*/ 391815 h 513277"/>
                <a:gd name="connsiteX89" fmla="*/ 178026 w 402651"/>
                <a:gd name="connsiteY89" fmla="*/ 385621 h 513277"/>
                <a:gd name="connsiteX90" fmla="*/ 166262 w 402651"/>
                <a:gd name="connsiteY90" fmla="*/ 378348 h 513277"/>
                <a:gd name="connsiteX91" fmla="*/ 158241 w 402651"/>
                <a:gd name="connsiteY91" fmla="*/ 381379 h 513277"/>
                <a:gd name="connsiteX92" fmla="*/ 142748 w 402651"/>
                <a:gd name="connsiteY92" fmla="*/ 368966 h 513277"/>
                <a:gd name="connsiteX93" fmla="*/ 136657 w 402651"/>
                <a:gd name="connsiteY93" fmla="*/ 366344 h 513277"/>
                <a:gd name="connsiteX94" fmla="*/ 121170 w 402651"/>
                <a:gd name="connsiteY94" fmla="*/ 359789 h 513277"/>
                <a:gd name="connsiteX95" fmla="*/ 111420 w 402651"/>
                <a:gd name="connsiteY95" fmla="*/ 360097 h 513277"/>
                <a:gd name="connsiteX96" fmla="*/ 101877 w 402651"/>
                <a:gd name="connsiteY96" fmla="*/ 345756 h 513277"/>
                <a:gd name="connsiteX97" fmla="*/ 81531 w 402651"/>
                <a:gd name="connsiteY97" fmla="*/ 336580 h 513277"/>
                <a:gd name="connsiteX98" fmla="*/ 65818 w 402651"/>
                <a:gd name="connsiteY98" fmla="*/ 324913 h 513277"/>
                <a:gd name="connsiteX99" fmla="*/ 68583 w 402651"/>
                <a:gd name="connsiteY99" fmla="*/ 321135 h 513277"/>
                <a:gd name="connsiteX100" fmla="*/ 46459 w 402651"/>
                <a:gd name="connsiteY100" fmla="*/ 304404 h 513277"/>
                <a:gd name="connsiteX101" fmla="*/ 69136 w 402651"/>
                <a:gd name="connsiteY101" fmla="*/ 294689 h 513277"/>
                <a:gd name="connsiteX102" fmla="*/ 58074 w 402651"/>
                <a:gd name="connsiteY102" fmla="*/ 283894 h 513277"/>
                <a:gd name="connsiteX0" fmla="*/ 58074 w 402651"/>
                <a:gd name="connsiteY0" fmla="*/ 283894 h 513277"/>
                <a:gd name="connsiteX1" fmla="*/ 51990 w 402651"/>
                <a:gd name="connsiteY1" fmla="*/ 261226 h 513277"/>
                <a:gd name="connsiteX2" fmla="*/ 56415 w 402651"/>
                <a:gd name="connsiteY2" fmla="*/ 258527 h 513277"/>
                <a:gd name="connsiteX3" fmla="*/ 68030 w 402651"/>
                <a:gd name="connsiteY3" fmla="*/ 264464 h 513277"/>
                <a:gd name="connsiteX4" fmla="*/ 71902 w 402651"/>
                <a:gd name="connsiteY4" fmla="*/ 265544 h 513277"/>
                <a:gd name="connsiteX5" fmla="*/ 81857 w 402651"/>
                <a:gd name="connsiteY5" fmla="*/ 251511 h 513277"/>
                <a:gd name="connsiteX6" fmla="*/ 79645 w 402651"/>
                <a:gd name="connsiteY6" fmla="*/ 241256 h 513277"/>
                <a:gd name="connsiteX7" fmla="*/ 44800 w 402651"/>
                <a:gd name="connsiteY7" fmla="*/ 218048 h 513277"/>
                <a:gd name="connsiteX8" fmla="*/ 41481 w 402651"/>
                <a:gd name="connsiteY8" fmla="*/ 212111 h 513277"/>
                <a:gd name="connsiteX9" fmla="*/ 51990 w 402651"/>
                <a:gd name="connsiteY9" fmla="*/ 155440 h 513277"/>
                <a:gd name="connsiteX10" fmla="*/ 38716 w 402651"/>
                <a:gd name="connsiteY10" fmla="*/ 140328 h 513277"/>
                <a:gd name="connsiteX11" fmla="*/ 44800 w 402651"/>
                <a:gd name="connsiteY11" fmla="*/ 113342 h 513277"/>
                <a:gd name="connsiteX12" fmla="*/ 25442 w 402651"/>
                <a:gd name="connsiteY12" fmla="*/ 106325 h 513277"/>
                <a:gd name="connsiteX13" fmla="*/ 13827 w 402651"/>
                <a:gd name="connsiteY13" fmla="*/ 86355 h 513277"/>
                <a:gd name="connsiteX14" fmla="*/ 2212 w 402651"/>
                <a:gd name="connsiteY14" fmla="*/ 60449 h 513277"/>
                <a:gd name="connsiteX15" fmla="*/ 0 w 402651"/>
                <a:gd name="connsiteY15" fmla="*/ 48575 h 513277"/>
                <a:gd name="connsiteX16" fmla="*/ 14933 w 402651"/>
                <a:gd name="connsiteY16" fmla="*/ 31304 h 513277"/>
                <a:gd name="connsiteX17" fmla="*/ 29313 w 402651"/>
                <a:gd name="connsiteY17" fmla="*/ 29685 h 513277"/>
                <a:gd name="connsiteX18" fmla="*/ 57521 w 402651"/>
                <a:gd name="connsiteY18" fmla="*/ 2698 h 513277"/>
                <a:gd name="connsiteX19" fmla="*/ 74667 w 402651"/>
                <a:gd name="connsiteY19" fmla="*/ 6476 h 513277"/>
                <a:gd name="connsiteX20" fmla="*/ 95131 w 402651"/>
                <a:gd name="connsiteY20" fmla="*/ 0 h 513277"/>
                <a:gd name="connsiteX21" fmla="*/ 113937 w 402651"/>
                <a:gd name="connsiteY21" fmla="*/ 2698 h 513277"/>
                <a:gd name="connsiteX22" fmla="*/ 120574 w 402651"/>
                <a:gd name="connsiteY22" fmla="*/ 17811 h 513277"/>
                <a:gd name="connsiteX23" fmla="*/ 131082 w 402651"/>
                <a:gd name="connsiteY23" fmla="*/ 25367 h 513277"/>
                <a:gd name="connsiteX24" fmla="*/ 152653 w 402651"/>
                <a:gd name="connsiteY24" fmla="*/ 34002 h 513277"/>
                <a:gd name="connsiteX25" fmla="*/ 156525 w 402651"/>
                <a:gd name="connsiteY25" fmla="*/ 38860 h 513277"/>
                <a:gd name="connsiteX26" fmla="*/ 162609 w 402651"/>
                <a:gd name="connsiteY26" fmla="*/ 39939 h 513277"/>
                <a:gd name="connsiteX27" fmla="*/ 163162 w 402651"/>
                <a:gd name="connsiteY27" fmla="*/ 56131 h 513277"/>
                <a:gd name="connsiteX28" fmla="*/ 167033 w 402651"/>
                <a:gd name="connsiteY28" fmla="*/ 67465 h 513277"/>
                <a:gd name="connsiteX29" fmla="*/ 180308 w 402651"/>
                <a:gd name="connsiteY29" fmla="*/ 77180 h 513277"/>
                <a:gd name="connsiteX30" fmla="*/ 200772 w 402651"/>
                <a:gd name="connsiteY30" fmla="*/ 84736 h 513277"/>
                <a:gd name="connsiteX31" fmla="*/ 228980 w 402651"/>
                <a:gd name="connsiteY31" fmla="*/ 102547 h 513277"/>
                <a:gd name="connsiteX32" fmla="*/ 235064 w 402651"/>
                <a:gd name="connsiteY32" fmla="*/ 141947 h 513277"/>
                <a:gd name="connsiteX33" fmla="*/ 253316 w 402651"/>
                <a:gd name="connsiteY33" fmla="*/ 149503 h 513277"/>
                <a:gd name="connsiteX34" fmla="*/ 283736 w 402651"/>
                <a:gd name="connsiteY34" fmla="*/ 154900 h 513277"/>
                <a:gd name="connsiteX35" fmla="*/ 293138 w 402651"/>
                <a:gd name="connsiteY35" fmla="*/ 162996 h 513277"/>
                <a:gd name="connsiteX36" fmla="*/ 323005 w 402651"/>
                <a:gd name="connsiteY36" fmla="*/ 135470 h 513277"/>
                <a:gd name="connsiteX37" fmla="*/ 335173 w 402651"/>
                <a:gd name="connsiteY37" fmla="*/ 139248 h 513277"/>
                <a:gd name="connsiteX38" fmla="*/ 337939 w 402651"/>
                <a:gd name="connsiteY38" fmla="*/ 148963 h 513277"/>
                <a:gd name="connsiteX39" fmla="*/ 329642 w 402651"/>
                <a:gd name="connsiteY39" fmla="*/ 153281 h 513277"/>
                <a:gd name="connsiteX40" fmla="*/ 327430 w 402651"/>
                <a:gd name="connsiteY40" fmla="*/ 164076 h 513277"/>
                <a:gd name="connsiteX41" fmla="*/ 342364 w 402651"/>
                <a:gd name="connsiteY41" fmla="*/ 180807 h 513277"/>
                <a:gd name="connsiteX42" fmla="*/ 346235 w 402651"/>
                <a:gd name="connsiteY42" fmla="*/ 191062 h 513277"/>
                <a:gd name="connsiteX43" fmla="*/ 346235 w 402651"/>
                <a:gd name="connsiteY43" fmla="*/ 207254 h 513277"/>
                <a:gd name="connsiteX44" fmla="*/ 334067 w 402651"/>
                <a:gd name="connsiteY44" fmla="*/ 218588 h 513277"/>
                <a:gd name="connsiteX45" fmla="*/ 332961 w 402651"/>
                <a:gd name="connsiteY45" fmla="*/ 245034 h 513277"/>
                <a:gd name="connsiteX46" fmla="*/ 346788 w 402651"/>
                <a:gd name="connsiteY46" fmla="*/ 254749 h 513277"/>
                <a:gd name="connsiteX47" fmla="*/ 356744 w 402651"/>
                <a:gd name="connsiteY47" fmla="*/ 279576 h 513277"/>
                <a:gd name="connsiteX48" fmla="*/ 378315 w 402651"/>
                <a:gd name="connsiteY48" fmla="*/ 283894 h 513277"/>
                <a:gd name="connsiteX49" fmla="*/ 384399 w 402651"/>
                <a:gd name="connsiteY49" fmla="*/ 294689 h 513277"/>
                <a:gd name="connsiteX50" fmla="*/ 402651 w 402651"/>
                <a:gd name="connsiteY50" fmla="*/ 302785 h 513277"/>
                <a:gd name="connsiteX51" fmla="*/ 377761 w 402651"/>
                <a:gd name="connsiteY51" fmla="*/ 343264 h 513277"/>
                <a:gd name="connsiteX52" fmla="*/ 368359 w 402651"/>
                <a:gd name="connsiteY52" fmla="*/ 344883 h 513277"/>
                <a:gd name="connsiteX53" fmla="*/ 361722 w 402651"/>
                <a:gd name="connsiteY53" fmla="*/ 351899 h 513277"/>
                <a:gd name="connsiteX54" fmla="*/ 365593 w 402651"/>
                <a:gd name="connsiteY54" fmla="*/ 363234 h 513277"/>
                <a:gd name="connsiteX55" fmla="*/ 365040 w 402651"/>
                <a:gd name="connsiteY55" fmla="*/ 384283 h 513277"/>
                <a:gd name="connsiteX56" fmla="*/ 377761 w 402651"/>
                <a:gd name="connsiteY56" fmla="*/ 397236 h 513277"/>
                <a:gd name="connsiteX57" fmla="*/ 369465 w 402651"/>
                <a:gd name="connsiteY57" fmla="*/ 413968 h 513277"/>
                <a:gd name="connsiteX58" fmla="*/ 367253 w 402651"/>
                <a:gd name="connsiteY58" fmla="*/ 415587 h 513277"/>
                <a:gd name="connsiteX59" fmla="*/ 359509 w 402651"/>
                <a:gd name="connsiteY59" fmla="*/ 413968 h 513277"/>
                <a:gd name="connsiteX60" fmla="*/ 338492 w 402651"/>
                <a:gd name="connsiteY60" fmla="*/ 424222 h 513277"/>
                <a:gd name="connsiteX61" fmla="*/ 311390 w 402651"/>
                <a:gd name="connsiteY61" fmla="*/ 420984 h 513277"/>
                <a:gd name="connsiteX62" fmla="*/ 299222 w 402651"/>
                <a:gd name="connsiteY62" fmla="*/ 426381 h 513277"/>
                <a:gd name="connsiteX63" fmla="*/ 298116 w 402651"/>
                <a:gd name="connsiteY63" fmla="*/ 443113 h 513277"/>
                <a:gd name="connsiteX64" fmla="*/ 269909 w 402651"/>
                <a:gd name="connsiteY64" fmla="*/ 460923 h 513277"/>
                <a:gd name="connsiteX65" fmla="*/ 262718 w 402651"/>
                <a:gd name="connsiteY65" fmla="*/ 463622 h 513277"/>
                <a:gd name="connsiteX66" fmla="*/ 248338 w 402651"/>
                <a:gd name="connsiteY66" fmla="*/ 500323 h 513277"/>
                <a:gd name="connsiteX67" fmla="*/ 237829 w 402651"/>
                <a:gd name="connsiteY67" fmla="*/ 505181 h 513277"/>
                <a:gd name="connsiteX68" fmla="*/ 223449 w 402651"/>
                <a:gd name="connsiteY68" fmla="*/ 509499 h 513277"/>
                <a:gd name="connsiteX69" fmla="*/ 214599 w 402651"/>
                <a:gd name="connsiteY69" fmla="*/ 508959 h 513277"/>
                <a:gd name="connsiteX70" fmla="*/ 220683 w 402651"/>
                <a:gd name="connsiteY70" fmla="*/ 486830 h 513277"/>
                <a:gd name="connsiteX71" fmla="*/ 200219 w 402651"/>
                <a:gd name="connsiteY71" fmla="*/ 456066 h 513277"/>
                <a:gd name="connsiteX72" fmla="*/ 188604 w 402651"/>
                <a:gd name="connsiteY72" fmla="*/ 449589 h 513277"/>
                <a:gd name="connsiteX73" fmla="*/ 179201 w 402651"/>
                <a:gd name="connsiteY73" fmla="*/ 446891 h 513277"/>
                <a:gd name="connsiteX74" fmla="*/ 169799 w 402651"/>
                <a:gd name="connsiteY74" fmla="*/ 426921 h 513277"/>
                <a:gd name="connsiteX75" fmla="*/ 158737 w 402651"/>
                <a:gd name="connsiteY75" fmla="*/ 424762 h 513277"/>
                <a:gd name="connsiteX76" fmla="*/ 150441 w 402651"/>
                <a:gd name="connsiteY76" fmla="*/ 429080 h 513277"/>
                <a:gd name="connsiteX77" fmla="*/ 153451 w 402651"/>
                <a:gd name="connsiteY77" fmla="*/ 419362 h 513277"/>
                <a:gd name="connsiteX78" fmla="*/ 161376 w 402651"/>
                <a:gd name="connsiteY78" fmla="*/ 413968 h 513277"/>
                <a:gd name="connsiteX79" fmla="*/ 152316 w 402651"/>
                <a:gd name="connsiteY79" fmla="*/ 401889 h 513277"/>
                <a:gd name="connsiteX80" fmla="*/ 93252 w 402651"/>
                <a:gd name="connsiteY80" fmla="*/ 423091 h 513277"/>
                <a:gd name="connsiteX81" fmla="*/ 99003 w 402651"/>
                <a:gd name="connsiteY81" fmla="*/ 480354 h 513277"/>
                <a:gd name="connsiteX82" fmla="*/ 107853 w 402651"/>
                <a:gd name="connsiteY82" fmla="*/ 485211 h 513277"/>
                <a:gd name="connsiteX83" fmla="*/ 110065 w 402651"/>
                <a:gd name="connsiteY83" fmla="*/ 491148 h 513277"/>
                <a:gd name="connsiteX84" fmla="*/ 110618 w 402651"/>
                <a:gd name="connsiteY84" fmla="*/ 513277 h 513277"/>
                <a:gd name="connsiteX85" fmla="*/ 158447 w 402651"/>
                <a:gd name="connsiteY85" fmla="*/ 399038 h 513277"/>
                <a:gd name="connsiteX86" fmla="*/ 166960 w 402651"/>
                <a:gd name="connsiteY86" fmla="*/ 394540 h 513277"/>
                <a:gd name="connsiteX87" fmla="*/ 181901 w 402651"/>
                <a:gd name="connsiteY87" fmla="*/ 391815 h 513277"/>
                <a:gd name="connsiteX88" fmla="*/ 178026 w 402651"/>
                <a:gd name="connsiteY88" fmla="*/ 385621 h 513277"/>
                <a:gd name="connsiteX89" fmla="*/ 166262 w 402651"/>
                <a:gd name="connsiteY89" fmla="*/ 378348 h 513277"/>
                <a:gd name="connsiteX90" fmla="*/ 158241 w 402651"/>
                <a:gd name="connsiteY90" fmla="*/ 381379 h 513277"/>
                <a:gd name="connsiteX91" fmla="*/ 142748 w 402651"/>
                <a:gd name="connsiteY91" fmla="*/ 368966 h 513277"/>
                <a:gd name="connsiteX92" fmla="*/ 136657 w 402651"/>
                <a:gd name="connsiteY92" fmla="*/ 366344 h 513277"/>
                <a:gd name="connsiteX93" fmla="*/ 121170 w 402651"/>
                <a:gd name="connsiteY93" fmla="*/ 359789 h 513277"/>
                <a:gd name="connsiteX94" fmla="*/ 111420 w 402651"/>
                <a:gd name="connsiteY94" fmla="*/ 360097 h 513277"/>
                <a:gd name="connsiteX95" fmla="*/ 101877 w 402651"/>
                <a:gd name="connsiteY95" fmla="*/ 345756 h 513277"/>
                <a:gd name="connsiteX96" fmla="*/ 81531 w 402651"/>
                <a:gd name="connsiteY96" fmla="*/ 336580 h 513277"/>
                <a:gd name="connsiteX97" fmla="*/ 65818 w 402651"/>
                <a:gd name="connsiteY97" fmla="*/ 324913 h 513277"/>
                <a:gd name="connsiteX98" fmla="*/ 68583 w 402651"/>
                <a:gd name="connsiteY98" fmla="*/ 321135 h 513277"/>
                <a:gd name="connsiteX99" fmla="*/ 46459 w 402651"/>
                <a:gd name="connsiteY99" fmla="*/ 304404 h 513277"/>
                <a:gd name="connsiteX100" fmla="*/ 69136 w 402651"/>
                <a:gd name="connsiteY100" fmla="*/ 294689 h 513277"/>
                <a:gd name="connsiteX101" fmla="*/ 58074 w 402651"/>
                <a:gd name="connsiteY101" fmla="*/ 283894 h 513277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8116 w 402651"/>
                <a:gd name="connsiteY63" fmla="*/ 44311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93252 w 402651"/>
                <a:gd name="connsiteY80" fmla="*/ 423091 h 509499"/>
                <a:gd name="connsiteX81" fmla="*/ 99003 w 402651"/>
                <a:gd name="connsiteY81" fmla="*/ 480354 h 509499"/>
                <a:gd name="connsiteX82" fmla="*/ 107853 w 402651"/>
                <a:gd name="connsiteY82" fmla="*/ 485211 h 509499"/>
                <a:gd name="connsiteX83" fmla="*/ 110065 w 402651"/>
                <a:gd name="connsiteY83" fmla="*/ 491148 h 509499"/>
                <a:gd name="connsiteX84" fmla="*/ 158447 w 402651"/>
                <a:gd name="connsiteY84" fmla="*/ 399038 h 509499"/>
                <a:gd name="connsiteX85" fmla="*/ 166960 w 402651"/>
                <a:gd name="connsiteY85" fmla="*/ 394540 h 509499"/>
                <a:gd name="connsiteX86" fmla="*/ 181901 w 402651"/>
                <a:gd name="connsiteY86" fmla="*/ 391815 h 509499"/>
                <a:gd name="connsiteX87" fmla="*/ 178026 w 402651"/>
                <a:gd name="connsiteY87" fmla="*/ 385621 h 509499"/>
                <a:gd name="connsiteX88" fmla="*/ 166262 w 402651"/>
                <a:gd name="connsiteY88" fmla="*/ 378348 h 509499"/>
                <a:gd name="connsiteX89" fmla="*/ 158241 w 402651"/>
                <a:gd name="connsiteY89" fmla="*/ 381379 h 509499"/>
                <a:gd name="connsiteX90" fmla="*/ 142748 w 402651"/>
                <a:gd name="connsiteY90" fmla="*/ 368966 h 509499"/>
                <a:gd name="connsiteX91" fmla="*/ 136657 w 402651"/>
                <a:gd name="connsiteY91" fmla="*/ 366344 h 509499"/>
                <a:gd name="connsiteX92" fmla="*/ 121170 w 402651"/>
                <a:gd name="connsiteY92" fmla="*/ 359789 h 509499"/>
                <a:gd name="connsiteX93" fmla="*/ 111420 w 402651"/>
                <a:gd name="connsiteY93" fmla="*/ 360097 h 509499"/>
                <a:gd name="connsiteX94" fmla="*/ 101877 w 402651"/>
                <a:gd name="connsiteY94" fmla="*/ 345756 h 509499"/>
                <a:gd name="connsiteX95" fmla="*/ 81531 w 402651"/>
                <a:gd name="connsiteY95" fmla="*/ 336580 h 509499"/>
                <a:gd name="connsiteX96" fmla="*/ 65818 w 402651"/>
                <a:gd name="connsiteY96" fmla="*/ 324913 h 509499"/>
                <a:gd name="connsiteX97" fmla="*/ 68583 w 402651"/>
                <a:gd name="connsiteY97" fmla="*/ 321135 h 509499"/>
                <a:gd name="connsiteX98" fmla="*/ 46459 w 402651"/>
                <a:gd name="connsiteY98" fmla="*/ 304404 h 509499"/>
                <a:gd name="connsiteX99" fmla="*/ 69136 w 402651"/>
                <a:gd name="connsiteY99" fmla="*/ 294689 h 509499"/>
                <a:gd name="connsiteX100" fmla="*/ 58074 w 402651"/>
                <a:gd name="connsiteY100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8116 w 402651"/>
                <a:gd name="connsiteY63" fmla="*/ 44311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93252 w 402651"/>
                <a:gd name="connsiteY80" fmla="*/ 423091 h 509499"/>
                <a:gd name="connsiteX81" fmla="*/ 99003 w 402651"/>
                <a:gd name="connsiteY81" fmla="*/ 480354 h 509499"/>
                <a:gd name="connsiteX82" fmla="*/ 107853 w 402651"/>
                <a:gd name="connsiteY82" fmla="*/ 485211 h 509499"/>
                <a:gd name="connsiteX83" fmla="*/ 158447 w 402651"/>
                <a:gd name="connsiteY83" fmla="*/ 399038 h 509499"/>
                <a:gd name="connsiteX84" fmla="*/ 166960 w 402651"/>
                <a:gd name="connsiteY84" fmla="*/ 394540 h 509499"/>
                <a:gd name="connsiteX85" fmla="*/ 181901 w 402651"/>
                <a:gd name="connsiteY85" fmla="*/ 391815 h 509499"/>
                <a:gd name="connsiteX86" fmla="*/ 178026 w 402651"/>
                <a:gd name="connsiteY86" fmla="*/ 385621 h 509499"/>
                <a:gd name="connsiteX87" fmla="*/ 166262 w 402651"/>
                <a:gd name="connsiteY87" fmla="*/ 378348 h 509499"/>
                <a:gd name="connsiteX88" fmla="*/ 158241 w 402651"/>
                <a:gd name="connsiteY88" fmla="*/ 381379 h 509499"/>
                <a:gd name="connsiteX89" fmla="*/ 142748 w 402651"/>
                <a:gd name="connsiteY89" fmla="*/ 368966 h 509499"/>
                <a:gd name="connsiteX90" fmla="*/ 136657 w 402651"/>
                <a:gd name="connsiteY90" fmla="*/ 366344 h 509499"/>
                <a:gd name="connsiteX91" fmla="*/ 121170 w 402651"/>
                <a:gd name="connsiteY91" fmla="*/ 359789 h 509499"/>
                <a:gd name="connsiteX92" fmla="*/ 111420 w 402651"/>
                <a:gd name="connsiteY92" fmla="*/ 360097 h 509499"/>
                <a:gd name="connsiteX93" fmla="*/ 101877 w 402651"/>
                <a:gd name="connsiteY93" fmla="*/ 345756 h 509499"/>
                <a:gd name="connsiteX94" fmla="*/ 81531 w 402651"/>
                <a:gd name="connsiteY94" fmla="*/ 336580 h 509499"/>
                <a:gd name="connsiteX95" fmla="*/ 65818 w 402651"/>
                <a:gd name="connsiteY95" fmla="*/ 324913 h 509499"/>
                <a:gd name="connsiteX96" fmla="*/ 68583 w 402651"/>
                <a:gd name="connsiteY96" fmla="*/ 321135 h 509499"/>
                <a:gd name="connsiteX97" fmla="*/ 46459 w 402651"/>
                <a:gd name="connsiteY97" fmla="*/ 304404 h 509499"/>
                <a:gd name="connsiteX98" fmla="*/ 69136 w 402651"/>
                <a:gd name="connsiteY98" fmla="*/ 294689 h 509499"/>
                <a:gd name="connsiteX99" fmla="*/ 58074 w 402651"/>
                <a:gd name="connsiteY99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8116 w 402651"/>
                <a:gd name="connsiteY63" fmla="*/ 44311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93252 w 402651"/>
                <a:gd name="connsiteY80" fmla="*/ 423091 h 509499"/>
                <a:gd name="connsiteX81" fmla="*/ 99003 w 402651"/>
                <a:gd name="connsiteY81" fmla="*/ 480354 h 509499"/>
                <a:gd name="connsiteX82" fmla="*/ 158447 w 402651"/>
                <a:gd name="connsiteY82" fmla="*/ 399038 h 509499"/>
                <a:gd name="connsiteX83" fmla="*/ 166960 w 402651"/>
                <a:gd name="connsiteY83" fmla="*/ 394540 h 509499"/>
                <a:gd name="connsiteX84" fmla="*/ 181901 w 402651"/>
                <a:gd name="connsiteY84" fmla="*/ 391815 h 509499"/>
                <a:gd name="connsiteX85" fmla="*/ 178026 w 402651"/>
                <a:gd name="connsiteY85" fmla="*/ 385621 h 509499"/>
                <a:gd name="connsiteX86" fmla="*/ 166262 w 402651"/>
                <a:gd name="connsiteY86" fmla="*/ 378348 h 509499"/>
                <a:gd name="connsiteX87" fmla="*/ 158241 w 402651"/>
                <a:gd name="connsiteY87" fmla="*/ 381379 h 509499"/>
                <a:gd name="connsiteX88" fmla="*/ 142748 w 402651"/>
                <a:gd name="connsiteY88" fmla="*/ 368966 h 509499"/>
                <a:gd name="connsiteX89" fmla="*/ 136657 w 402651"/>
                <a:gd name="connsiteY89" fmla="*/ 366344 h 509499"/>
                <a:gd name="connsiteX90" fmla="*/ 121170 w 402651"/>
                <a:gd name="connsiteY90" fmla="*/ 359789 h 509499"/>
                <a:gd name="connsiteX91" fmla="*/ 111420 w 402651"/>
                <a:gd name="connsiteY91" fmla="*/ 360097 h 509499"/>
                <a:gd name="connsiteX92" fmla="*/ 101877 w 402651"/>
                <a:gd name="connsiteY92" fmla="*/ 345756 h 509499"/>
                <a:gd name="connsiteX93" fmla="*/ 81531 w 402651"/>
                <a:gd name="connsiteY93" fmla="*/ 336580 h 509499"/>
                <a:gd name="connsiteX94" fmla="*/ 65818 w 402651"/>
                <a:gd name="connsiteY94" fmla="*/ 324913 h 509499"/>
                <a:gd name="connsiteX95" fmla="*/ 68583 w 402651"/>
                <a:gd name="connsiteY95" fmla="*/ 321135 h 509499"/>
                <a:gd name="connsiteX96" fmla="*/ 46459 w 402651"/>
                <a:gd name="connsiteY96" fmla="*/ 304404 h 509499"/>
                <a:gd name="connsiteX97" fmla="*/ 69136 w 402651"/>
                <a:gd name="connsiteY97" fmla="*/ 294689 h 509499"/>
                <a:gd name="connsiteX98" fmla="*/ 58074 w 402651"/>
                <a:gd name="connsiteY98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8116 w 402651"/>
                <a:gd name="connsiteY63" fmla="*/ 44311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93252 w 402651"/>
                <a:gd name="connsiteY80" fmla="*/ 423091 h 509499"/>
                <a:gd name="connsiteX81" fmla="*/ 158447 w 402651"/>
                <a:gd name="connsiteY81" fmla="*/ 399038 h 509499"/>
                <a:gd name="connsiteX82" fmla="*/ 166960 w 402651"/>
                <a:gd name="connsiteY82" fmla="*/ 394540 h 509499"/>
                <a:gd name="connsiteX83" fmla="*/ 181901 w 402651"/>
                <a:gd name="connsiteY83" fmla="*/ 391815 h 509499"/>
                <a:gd name="connsiteX84" fmla="*/ 178026 w 402651"/>
                <a:gd name="connsiteY84" fmla="*/ 385621 h 509499"/>
                <a:gd name="connsiteX85" fmla="*/ 166262 w 402651"/>
                <a:gd name="connsiteY85" fmla="*/ 378348 h 509499"/>
                <a:gd name="connsiteX86" fmla="*/ 158241 w 402651"/>
                <a:gd name="connsiteY86" fmla="*/ 381379 h 509499"/>
                <a:gd name="connsiteX87" fmla="*/ 142748 w 402651"/>
                <a:gd name="connsiteY87" fmla="*/ 368966 h 509499"/>
                <a:gd name="connsiteX88" fmla="*/ 136657 w 402651"/>
                <a:gd name="connsiteY88" fmla="*/ 366344 h 509499"/>
                <a:gd name="connsiteX89" fmla="*/ 121170 w 402651"/>
                <a:gd name="connsiteY89" fmla="*/ 359789 h 509499"/>
                <a:gd name="connsiteX90" fmla="*/ 111420 w 402651"/>
                <a:gd name="connsiteY90" fmla="*/ 360097 h 509499"/>
                <a:gd name="connsiteX91" fmla="*/ 101877 w 402651"/>
                <a:gd name="connsiteY91" fmla="*/ 345756 h 509499"/>
                <a:gd name="connsiteX92" fmla="*/ 81531 w 402651"/>
                <a:gd name="connsiteY92" fmla="*/ 336580 h 509499"/>
                <a:gd name="connsiteX93" fmla="*/ 65818 w 402651"/>
                <a:gd name="connsiteY93" fmla="*/ 324913 h 509499"/>
                <a:gd name="connsiteX94" fmla="*/ 68583 w 402651"/>
                <a:gd name="connsiteY94" fmla="*/ 321135 h 509499"/>
                <a:gd name="connsiteX95" fmla="*/ 46459 w 402651"/>
                <a:gd name="connsiteY95" fmla="*/ 304404 h 509499"/>
                <a:gd name="connsiteX96" fmla="*/ 69136 w 402651"/>
                <a:gd name="connsiteY96" fmla="*/ 294689 h 509499"/>
                <a:gd name="connsiteX97" fmla="*/ 58074 w 402651"/>
                <a:gd name="connsiteY97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8116 w 402651"/>
                <a:gd name="connsiteY63" fmla="*/ 44311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158447 w 402651"/>
                <a:gd name="connsiteY80" fmla="*/ 399038 h 509499"/>
                <a:gd name="connsiteX81" fmla="*/ 166960 w 402651"/>
                <a:gd name="connsiteY81" fmla="*/ 394540 h 509499"/>
                <a:gd name="connsiteX82" fmla="*/ 181901 w 402651"/>
                <a:gd name="connsiteY82" fmla="*/ 391815 h 509499"/>
                <a:gd name="connsiteX83" fmla="*/ 178026 w 402651"/>
                <a:gd name="connsiteY83" fmla="*/ 385621 h 509499"/>
                <a:gd name="connsiteX84" fmla="*/ 166262 w 402651"/>
                <a:gd name="connsiteY84" fmla="*/ 378348 h 509499"/>
                <a:gd name="connsiteX85" fmla="*/ 158241 w 402651"/>
                <a:gd name="connsiteY85" fmla="*/ 381379 h 509499"/>
                <a:gd name="connsiteX86" fmla="*/ 142748 w 402651"/>
                <a:gd name="connsiteY86" fmla="*/ 368966 h 509499"/>
                <a:gd name="connsiteX87" fmla="*/ 136657 w 402651"/>
                <a:gd name="connsiteY87" fmla="*/ 366344 h 509499"/>
                <a:gd name="connsiteX88" fmla="*/ 121170 w 402651"/>
                <a:gd name="connsiteY88" fmla="*/ 359789 h 509499"/>
                <a:gd name="connsiteX89" fmla="*/ 111420 w 402651"/>
                <a:gd name="connsiteY89" fmla="*/ 360097 h 509499"/>
                <a:gd name="connsiteX90" fmla="*/ 101877 w 402651"/>
                <a:gd name="connsiteY90" fmla="*/ 345756 h 509499"/>
                <a:gd name="connsiteX91" fmla="*/ 81531 w 402651"/>
                <a:gd name="connsiteY91" fmla="*/ 336580 h 509499"/>
                <a:gd name="connsiteX92" fmla="*/ 65818 w 402651"/>
                <a:gd name="connsiteY92" fmla="*/ 324913 h 509499"/>
                <a:gd name="connsiteX93" fmla="*/ 68583 w 402651"/>
                <a:gd name="connsiteY93" fmla="*/ 321135 h 509499"/>
                <a:gd name="connsiteX94" fmla="*/ 46459 w 402651"/>
                <a:gd name="connsiteY94" fmla="*/ 304404 h 509499"/>
                <a:gd name="connsiteX95" fmla="*/ 69136 w 402651"/>
                <a:gd name="connsiteY95" fmla="*/ 294689 h 509499"/>
                <a:gd name="connsiteX96" fmla="*/ 58074 w 402651"/>
                <a:gd name="connsiteY96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5594 w 402651"/>
                <a:gd name="connsiteY63" fmla="*/ 411883 h 509499"/>
                <a:gd name="connsiteX64" fmla="*/ 269909 w 402651"/>
                <a:gd name="connsiteY64" fmla="*/ 460923 h 509499"/>
                <a:gd name="connsiteX65" fmla="*/ 262718 w 402651"/>
                <a:gd name="connsiteY65" fmla="*/ 463622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158447 w 402651"/>
                <a:gd name="connsiteY80" fmla="*/ 399038 h 509499"/>
                <a:gd name="connsiteX81" fmla="*/ 166960 w 402651"/>
                <a:gd name="connsiteY81" fmla="*/ 394540 h 509499"/>
                <a:gd name="connsiteX82" fmla="*/ 181901 w 402651"/>
                <a:gd name="connsiteY82" fmla="*/ 391815 h 509499"/>
                <a:gd name="connsiteX83" fmla="*/ 178026 w 402651"/>
                <a:gd name="connsiteY83" fmla="*/ 385621 h 509499"/>
                <a:gd name="connsiteX84" fmla="*/ 166262 w 402651"/>
                <a:gd name="connsiteY84" fmla="*/ 378348 h 509499"/>
                <a:gd name="connsiteX85" fmla="*/ 158241 w 402651"/>
                <a:gd name="connsiteY85" fmla="*/ 381379 h 509499"/>
                <a:gd name="connsiteX86" fmla="*/ 142748 w 402651"/>
                <a:gd name="connsiteY86" fmla="*/ 368966 h 509499"/>
                <a:gd name="connsiteX87" fmla="*/ 136657 w 402651"/>
                <a:gd name="connsiteY87" fmla="*/ 366344 h 509499"/>
                <a:gd name="connsiteX88" fmla="*/ 121170 w 402651"/>
                <a:gd name="connsiteY88" fmla="*/ 359789 h 509499"/>
                <a:gd name="connsiteX89" fmla="*/ 111420 w 402651"/>
                <a:gd name="connsiteY89" fmla="*/ 360097 h 509499"/>
                <a:gd name="connsiteX90" fmla="*/ 101877 w 402651"/>
                <a:gd name="connsiteY90" fmla="*/ 345756 h 509499"/>
                <a:gd name="connsiteX91" fmla="*/ 81531 w 402651"/>
                <a:gd name="connsiteY91" fmla="*/ 336580 h 509499"/>
                <a:gd name="connsiteX92" fmla="*/ 65818 w 402651"/>
                <a:gd name="connsiteY92" fmla="*/ 324913 h 509499"/>
                <a:gd name="connsiteX93" fmla="*/ 68583 w 402651"/>
                <a:gd name="connsiteY93" fmla="*/ 321135 h 509499"/>
                <a:gd name="connsiteX94" fmla="*/ 46459 w 402651"/>
                <a:gd name="connsiteY94" fmla="*/ 304404 h 509499"/>
                <a:gd name="connsiteX95" fmla="*/ 69136 w 402651"/>
                <a:gd name="connsiteY95" fmla="*/ 294689 h 509499"/>
                <a:gd name="connsiteX96" fmla="*/ 58074 w 402651"/>
                <a:gd name="connsiteY96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5594 w 402651"/>
                <a:gd name="connsiteY63" fmla="*/ 411883 h 509499"/>
                <a:gd name="connsiteX64" fmla="*/ 269909 w 402651"/>
                <a:gd name="connsiteY64" fmla="*/ 460923 h 509499"/>
                <a:gd name="connsiteX65" fmla="*/ 292976 w 402651"/>
                <a:gd name="connsiteY65" fmla="*/ 397414 h 509499"/>
                <a:gd name="connsiteX66" fmla="*/ 248338 w 402651"/>
                <a:gd name="connsiteY66" fmla="*/ 500323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158447 w 402651"/>
                <a:gd name="connsiteY80" fmla="*/ 399038 h 509499"/>
                <a:gd name="connsiteX81" fmla="*/ 166960 w 402651"/>
                <a:gd name="connsiteY81" fmla="*/ 394540 h 509499"/>
                <a:gd name="connsiteX82" fmla="*/ 181901 w 402651"/>
                <a:gd name="connsiteY82" fmla="*/ 391815 h 509499"/>
                <a:gd name="connsiteX83" fmla="*/ 178026 w 402651"/>
                <a:gd name="connsiteY83" fmla="*/ 385621 h 509499"/>
                <a:gd name="connsiteX84" fmla="*/ 166262 w 402651"/>
                <a:gd name="connsiteY84" fmla="*/ 378348 h 509499"/>
                <a:gd name="connsiteX85" fmla="*/ 158241 w 402651"/>
                <a:gd name="connsiteY85" fmla="*/ 381379 h 509499"/>
                <a:gd name="connsiteX86" fmla="*/ 142748 w 402651"/>
                <a:gd name="connsiteY86" fmla="*/ 368966 h 509499"/>
                <a:gd name="connsiteX87" fmla="*/ 136657 w 402651"/>
                <a:gd name="connsiteY87" fmla="*/ 366344 h 509499"/>
                <a:gd name="connsiteX88" fmla="*/ 121170 w 402651"/>
                <a:gd name="connsiteY88" fmla="*/ 359789 h 509499"/>
                <a:gd name="connsiteX89" fmla="*/ 111420 w 402651"/>
                <a:gd name="connsiteY89" fmla="*/ 360097 h 509499"/>
                <a:gd name="connsiteX90" fmla="*/ 101877 w 402651"/>
                <a:gd name="connsiteY90" fmla="*/ 345756 h 509499"/>
                <a:gd name="connsiteX91" fmla="*/ 81531 w 402651"/>
                <a:gd name="connsiteY91" fmla="*/ 336580 h 509499"/>
                <a:gd name="connsiteX92" fmla="*/ 65818 w 402651"/>
                <a:gd name="connsiteY92" fmla="*/ 324913 h 509499"/>
                <a:gd name="connsiteX93" fmla="*/ 68583 w 402651"/>
                <a:gd name="connsiteY93" fmla="*/ 321135 h 509499"/>
                <a:gd name="connsiteX94" fmla="*/ 46459 w 402651"/>
                <a:gd name="connsiteY94" fmla="*/ 304404 h 509499"/>
                <a:gd name="connsiteX95" fmla="*/ 69136 w 402651"/>
                <a:gd name="connsiteY95" fmla="*/ 294689 h 509499"/>
                <a:gd name="connsiteX96" fmla="*/ 58074 w 402651"/>
                <a:gd name="connsiteY96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5594 w 402651"/>
                <a:gd name="connsiteY63" fmla="*/ 411883 h 509499"/>
                <a:gd name="connsiteX64" fmla="*/ 269909 w 402651"/>
                <a:gd name="connsiteY64" fmla="*/ 460923 h 509499"/>
                <a:gd name="connsiteX65" fmla="*/ 292976 w 402651"/>
                <a:gd name="connsiteY65" fmla="*/ 397414 h 509499"/>
                <a:gd name="connsiteX66" fmla="*/ 300029 w 402651"/>
                <a:gd name="connsiteY66" fmla="*/ 384146 h 509499"/>
                <a:gd name="connsiteX67" fmla="*/ 237829 w 402651"/>
                <a:gd name="connsiteY67" fmla="*/ 505181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158447 w 402651"/>
                <a:gd name="connsiteY80" fmla="*/ 399038 h 509499"/>
                <a:gd name="connsiteX81" fmla="*/ 166960 w 402651"/>
                <a:gd name="connsiteY81" fmla="*/ 394540 h 509499"/>
                <a:gd name="connsiteX82" fmla="*/ 181901 w 402651"/>
                <a:gd name="connsiteY82" fmla="*/ 391815 h 509499"/>
                <a:gd name="connsiteX83" fmla="*/ 178026 w 402651"/>
                <a:gd name="connsiteY83" fmla="*/ 385621 h 509499"/>
                <a:gd name="connsiteX84" fmla="*/ 166262 w 402651"/>
                <a:gd name="connsiteY84" fmla="*/ 378348 h 509499"/>
                <a:gd name="connsiteX85" fmla="*/ 158241 w 402651"/>
                <a:gd name="connsiteY85" fmla="*/ 381379 h 509499"/>
                <a:gd name="connsiteX86" fmla="*/ 142748 w 402651"/>
                <a:gd name="connsiteY86" fmla="*/ 368966 h 509499"/>
                <a:gd name="connsiteX87" fmla="*/ 136657 w 402651"/>
                <a:gd name="connsiteY87" fmla="*/ 366344 h 509499"/>
                <a:gd name="connsiteX88" fmla="*/ 121170 w 402651"/>
                <a:gd name="connsiteY88" fmla="*/ 359789 h 509499"/>
                <a:gd name="connsiteX89" fmla="*/ 111420 w 402651"/>
                <a:gd name="connsiteY89" fmla="*/ 360097 h 509499"/>
                <a:gd name="connsiteX90" fmla="*/ 101877 w 402651"/>
                <a:gd name="connsiteY90" fmla="*/ 345756 h 509499"/>
                <a:gd name="connsiteX91" fmla="*/ 81531 w 402651"/>
                <a:gd name="connsiteY91" fmla="*/ 336580 h 509499"/>
                <a:gd name="connsiteX92" fmla="*/ 65818 w 402651"/>
                <a:gd name="connsiteY92" fmla="*/ 324913 h 509499"/>
                <a:gd name="connsiteX93" fmla="*/ 68583 w 402651"/>
                <a:gd name="connsiteY93" fmla="*/ 321135 h 509499"/>
                <a:gd name="connsiteX94" fmla="*/ 46459 w 402651"/>
                <a:gd name="connsiteY94" fmla="*/ 304404 h 509499"/>
                <a:gd name="connsiteX95" fmla="*/ 69136 w 402651"/>
                <a:gd name="connsiteY95" fmla="*/ 294689 h 509499"/>
                <a:gd name="connsiteX96" fmla="*/ 58074 w 402651"/>
                <a:gd name="connsiteY96" fmla="*/ 283894 h 509499"/>
                <a:gd name="connsiteX0" fmla="*/ 58074 w 402651"/>
                <a:gd name="connsiteY0" fmla="*/ 283894 h 509499"/>
                <a:gd name="connsiteX1" fmla="*/ 51990 w 402651"/>
                <a:gd name="connsiteY1" fmla="*/ 261226 h 509499"/>
                <a:gd name="connsiteX2" fmla="*/ 56415 w 402651"/>
                <a:gd name="connsiteY2" fmla="*/ 258527 h 509499"/>
                <a:gd name="connsiteX3" fmla="*/ 68030 w 402651"/>
                <a:gd name="connsiteY3" fmla="*/ 264464 h 509499"/>
                <a:gd name="connsiteX4" fmla="*/ 71902 w 402651"/>
                <a:gd name="connsiteY4" fmla="*/ 265544 h 509499"/>
                <a:gd name="connsiteX5" fmla="*/ 81857 w 402651"/>
                <a:gd name="connsiteY5" fmla="*/ 251511 h 509499"/>
                <a:gd name="connsiteX6" fmla="*/ 79645 w 402651"/>
                <a:gd name="connsiteY6" fmla="*/ 241256 h 509499"/>
                <a:gd name="connsiteX7" fmla="*/ 44800 w 402651"/>
                <a:gd name="connsiteY7" fmla="*/ 218048 h 509499"/>
                <a:gd name="connsiteX8" fmla="*/ 41481 w 402651"/>
                <a:gd name="connsiteY8" fmla="*/ 212111 h 509499"/>
                <a:gd name="connsiteX9" fmla="*/ 51990 w 402651"/>
                <a:gd name="connsiteY9" fmla="*/ 155440 h 509499"/>
                <a:gd name="connsiteX10" fmla="*/ 38716 w 402651"/>
                <a:gd name="connsiteY10" fmla="*/ 140328 h 509499"/>
                <a:gd name="connsiteX11" fmla="*/ 44800 w 402651"/>
                <a:gd name="connsiteY11" fmla="*/ 113342 h 509499"/>
                <a:gd name="connsiteX12" fmla="*/ 25442 w 402651"/>
                <a:gd name="connsiteY12" fmla="*/ 106325 h 509499"/>
                <a:gd name="connsiteX13" fmla="*/ 13827 w 402651"/>
                <a:gd name="connsiteY13" fmla="*/ 86355 h 509499"/>
                <a:gd name="connsiteX14" fmla="*/ 2212 w 402651"/>
                <a:gd name="connsiteY14" fmla="*/ 60449 h 509499"/>
                <a:gd name="connsiteX15" fmla="*/ 0 w 402651"/>
                <a:gd name="connsiteY15" fmla="*/ 48575 h 509499"/>
                <a:gd name="connsiteX16" fmla="*/ 14933 w 402651"/>
                <a:gd name="connsiteY16" fmla="*/ 31304 h 509499"/>
                <a:gd name="connsiteX17" fmla="*/ 29313 w 402651"/>
                <a:gd name="connsiteY17" fmla="*/ 29685 h 509499"/>
                <a:gd name="connsiteX18" fmla="*/ 57521 w 402651"/>
                <a:gd name="connsiteY18" fmla="*/ 2698 h 509499"/>
                <a:gd name="connsiteX19" fmla="*/ 74667 w 402651"/>
                <a:gd name="connsiteY19" fmla="*/ 6476 h 509499"/>
                <a:gd name="connsiteX20" fmla="*/ 95131 w 402651"/>
                <a:gd name="connsiteY20" fmla="*/ 0 h 509499"/>
                <a:gd name="connsiteX21" fmla="*/ 113937 w 402651"/>
                <a:gd name="connsiteY21" fmla="*/ 2698 h 509499"/>
                <a:gd name="connsiteX22" fmla="*/ 120574 w 402651"/>
                <a:gd name="connsiteY22" fmla="*/ 17811 h 509499"/>
                <a:gd name="connsiteX23" fmla="*/ 131082 w 402651"/>
                <a:gd name="connsiteY23" fmla="*/ 25367 h 509499"/>
                <a:gd name="connsiteX24" fmla="*/ 152653 w 402651"/>
                <a:gd name="connsiteY24" fmla="*/ 34002 h 509499"/>
                <a:gd name="connsiteX25" fmla="*/ 156525 w 402651"/>
                <a:gd name="connsiteY25" fmla="*/ 38860 h 509499"/>
                <a:gd name="connsiteX26" fmla="*/ 162609 w 402651"/>
                <a:gd name="connsiteY26" fmla="*/ 39939 h 509499"/>
                <a:gd name="connsiteX27" fmla="*/ 163162 w 402651"/>
                <a:gd name="connsiteY27" fmla="*/ 56131 h 509499"/>
                <a:gd name="connsiteX28" fmla="*/ 167033 w 402651"/>
                <a:gd name="connsiteY28" fmla="*/ 67465 h 509499"/>
                <a:gd name="connsiteX29" fmla="*/ 180308 w 402651"/>
                <a:gd name="connsiteY29" fmla="*/ 77180 h 509499"/>
                <a:gd name="connsiteX30" fmla="*/ 200772 w 402651"/>
                <a:gd name="connsiteY30" fmla="*/ 84736 h 509499"/>
                <a:gd name="connsiteX31" fmla="*/ 228980 w 402651"/>
                <a:gd name="connsiteY31" fmla="*/ 102547 h 509499"/>
                <a:gd name="connsiteX32" fmla="*/ 235064 w 402651"/>
                <a:gd name="connsiteY32" fmla="*/ 141947 h 509499"/>
                <a:gd name="connsiteX33" fmla="*/ 253316 w 402651"/>
                <a:gd name="connsiteY33" fmla="*/ 149503 h 509499"/>
                <a:gd name="connsiteX34" fmla="*/ 283736 w 402651"/>
                <a:gd name="connsiteY34" fmla="*/ 154900 h 509499"/>
                <a:gd name="connsiteX35" fmla="*/ 293138 w 402651"/>
                <a:gd name="connsiteY35" fmla="*/ 162996 h 509499"/>
                <a:gd name="connsiteX36" fmla="*/ 323005 w 402651"/>
                <a:gd name="connsiteY36" fmla="*/ 135470 h 509499"/>
                <a:gd name="connsiteX37" fmla="*/ 335173 w 402651"/>
                <a:gd name="connsiteY37" fmla="*/ 139248 h 509499"/>
                <a:gd name="connsiteX38" fmla="*/ 337939 w 402651"/>
                <a:gd name="connsiteY38" fmla="*/ 148963 h 509499"/>
                <a:gd name="connsiteX39" fmla="*/ 329642 w 402651"/>
                <a:gd name="connsiteY39" fmla="*/ 153281 h 509499"/>
                <a:gd name="connsiteX40" fmla="*/ 327430 w 402651"/>
                <a:gd name="connsiteY40" fmla="*/ 164076 h 509499"/>
                <a:gd name="connsiteX41" fmla="*/ 342364 w 402651"/>
                <a:gd name="connsiteY41" fmla="*/ 180807 h 509499"/>
                <a:gd name="connsiteX42" fmla="*/ 346235 w 402651"/>
                <a:gd name="connsiteY42" fmla="*/ 191062 h 509499"/>
                <a:gd name="connsiteX43" fmla="*/ 346235 w 402651"/>
                <a:gd name="connsiteY43" fmla="*/ 207254 h 509499"/>
                <a:gd name="connsiteX44" fmla="*/ 334067 w 402651"/>
                <a:gd name="connsiteY44" fmla="*/ 218588 h 509499"/>
                <a:gd name="connsiteX45" fmla="*/ 332961 w 402651"/>
                <a:gd name="connsiteY45" fmla="*/ 245034 h 509499"/>
                <a:gd name="connsiteX46" fmla="*/ 346788 w 402651"/>
                <a:gd name="connsiteY46" fmla="*/ 254749 h 509499"/>
                <a:gd name="connsiteX47" fmla="*/ 356744 w 402651"/>
                <a:gd name="connsiteY47" fmla="*/ 279576 h 509499"/>
                <a:gd name="connsiteX48" fmla="*/ 378315 w 402651"/>
                <a:gd name="connsiteY48" fmla="*/ 283894 h 509499"/>
                <a:gd name="connsiteX49" fmla="*/ 384399 w 402651"/>
                <a:gd name="connsiteY49" fmla="*/ 294689 h 509499"/>
                <a:gd name="connsiteX50" fmla="*/ 402651 w 402651"/>
                <a:gd name="connsiteY50" fmla="*/ 302785 h 509499"/>
                <a:gd name="connsiteX51" fmla="*/ 377761 w 402651"/>
                <a:gd name="connsiteY51" fmla="*/ 343264 h 509499"/>
                <a:gd name="connsiteX52" fmla="*/ 368359 w 402651"/>
                <a:gd name="connsiteY52" fmla="*/ 344883 h 509499"/>
                <a:gd name="connsiteX53" fmla="*/ 361722 w 402651"/>
                <a:gd name="connsiteY53" fmla="*/ 351899 h 509499"/>
                <a:gd name="connsiteX54" fmla="*/ 365593 w 402651"/>
                <a:gd name="connsiteY54" fmla="*/ 363234 h 509499"/>
                <a:gd name="connsiteX55" fmla="*/ 365040 w 402651"/>
                <a:gd name="connsiteY55" fmla="*/ 384283 h 509499"/>
                <a:gd name="connsiteX56" fmla="*/ 377761 w 402651"/>
                <a:gd name="connsiteY56" fmla="*/ 397236 h 509499"/>
                <a:gd name="connsiteX57" fmla="*/ 369465 w 402651"/>
                <a:gd name="connsiteY57" fmla="*/ 413968 h 509499"/>
                <a:gd name="connsiteX58" fmla="*/ 367253 w 402651"/>
                <a:gd name="connsiteY58" fmla="*/ 415587 h 509499"/>
                <a:gd name="connsiteX59" fmla="*/ 359509 w 402651"/>
                <a:gd name="connsiteY59" fmla="*/ 413968 h 509499"/>
                <a:gd name="connsiteX60" fmla="*/ 338492 w 402651"/>
                <a:gd name="connsiteY60" fmla="*/ 424222 h 509499"/>
                <a:gd name="connsiteX61" fmla="*/ 311390 w 402651"/>
                <a:gd name="connsiteY61" fmla="*/ 420984 h 509499"/>
                <a:gd name="connsiteX62" fmla="*/ 299222 w 402651"/>
                <a:gd name="connsiteY62" fmla="*/ 426381 h 509499"/>
                <a:gd name="connsiteX63" fmla="*/ 295594 w 402651"/>
                <a:gd name="connsiteY63" fmla="*/ 411883 h 509499"/>
                <a:gd name="connsiteX64" fmla="*/ 269909 w 402651"/>
                <a:gd name="connsiteY64" fmla="*/ 460923 h 509499"/>
                <a:gd name="connsiteX65" fmla="*/ 292976 w 402651"/>
                <a:gd name="connsiteY65" fmla="*/ 397414 h 509499"/>
                <a:gd name="connsiteX66" fmla="*/ 300029 w 402651"/>
                <a:gd name="connsiteY66" fmla="*/ 384146 h 509499"/>
                <a:gd name="connsiteX67" fmla="*/ 283216 w 402651"/>
                <a:gd name="connsiteY67" fmla="*/ 386506 h 509499"/>
                <a:gd name="connsiteX68" fmla="*/ 223449 w 402651"/>
                <a:gd name="connsiteY68" fmla="*/ 509499 h 509499"/>
                <a:gd name="connsiteX69" fmla="*/ 214599 w 402651"/>
                <a:gd name="connsiteY69" fmla="*/ 508959 h 509499"/>
                <a:gd name="connsiteX70" fmla="*/ 220683 w 402651"/>
                <a:gd name="connsiteY70" fmla="*/ 486830 h 509499"/>
                <a:gd name="connsiteX71" fmla="*/ 200219 w 402651"/>
                <a:gd name="connsiteY71" fmla="*/ 456066 h 509499"/>
                <a:gd name="connsiteX72" fmla="*/ 188604 w 402651"/>
                <a:gd name="connsiteY72" fmla="*/ 449589 h 509499"/>
                <a:gd name="connsiteX73" fmla="*/ 179201 w 402651"/>
                <a:gd name="connsiteY73" fmla="*/ 446891 h 509499"/>
                <a:gd name="connsiteX74" fmla="*/ 169799 w 402651"/>
                <a:gd name="connsiteY74" fmla="*/ 426921 h 509499"/>
                <a:gd name="connsiteX75" fmla="*/ 158737 w 402651"/>
                <a:gd name="connsiteY75" fmla="*/ 424762 h 509499"/>
                <a:gd name="connsiteX76" fmla="*/ 150441 w 402651"/>
                <a:gd name="connsiteY76" fmla="*/ 429080 h 509499"/>
                <a:gd name="connsiteX77" fmla="*/ 153451 w 402651"/>
                <a:gd name="connsiteY77" fmla="*/ 419362 h 509499"/>
                <a:gd name="connsiteX78" fmla="*/ 161376 w 402651"/>
                <a:gd name="connsiteY78" fmla="*/ 413968 h 509499"/>
                <a:gd name="connsiteX79" fmla="*/ 152316 w 402651"/>
                <a:gd name="connsiteY79" fmla="*/ 401889 h 509499"/>
                <a:gd name="connsiteX80" fmla="*/ 158447 w 402651"/>
                <a:gd name="connsiteY80" fmla="*/ 399038 h 509499"/>
                <a:gd name="connsiteX81" fmla="*/ 166960 w 402651"/>
                <a:gd name="connsiteY81" fmla="*/ 394540 h 509499"/>
                <a:gd name="connsiteX82" fmla="*/ 181901 w 402651"/>
                <a:gd name="connsiteY82" fmla="*/ 391815 h 509499"/>
                <a:gd name="connsiteX83" fmla="*/ 178026 w 402651"/>
                <a:gd name="connsiteY83" fmla="*/ 385621 h 509499"/>
                <a:gd name="connsiteX84" fmla="*/ 166262 w 402651"/>
                <a:gd name="connsiteY84" fmla="*/ 378348 h 509499"/>
                <a:gd name="connsiteX85" fmla="*/ 158241 w 402651"/>
                <a:gd name="connsiteY85" fmla="*/ 381379 h 509499"/>
                <a:gd name="connsiteX86" fmla="*/ 142748 w 402651"/>
                <a:gd name="connsiteY86" fmla="*/ 368966 h 509499"/>
                <a:gd name="connsiteX87" fmla="*/ 136657 w 402651"/>
                <a:gd name="connsiteY87" fmla="*/ 366344 h 509499"/>
                <a:gd name="connsiteX88" fmla="*/ 121170 w 402651"/>
                <a:gd name="connsiteY88" fmla="*/ 359789 h 509499"/>
                <a:gd name="connsiteX89" fmla="*/ 111420 w 402651"/>
                <a:gd name="connsiteY89" fmla="*/ 360097 h 509499"/>
                <a:gd name="connsiteX90" fmla="*/ 101877 w 402651"/>
                <a:gd name="connsiteY90" fmla="*/ 345756 h 509499"/>
                <a:gd name="connsiteX91" fmla="*/ 81531 w 402651"/>
                <a:gd name="connsiteY91" fmla="*/ 336580 h 509499"/>
                <a:gd name="connsiteX92" fmla="*/ 65818 w 402651"/>
                <a:gd name="connsiteY92" fmla="*/ 324913 h 509499"/>
                <a:gd name="connsiteX93" fmla="*/ 68583 w 402651"/>
                <a:gd name="connsiteY93" fmla="*/ 321135 h 509499"/>
                <a:gd name="connsiteX94" fmla="*/ 46459 w 402651"/>
                <a:gd name="connsiteY94" fmla="*/ 304404 h 509499"/>
                <a:gd name="connsiteX95" fmla="*/ 69136 w 402651"/>
                <a:gd name="connsiteY95" fmla="*/ 294689 h 509499"/>
                <a:gd name="connsiteX96" fmla="*/ 58074 w 402651"/>
                <a:gd name="connsiteY96" fmla="*/ 283894 h 509499"/>
                <a:gd name="connsiteX0" fmla="*/ 58074 w 402651"/>
                <a:gd name="connsiteY0" fmla="*/ 283894 h 508959"/>
                <a:gd name="connsiteX1" fmla="*/ 51990 w 402651"/>
                <a:gd name="connsiteY1" fmla="*/ 261226 h 508959"/>
                <a:gd name="connsiteX2" fmla="*/ 56415 w 402651"/>
                <a:gd name="connsiteY2" fmla="*/ 258527 h 508959"/>
                <a:gd name="connsiteX3" fmla="*/ 68030 w 402651"/>
                <a:gd name="connsiteY3" fmla="*/ 264464 h 508959"/>
                <a:gd name="connsiteX4" fmla="*/ 71902 w 402651"/>
                <a:gd name="connsiteY4" fmla="*/ 265544 h 508959"/>
                <a:gd name="connsiteX5" fmla="*/ 81857 w 402651"/>
                <a:gd name="connsiteY5" fmla="*/ 251511 h 508959"/>
                <a:gd name="connsiteX6" fmla="*/ 79645 w 402651"/>
                <a:gd name="connsiteY6" fmla="*/ 241256 h 508959"/>
                <a:gd name="connsiteX7" fmla="*/ 44800 w 402651"/>
                <a:gd name="connsiteY7" fmla="*/ 218048 h 508959"/>
                <a:gd name="connsiteX8" fmla="*/ 41481 w 402651"/>
                <a:gd name="connsiteY8" fmla="*/ 212111 h 508959"/>
                <a:gd name="connsiteX9" fmla="*/ 51990 w 402651"/>
                <a:gd name="connsiteY9" fmla="*/ 155440 h 508959"/>
                <a:gd name="connsiteX10" fmla="*/ 38716 w 402651"/>
                <a:gd name="connsiteY10" fmla="*/ 140328 h 508959"/>
                <a:gd name="connsiteX11" fmla="*/ 44800 w 402651"/>
                <a:gd name="connsiteY11" fmla="*/ 113342 h 508959"/>
                <a:gd name="connsiteX12" fmla="*/ 25442 w 402651"/>
                <a:gd name="connsiteY12" fmla="*/ 106325 h 508959"/>
                <a:gd name="connsiteX13" fmla="*/ 13827 w 402651"/>
                <a:gd name="connsiteY13" fmla="*/ 86355 h 508959"/>
                <a:gd name="connsiteX14" fmla="*/ 2212 w 402651"/>
                <a:gd name="connsiteY14" fmla="*/ 60449 h 508959"/>
                <a:gd name="connsiteX15" fmla="*/ 0 w 402651"/>
                <a:gd name="connsiteY15" fmla="*/ 48575 h 508959"/>
                <a:gd name="connsiteX16" fmla="*/ 14933 w 402651"/>
                <a:gd name="connsiteY16" fmla="*/ 31304 h 508959"/>
                <a:gd name="connsiteX17" fmla="*/ 29313 w 402651"/>
                <a:gd name="connsiteY17" fmla="*/ 29685 h 508959"/>
                <a:gd name="connsiteX18" fmla="*/ 57521 w 402651"/>
                <a:gd name="connsiteY18" fmla="*/ 2698 h 508959"/>
                <a:gd name="connsiteX19" fmla="*/ 74667 w 402651"/>
                <a:gd name="connsiteY19" fmla="*/ 6476 h 508959"/>
                <a:gd name="connsiteX20" fmla="*/ 95131 w 402651"/>
                <a:gd name="connsiteY20" fmla="*/ 0 h 508959"/>
                <a:gd name="connsiteX21" fmla="*/ 113937 w 402651"/>
                <a:gd name="connsiteY21" fmla="*/ 2698 h 508959"/>
                <a:gd name="connsiteX22" fmla="*/ 120574 w 402651"/>
                <a:gd name="connsiteY22" fmla="*/ 17811 h 508959"/>
                <a:gd name="connsiteX23" fmla="*/ 131082 w 402651"/>
                <a:gd name="connsiteY23" fmla="*/ 25367 h 508959"/>
                <a:gd name="connsiteX24" fmla="*/ 152653 w 402651"/>
                <a:gd name="connsiteY24" fmla="*/ 34002 h 508959"/>
                <a:gd name="connsiteX25" fmla="*/ 156525 w 402651"/>
                <a:gd name="connsiteY25" fmla="*/ 38860 h 508959"/>
                <a:gd name="connsiteX26" fmla="*/ 162609 w 402651"/>
                <a:gd name="connsiteY26" fmla="*/ 39939 h 508959"/>
                <a:gd name="connsiteX27" fmla="*/ 163162 w 402651"/>
                <a:gd name="connsiteY27" fmla="*/ 56131 h 508959"/>
                <a:gd name="connsiteX28" fmla="*/ 167033 w 402651"/>
                <a:gd name="connsiteY28" fmla="*/ 67465 h 508959"/>
                <a:gd name="connsiteX29" fmla="*/ 180308 w 402651"/>
                <a:gd name="connsiteY29" fmla="*/ 77180 h 508959"/>
                <a:gd name="connsiteX30" fmla="*/ 200772 w 402651"/>
                <a:gd name="connsiteY30" fmla="*/ 84736 h 508959"/>
                <a:gd name="connsiteX31" fmla="*/ 228980 w 402651"/>
                <a:gd name="connsiteY31" fmla="*/ 102547 h 508959"/>
                <a:gd name="connsiteX32" fmla="*/ 235064 w 402651"/>
                <a:gd name="connsiteY32" fmla="*/ 141947 h 508959"/>
                <a:gd name="connsiteX33" fmla="*/ 253316 w 402651"/>
                <a:gd name="connsiteY33" fmla="*/ 149503 h 508959"/>
                <a:gd name="connsiteX34" fmla="*/ 283736 w 402651"/>
                <a:gd name="connsiteY34" fmla="*/ 154900 h 508959"/>
                <a:gd name="connsiteX35" fmla="*/ 293138 w 402651"/>
                <a:gd name="connsiteY35" fmla="*/ 162996 h 508959"/>
                <a:gd name="connsiteX36" fmla="*/ 323005 w 402651"/>
                <a:gd name="connsiteY36" fmla="*/ 135470 h 508959"/>
                <a:gd name="connsiteX37" fmla="*/ 335173 w 402651"/>
                <a:gd name="connsiteY37" fmla="*/ 139248 h 508959"/>
                <a:gd name="connsiteX38" fmla="*/ 337939 w 402651"/>
                <a:gd name="connsiteY38" fmla="*/ 148963 h 508959"/>
                <a:gd name="connsiteX39" fmla="*/ 329642 w 402651"/>
                <a:gd name="connsiteY39" fmla="*/ 153281 h 508959"/>
                <a:gd name="connsiteX40" fmla="*/ 327430 w 402651"/>
                <a:gd name="connsiteY40" fmla="*/ 164076 h 508959"/>
                <a:gd name="connsiteX41" fmla="*/ 342364 w 402651"/>
                <a:gd name="connsiteY41" fmla="*/ 180807 h 508959"/>
                <a:gd name="connsiteX42" fmla="*/ 346235 w 402651"/>
                <a:gd name="connsiteY42" fmla="*/ 191062 h 508959"/>
                <a:gd name="connsiteX43" fmla="*/ 346235 w 402651"/>
                <a:gd name="connsiteY43" fmla="*/ 207254 h 508959"/>
                <a:gd name="connsiteX44" fmla="*/ 334067 w 402651"/>
                <a:gd name="connsiteY44" fmla="*/ 218588 h 508959"/>
                <a:gd name="connsiteX45" fmla="*/ 332961 w 402651"/>
                <a:gd name="connsiteY45" fmla="*/ 245034 h 508959"/>
                <a:gd name="connsiteX46" fmla="*/ 346788 w 402651"/>
                <a:gd name="connsiteY46" fmla="*/ 254749 h 508959"/>
                <a:gd name="connsiteX47" fmla="*/ 356744 w 402651"/>
                <a:gd name="connsiteY47" fmla="*/ 279576 h 508959"/>
                <a:gd name="connsiteX48" fmla="*/ 378315 w 402651"/>
                <a:gd name="connsiteY48" fmla="*/ 283894 h 508959"/>
                <a:gd name="connsiteX49" fmla="*/ 384399 w 402651"/>
                <a:gd name="connsiteY49" fmla="*/ 294689 h 508959"/>
                <a:gd name="connsiteX50" fmla="*/ 402651 w 402651"/>
                <a:gd name="connsiteY50" fmla="*/ 302785 h 508959"/>
                <a:gd name="connsiteX51" fmla="*/ 377761 w 402651"/>
                <a:gd name="connsiteY51" fmla="*/ 343264 h 508959"/>
                <a:gd name="connsiteX52" fmla="*/ 368359 w 402651"/>
                <a:gd name="connsiteY52" fmla="*/ 344883 h 508959"/>
                <a:gd name="connsiteX53" fmla="*/ 361722 w 402651"/>
                <a:gd name="connsiteY53" fmla="*/ 351899 h 508959"/>
                <a:gd name="connsiteX54" fmla="*/ 365593 w 402651"/>
                <a:gd name="connsiteY54" fmla="*/ 363234 h 508959"/>
                <a:gd name="connsiteX55" fmla="*/ 365040 w 402651"/>
                <a:gd name="connsiteY55" fmla="*/ 384283 h 508959"/>
                <a:gd name="connsiteX56" fmla="*/ 377761 w 402651"/>
                <a:gd name="connsiteY56" fmla="*/ 397236 h 508959"/>
                <a:gd name="connsiteX57" fmla="*/ 369465 w 402651"/>
                <a:gd name="connsiteY57" fmla="*/ 413968 h 508959"/>
                <a:gd name="connsiteX58" fmla="*/ 367253 w 402651"/>
                <a:gd name="connsiteY58" fmla="*/ 415587 h 508959"/>
                <a:gd name="connsiteX59" fmla="*/ 359509 w 402651"/>
                <a:gd name="connsiteY59" fmla="*/ 413968 h 508959"/>
                <a:gd name="connsiteX60" fmla="*/ 338492 w 402651"/>
                <a:gd name="connsiteY60" fmla="*/ 424222 h 508959"/>
                <a:gd name="connsiteX61" fmla="*/ 311390 w 402651"/>
                <a:gd name="connsiteY61" fmla="*/ 420984 h 508959"/>
                <a:gd name="connsiteX62" fmla="*/ 299222 w 402651"/>
                <a:gd name="connsiteY62" fmla="*/ 426381 h 508959"/>
                <a:gd name="connsiteX63" fmla="*/ 295594 w 402651"/>
                <a:gd name="connsiteY63" fmla="*/ 411883 h 508959"/>
                <a:gd name="connsiteX64" fmla="*/ 269909 w 402651"/>
                <a:gd name="connsiteY64" fmla="*/ 460923 h 508959"/>
                <a:gd name="connsiteX65" fmla="*/ 292976 w 402651"/>
                <a:gd name="connsiteY65" fmla="*/ 397414 h 508959"/>
                <a:gd name="connsiteX66" fmla="*/ 300029 w 402651"/>
                <a:gd name="connsiteY66" fmla="*/ 384146 h 508959"/>
                <a:gd name="connsiteX67" fmla="*/ 283216 w 402651"/>
                <a:gd name="connsiteY67" fmla="*/ 386506 h 508959"/>
                <a:gd name="connsiteX68" fmla="*/ 268836 w 402651"/>
                <a:gd name="connsiteY68" fmla="*/ 390824 h 508959"/>
                <a:gd name="connsiteX69" fmla="*/ 214599 w 402651"/>
                <a:gd name="connsiteY69" fmla="*/ 508959 h 508959"/>
                <a:gd name="connsiteX70" fmla="*/ 220683 w 402651"/>
                <a:gd name="connsiteY70" fmla="*/ 486830 h 508959"/>
                <a:gd name="connsiteX71" fmla="*/ 200219 w 402651"/>
                <a:gd name="connsiteY71" fmla="*/ 456066 h 508959"/>
                <a:gd name="connsiteX72" fmla="*/ 188604 w 402651"/>
                <a:gd name="connsiteY72" fmla="*/ 449589 h 508959"/>
                <a:gd name="connsiteX73" fmla="*/ 179201 w 402651"/>
                <a:gd name="connsiteY73" fmla="*/ 446891 h 508959"/>
                <a:gd name="connsiteX74" fmla="*/ 169799 w 402651"/>
                <a:gd name="connsiteY74" fmla="*/ 426921 h 508959"/>
                <a:gd name="connsiteX75" fmla="*/ 158737 w 402651"/>
                <a:gd name="connsiteY75" fmla="*/ 424762 h 508959"/>
                <a:gd name="connsiteX76" fmla="*/ 150441 w 402651"/>
                <a:gd name="connsiteY76" fmla="*/ 429080 h 508959"/>
                <a:gd name="connsiteX77" fmla="*/ 153451 w 402651"/>
                <a:gd name="connsiteY77" fmla="*/ 419362 h 508959"/>
                <a:gd name="connsiteX78" fmla="*/ 161376 w 402651"/>
                <a:gd name="connsiteY78" fmla="*/ 413968 h 508959"/>
                <a:gd name="connsiteX79" fmla="*/ 152316 w 402651"/>
                <a:gd name="connsiteY79" fmla="*/ 401889 h 508959"/>
                <a:gd name="connsiteX80" fmla="*/ 158447 w 402651"/>
                <a:gd name="connsiteY80" fmla="*/ 399038 h 508959"/>
                <a:gd name="connsiteX81" fmla="*/ 166960 w 402651"/>
                <a:gd name="connsiteY81" fmla="*/ 394540 h 508959"/>
                <a:gd name="connsiteX82" fmla="*/ 181901 w 402651"/>
                <a:gd name="connsiteY82" fmla="*/ 391815 h 508959"/>
                <a:gd name="connsiteX83" fmla="*/ 178026 w 402651"/>
                <a:gd name="connsiteY83" fmla="*/ 385621 h 508959"/>
                <a:gd name="connsiteX84" fmla="*/ 166262 w 402651"/>
                <a:gd name="connsiteY84" fmla="*/ 378348 h 508959"/>
                <a:gd name="connsiteX85" fmla="*/ 158241 w 402651"/>
                <a:gd name="connsiteY85" fmla="*/ 381379 h 508959"/>
                <a:gd name="connsiteX86" fmla="*/ 142748 w 402651"/>
                <a:gd name="connsiteY86" fmla="*/ 368966 h 508959"/>
                <a:gd name="connsiteX87" fmla="*/ 136657 w 402651"/>
                <a:gd name="connsiteY87" fmla="*/ 366344 h 508959"/>
                <a:gd name="connsiteX88" fmla="*/ 121170 w 402651"/>
                <a:gd name="connsiteY88" fmla="*/ 359789 h 508959"/>
                <a:gd name="connsiteX89" fmla="*/ 111420 w 402651"/>
                <a:gd name="connsiteY89" fmla="*/ 360097 h 508959"/>
                <a:gd name="connsiteX90" fmla="*/ 101877 w 402651"/>
                <a:gd name="connsiteY90" fmla="*/ 345756 h 508959"/>
                <a:gd name="connsiteX91" fmla="*/ 81531 w 402651"/>
                <a:gd name="connsiteY91" fmla="*/ 336580 h 508959"/>
                <a:gd name="connsiteX92" fmla="*/ 65818 w 402651"/>
                <a:gd name="connsiteY92" fmla="*/ 324913 h 508959"/>
                <a:gd name="connsiteX93" fmla="*/ 68583 w 402651"/>
                <a:gd name="connsiteY93" fmla="*/ 321135 h 508959"/>
                <a:gd name="connsiteX94" fmla="*/ 46459 w 402651"/>
                <a:gd name="connsiteY94" fmla="*/ 304404 h 508959"/>
                <a:gd name="connsiteX95" fmla="*/ 69136 w 402651"/>
                <a:gd name="connsiteY95" fmla="*/ 294689 h 508959"/>
                <a:gd name="connsiteX96" fmla="*/ 58074 w 402651"/>
                <a:gd name="connsiteY96" fmla="*/ 283894 h 508959"/>
                <a:gd name="connsiteX0" fmla="*/ 58074 w 402651"/>
                <a:gd name="connsiteY0" fmla="*/ 283894 h 486830"/>
                <a:gd name="connsiteX1" fmla="*/ 51990 w 402651"/>
                <a:gd name="connsiteY1" fmla="*/ 261226 h 486830"/>
                <a:gd name="connsiteX2" fmla="*/ 56415 w 402651"/>
                <a:gd name="connsiteY2" fmla="*/ 258527 h 486830"/>
                <a:gd name="connsiteX3" fmla="*/ 68030 w 402651"/>
                <a:gd name="connsiteY3" fmla="*/ 264464 h 486830"/>
                <a:gd name="connsiteX4" fmla="*/ 71902 w 402651"/>
                <a:gd name="connsiteY4" fmla="*/ 265544 h 486830"/>
                <a:gd name="connsiteX5" fmla="*/ 81857 w 402651"/>
                <a:gd name="connsiteY5" fmla="*/ 251511 h 486830"/>
                <a:gd name="connsiteX6" fmla="*/ 79645 w 402651"/>
                <a:gd name="connsiteY6" fmla="*/ 241256 h 486830"/>
                <a:gd name="connsiteX7" fmla="*/ 44800 w 402651"/>
                <a:gd name="connsiteY7" fmla="*/ 218048 h 486830"/>
                <a:gd name="connsiteX8" fmla="*/ 41481 w 402651"/>
                <a:gd name="connsiteY8" fmla="*/ 212111 h 486830"/>
                <a:gd name="connsiteX9" fmla="*/ 51990 w 402651"/>
                <a:gd name="connsiteY9" fmla="*/ 155440 h 486830"/>
                <a:gd name="connsiteX10" fmla="*/ 38716 w 402651"/>
                <a:gd name="connsiteY10" fmla="*/ 140328 h 486830"/>
                <a:gd name="connsiteX11" fmla="*/ 44800 w 402651"/>
                <a:gd name="connsiteY11" fmla="*/ 113342 h 486830"/>
                <a:gd name="connsiteX12" fmla="*/ 25442 w 402651"/>
                <a:gd name="connsiteY12" fmla="*/ 106325 h 486830"/>
                <a:gd name="connsiteX13" fmla="*/ 13827 w 402651"/>
                <a:gd name="connsiteY13" fmla="*/ 86355 h 486830"/>
                <a:gd name="connsiteX14" fmla="*/ 2212 w 402651"/>
                <a:gd name="connsiteY14" fmla="*/ 60449 h 486830"/>
                <a:gd name="connsiteX15" fmla="*/ 0 w 402651"/>
                <a:gd name="connsiteY15" fmla="*/ 48575 h 486830"/>
                <a:gd name="connsiteX16" fmla="*/ 14933 w 402651"/>
                <a:gd name="connsiteY16" fmla="*/ 31304 h 486830"/>
                <a:gd name="connsiteX17" fmla="*/ 29313 w 402651"/>
                <a:gd name="connsiteY17" fmla="*/ 29685 h 486830"/>
                <a:gd name="connsiteX18" fmla="*/ 57521 w 402651"/>
                <a:gd name="connsiteY18" fmla="*/ 2698 h 486830"/>
                <a:gd name="connsiteX19" fmla="*/ 74667 w 402651"/>
                <a:gd name="connsiteY19" fmla="*/ 6476 h 486830"/>
                <a:gd name="connsiteX20" fmla="*/ 95131 w 402651"/>
                <a:gd name="connsiteY20" fmla="*/ 0 h 486830"/>
                <a:gd name="connsiteX21" fmla="*/ 113937 w 402651"/>
                <a:gd name="connsiteY21" fmla="*/ 2698 h 486830"/>
                <a:gd name="connsiteX22" fmla="*/ 120574 w 402651"/>
                <a:gd name="connsiteY22" fmla="*/ 17811 h 486830"/>
                <a:gd name="connsiteX23" fmla="*/ 131082 w 402651"/>
                <a:gd name="connsiteY23" fmla="*/ 25367 h 486830"/>
                <a:gd name="connsiteX24" fmla="*/ 152653 w 402651"/>
                <a:gd name="connsiteY24" fmla="*/ 34002 h 486830"/>
                <a:gd name="connsiteX25" fmla="*/ 156525 w 402651"/>
                <a:gd name="connsiteY25" fmla="*/ 38860 h 486830"/>
                <a:gd name="connsiteX26" fmla="*/ 162609 w 402651"/>
                <a:gd name="connsiteY26" fmla="*/ 39939 h 486830"/>
                <a:gd name="connsiteX27" fmla="*/ 163162 w 402651"/>
                <a:gd name="connsiteY27" fmla="*/ 56131 h 486830"/>
                <a:gd name="connsiteX28" fmla="*/ 167033 w 402651"/>
                <a:gd name="connsiteY28" fmla="*/ 67465 h 486830"/>
                <a:gd name="connsiteX29" fmla="*/ 180308 w 402651"/>
                <a:gd name="connsiteY29" fmla="*/ 77180 h 486830"/>
                <a:gd name="connsiteX30" fmla="*/ 200772 w 402651"/>
                <a:gd name="connsiteY30" fmla="*/ 84736 h 486830"/>
                <a:gd name="connsiteX31" fmla="*/ 228980 w 402651"/>
                <a:gd name="connsiteY31" fmla="*/ 102547 h 486830"/>
                <a:gd name="connsiteX32" fmla="*/ 235064 w 402651"/>
                <a:gd name="connsiteY32" fmla="*/ 141947 h 486830"/>
                <a:gd name="connsiteX33" fmla="*/ 253316 w 402651"/>
                <a:gd name="connsiteY33" fmla="*/ 149503 h 486830"/>
                <a:gd name="connsiteX34" fmla="*/ 283736 w 402651"/>
                <a:gd name="connsiteY34" fmla="*/ 154900 h 486830"/>
                <a:gd name="connsiteX35" fmla="*/ 293138 w 402651"/>
                <a:gd name="connsiteY35" fmla="*/ 162996 h 486830"/>
                <a:gd name="connsiteX36" fmla="*/ 323005 w 402651"/>
                <a:gd name="connsiteY36" fmla="*/ 135470 h 486830"/>
                <a:gd name="connsiteX37" fmla="*/ 335173 w 402651"/>
                <a:gd name="connsiteY37" fmla="*/ 139248 h 486830"/>
                <a:gd name="connsiteX38" fmla="*/ 337939 w 402651"/>
                <a:gd name="connsiteY38" fmla="*/ 148963 h 486830"/>
                <a:gd name="connsiteX39" fmla="*/ 329642 w 402651"/>
                <a:gd name="connsiteY39" fmla="*/ 153281 h 486830"/>
                <a:gd name="connsiteX40" fmla="*/ 327430 w 402651"/>
                <a:gd name="connsiteY40" fmla="*/ 164076 h 486830"/>
                <a:gd name="connsiteX41" fmla="*/ 342364 w 402651"/>
                <a:gd name="connsiteY41" fmla="*/ 180807 h 486830"/>
                <a:gd name="connsiteX42" fmla="*/ 346235 w 402651"/>
                <a:gd name="connsiteY42" fmla="*/ 191062 h 486830"/>
                <a:gd name="connsiteX43" fmla="*/ 346235 w 402651"/>
                <a:gd name="connsiteY43" fmla="*/ 207254 h 486830"/>
                <a:gd name="connsiteX44" fmla="*/ 334067 w 402651"/>
                <a:gd name="connsiteY44" fmla="*/ 218588 h 486830"/>
                <a:gd name="connsiteX45" fmla="*/ 332961 w 402651"/>
                <a:gd name="connsiteY45" fmla="*/ 245034 h 486830"/>
                <a:gd name="connsiteX46" fmla="*/ 346788 w 402651"/>
                <a:gd name="connsiteY46" fmla="*/ 254749 h 486830"/>
                <a:gd name="connsiteX47" fmla="*/ 356744 w 402651"/>
                <a:gd name="connsiteY47" fmla="*/ 279576 h 486830"/>
                <a:gd name="connsiteX48" fmla="*/ 378315 w 402651"/>
                <a:gd name="connsiteY48" fmla="*/ 283894 h 486830"/>
                <a:gd name="connsiteX49" fmla="*/ 384399 w 402651"/>
                <a:gd name="connsiteY49" fmla="*/ 294689 h 486830"/>
                <a:gd name="connsiteX50" fmla="*/ 402651 w 402651"/>
                <a:gd name="connsiteY50" fmla="*/ 302785 h 486830"/>
                <a:gd name="connsiteX51" fmla="*/ 377761 w 402651"/>
                <a:gd name="connsiteY51" fmla="*/ 343264 h 486830"/>
                <a:gd name="connsiteX52" fmla="*/ 368359 w 402651"/>
                <a:gd name="connsiteY52" fmla="*/ 344883 h 486830"/>
                <a:gd name="connsiteX53" fmla="*/ 361722 w 402651"/>
                <a:gd name="connsiteY53" fmla="*/ 351899 h 486830"/>
                <a:gd name="connsiteX54" fmla="*/ 365593 w 402651"/>
                <a:gd name="connsiteY54" fmla="*/ 363234 h 486830"/>
                <a:gd name="connsiteX55" fmla="*/ 365040 w 402651"/>
                <a:gd name="connsiteY55" fmla="*/ 384283 h 486830"/>
                <a:gd name="connsiteX56" fmla="*/ 377761 w 402651"/>
                <a:gd name="connsiteY56" fmla="*/ 397236 h 486830"/>
                <a:gd name="connsiteX57" fmla="*/ 369465 w 402651"/>
                <a:gd name="connsiteY57" fmla="*/ 413968 h 486830"/>
                <a:gd name="connsiteX58" fmla="*/ 367253 w 402651"/>
                <a:gd name="connsiteY58" fmla="*/ 415587 h 486830"/>
                <a:gd name="connsiteX59" fmla="*/ 359509 w 402651"/>
                <a:gd name="connsiteY59" fmla="*/ 413968 h 486830"/>
                <a:gd name="connsiteX60" fmla="*/ 338492 w 402651"/>
                <a:gd name="connsiteY60" fmla="*/ 424222 h 486830"/>
                <a:gd name="connsiteX61" fmla="*/ 311390 w 402651"/>
                <a:gd name="connsiteY61" fmla="*/ 420984 h 486830"/>
                <a:gd name="connsiteX62" fmla="*/ 299222 w 402651"/>
                <a:gd name="connsiteY62" fmla="*/ 426381 h 486830"/>
                <a:gd name="connsiteX63" fmla="*/ 295594 w 402651"/>
                <a:gd name="connsiteY63" fmla="*/ 411883 h 486830"/>
                <a:gd name="connsiteX64" fmla="*/ 269909 w 402651"/>
                <a:gd name="connsiteY64" fmla="*/ 460923 h 486830"/>
                <a:gd name="connsiteX65" fmla="*/ 292976 w 402651"/>
                <a:gd name="connsiteY65" fmla="*/ 397414 h 486830"/>
                <a:gd name="connsiteX66" fmla="*/ 300029 w 402651"/>
                <a:gd name="connsiteY66" fmla="*/ 384146 h 486830"/>
                <a:gd name="connsiteX67" fmla="*/ 283216 w 402651"/>
                <a:gd name="connsiteY67" fmla="*/ 386506 h 486830"/>
                <a:gd name="connsiteX68" fmla="*/ 268836 w 402651"/>
                <a:gd name="connsiteY68" fmla="*/ 390824 h 486830"/>
                <a:gd name="connsiteX69" fmla="*/ 271333 w 402651"/>
                <a:gd name="connsiteY69" fmla="*/ 372795 h 486830"/>
                <a:gd name="connsiteX70" fmla="*/ 220683 w 402651"/>
                <a:gd name="connsiteY70" fmla="*/ 486830 h 486830"/>
                <a:gd name="connsiteX71" fmla="*/ 200219 w 402651"/>
                <a:gd name="connsiteY71" fmla="*/ 456066 h 486830"/>
                <a:gd name="connsiteX72" fmla="*/ 188604 w 402651"/>
                <a:gd name="connsiteY72" fmla="*/ 449589 h 486830"/>
                <a:gd name="connsiteX73" fmla="*/ 179201 w 402651"/>
                <a:gd name="connsiteY73" fmla="*/ 446891 h 486830"/>
                <a:gd name="connsiteX74" fmla="*/ 169799 w 402651"/>
                <a:gd name="connsiteY74" fmla="*/ 426921 h 486830"/>
                <a:gd name="connsiteX75" fmla="*/ 158737 w 402651"/>
                <a:gd name="connsiteY75" fmla="*/ 424762 h 486830"/>
                <a:gd name="connsiteX76" fmla="*/ 150441 w 402651"/>
                <a:gd name="connsiteY76" fmla="*/ 429080 h 486830"/>
                <a:gd name="connsiteX77" fmla="*/ 153451 w 402651"/>
                <a:gd name="connsiteY77" fmla="*/ 419362 h 486830"/>
                <a:gd name="connsiteX78" fmla="*/ 161376 w 402651"/>
                <a:gd name="connsiteY78" fmla="*/ 413968 h 486830"/>
                <a:gd name="connsiteX79" fmla="*/ 152316 w 402651"/>
                <a:gd name="connsiteY79" fmla="*/ 401889 h 486830"/>
                <a:gd name="connsiteX80" fmla="*/ 158447 w 402651"/>
                <a:gd name="connsiteY80" fmla="*/ 399038 h 486830"/>
                <a:gd name="connsiteX81" fmla="*/ 166960 w 402651"/>
                <a:gd name="connsiteY81" fmla="*/ 394540 h 486830"/>
                <a:gd name="connsiteX82" fmla="*/ 181901 w 402651"/>
                <a:gd name="connsiteY82" fmla="*/ 391815 h 486830"/>
                <a:gd name="connsiteX83" fmla="*/ 178026 w 402651"/>
                <a:gd name="connsiteY83" fmla="*/ 385621 h 486830"/>
                <a:gd name="connsiteX84" fmla="*/ 166262 w 402651"/>
                <a:gd name="connsiteY84" fmla="*/ 378348 h 486830"/>
                <a:gd name="connsiteX85" fmla="*/ 158241 w 402651"/>
                <a:gd name="connsiteY85" fmla="*/ 381379 h 486830"/>
                <a:gd name="connsiteX86" fmla="*/ 142748 w 402651"/>
                <a:gd name="connsiteY86" fmla="*/ 368966 h 486830"/>
                <a:gd name="connsiteX87" fmla="*/ 136657 w 402651"/>
                <a:gd name="connsiteY87" fmla="*/ 366344 h 486830"/>
                <a:gd name="connsiteX88" fmla="*/ 121170 w 402651"/>
                <a:gd name="connsiteY88" fmla="*/ 359789 h 486830"/>
                <a:gd name="connsiteX89" fmla="*/ 111420 w 402651"/>
                <a:gd name="connsiteY89" fmla="*/ 360097 h 486830"/>
                <a:gd name="connsiteX90" fmla="*/ 101877 w 402651"/>
                <a:gd name="connsiteY90" fmla="*/ 345756 h 486830"/>
                <a:gd name="connsiteX91" fmla="*/ 81531 w 402651"/>
                <a:gd name="connsiteY91" fmla="*/ 336580 h 486830"/>
                <a:gd name="connsiteX92" fmla="*/ 65818 w 402651"/>
                <a:gd name="connsiteY92" fmla="*/ 324913 h 486830"/>
                <a:gd name="connsiteX93" fmla="*/ 68583 w 402651"/>
                <a:gd name="connsiteY93" fmla="*/ 321135 h 486830"/>
                <a:gd name="connsiteX94" fmla="*/ 46459 w 402651"/>
                <a:gd name="connsiteY94" fmla="*/ 304404 h 486830"/>
                <a:gd name="connsiteX95" fmla="*/ 69136 w 402651"/>
                <a:gd name="connsiteY95" fmla="*/ 294689 h 486830"/>
                <a:gd name="connsiteX96" fmla="*/ 58074 w 402651"/>
                <a:gd name="connsiteY96" fmla="*/ 283894 h 486830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00219 w 402651"/>
                <a:gd name="connsiteY71" fmla="*/ 456066 h 460923"/>
                <a:gd name="connsiteX72" fmla="*/ 188604 w 402651"/>
                <a:gd name="connsiteY72" fmla="*/ 449589 h 460923"/>
                <a:gd name="connsiteX73" fmla="*/ 179201 w 402651"/>
                <a:gd name="connsiteY73" fmla="*/ 446891 h 460923"/>
                <a:gd name="connsiteX74" fmla="*/ 169799 w 402651"/>
                <a:gd name="connsiteY74" fmla="*/ 426921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61376 w 402651"/>
                <a:gd name="connsiteY78" fmla="*/ 413968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188604 w 402651"/>
                <a:gd name="connsiteY72" fmla="*/ 449589 h 460923"/>
                <a:gd name="connsiteX73" fmla="*/ 179201 w 402651"/>
                <a:gd name="connsiteY73" fmla="*/ 446891 h 460923"/>
                <a:gd name="connsiteX74" fmla="*/ 169799 w 402651"/>
                <a:gd name="connsiteY74" fmla="*/ 426921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61376 w 402651"/>
                <a:gd name="connsiteY78" fmla="*/ 413968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179201 w 402651"/>
                <a:gd name="connsiteY73" fmla="*/ 446891 h 460923"/>
                <a:gd name="connsiteX74" fmla="*/ 169799 w 402651"/>
                <a:gd name="connsiteY74" fmla="*/ 426921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61376 w 402651"/>
                <a:gd name="connsiteY78" fmla="*/ 413968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169799 w 402651"/>
                <a:gd name="connsiteY74" fmla="*/ 426921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61376 w 402651"/>
                <a:gd name="connsiteY78" fmla="*/ 413968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61376 w 402651"/>
                <a:gd name="connsiteY78" fmla="*/ 413968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58737 w 402651"/>
                <a:gd name="connsiteY75" fmla="*/ 424762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244468 w 402651"/>
                <a:gd name="connsiteY75" fmla="*/ 434756 h 460923"/>
                <a:gd name="connsiteX76" fmla="*/ 150441 w 402651"/>
                <a:gd name="connsiteY76" fmla="*/ 429080 h 460923"/>
                <a:gd name="connsiteX77" fmla="*/ 153451 w 402651"/>
                <a:gd name="connsiteY77" fmla="*/ 419362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244468 w 402651"/>
                <a:gd name="connsiteY75" fmla="*/ 434756 h 460923"/>
                <a:gd name="connsiteX76" fmla="*/ 217261 w 402651"/>
                <a:gd name="connsiteY76" fmla="*/ 430329 h 460923"/>
                <a:gd name="connsiteX77" fmla="*/ 153451 w 402651"/>
                <a:gd name="connsiteY77" fmla="*/ 419362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244468 w 402651"/>
                <a:gd name="connsiteY75" fmla="*/ 434756 h 460923"/>
                <a:gd name="connsiteX76" fmla="*/ 217261 w 402651"/>
                <a:gd name="connsiteY76" fmla="*/ 430329 h 460923"/>
                <a:gd name="connsiteX77" fmla="*/ 196317 w 402651"/>
                <a:gd name="connsiteY77" fmla="*/ 415614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17261 w 402651"/>
                <a:gd name="connsiteY76" fmla="*/ 430329 h 460923"/>
                <a:gd name="connsiteX77" fmla="*/ 196317 w 402651"/>
                <a:gd name="connsiteY77" fmla="*/ 415614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6317 w 402651"/>
                <a:gd name="connsiteY77" fmla="*/ 415614 h 460923"/>
                <a:gd name="connsiteX78" fmla="*/ 105903 w 402651"/>
                <a:gd name="connsiteY78" fmla="*/ 450195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6317 w 402651"/>
                <a:gd name="connsiteY77" fmla="*/ 415614 h 460923"/>
                <a:gd name="connsiteX78" fmla="*/ 205502 w 402651"/>
                <a:gd name="connsiteY78" fmla="*/ 457690 h 460923"/>
                <a:gd name="connsiteX79" fmla="*/ 152316 w 402651"/>
                <a:gd name="connsiteY79" fmla="*/ 401889 h 460923"/>
                <a:gd name="connsiteX80" fmla="*/ 158447 w 402651"/>
                <a:gd name="connsiteY80" fmla="*/ 399038 h 460923"/>
                <a:gd name="connsiteX81" fmla="*/ 166960 w 402651"/>
                <a:gd name="connsiteY81" fmla="*/ 394540 h 460923"/>
                <a:gd name="connsiteX82" fmla="*/ 181901 w 402651"/>
                <a:gd name="connsiteY82" fmla="*/ 391815 h 460923"/>
                <a:gd name="connsiteX83" fmla="*/ 178026 w 402651"/>
                <a:gd name="connsiteY83" fmla="*/ 385621 h 460923"/>
                <a:gd name="connsiteX84" fmla="*/ 166262 w 402651"/>
                <a:gd name="connsiteY84" fmla="*/ 378348 h 460923"/>
                <a:gd name="connsiteX85" fmla="*/ 158241 w 402651"/>
                <a:gd name="connsiteY85" fmla="*/ 381379 h 460923"/>
                <a:gd name="connsiteX86" fmla="*/ 142748 w 402651"/>
                <a:gd name="connsiteY86" fmla="*/ 368966 h 460923"/>
                <a:gd name="connsiteX87" fmla="*/ 136657 w 402651"/>
                <a:gd name="connsiteY87" fmla="*/ 366344 h 460923"/>
                <a:gd name="connsiteX88" fmla="*/ 121170 w 402651"/>
                <a:gd name="connsiteY88" fmla="*/ 359789 h 460923"/>
                <a:gd name="connsiteX89" fmla="*/ 111420 w 402651"/>
                <a:gd name="connsiteY89" fmla="*/ 360097 h 460923"/>
                <a:gd name="connsiteX90" fmla="*/ 101877 w 402651"/>
                <a:gd name="connsiteY90" fmla="*/ 345756 h 460923"/>
                <a:gd name="connsiteX91" fmla="*/ 81531 w 402651"/>
                <a:gd name="connsiteY91" fmla="*/ 336580 h 460923"/>
                <a:gd name="connsiteX92" fmla="*/ 65818 w 402651"/>
                <a:gd name="connsiteY92" fmla="*/ 324913 h 460923"/>
                <a:gd name="connsiteX93" fmla="*/ 68583 w 402651"/>
                <a:gd name="connsiteY93" fmla="*/ 321135 h 460923"/>
                <a:gd name="connsiteX94" fmla="*/ 46459 w 402651"/>
                <a:gd name="connsiteY94" fmla="*/ 304404 h 460923"/>
                <a:gd name="connsiteX95" fmla="*/ 69136 w 402651"/>
                <a:gd name="connsiteY95" fmla="*/ 294689 h 460923"/>
                <a:gd name="connsiteX96" fmla="*/ 58074 w 402651"/>
                <a:gd name="connsiteY96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6317 w 402651"/>
                <a:gd name="connsiteY77" fmla="*/ 415614 h 460923"/>
                <a:gd name="connsiteX78" fmla="*/ 205502 w 402651"/>
                <a:gd name="connsiteY78" fmla="*/ 457690 h 460923"/>
                <a:gd name="connsiteX79" fmla="*/ 158447 w 402651"/>
                <a:gd name="connsiteY79" fmla="*/ 399038 h 460923"/>
                <a:gd name="connsiteX80" fmla="*/ 166960 w 402651"/>
                <a:gd name="connsiteY80" fmla="*/ 394540 h 460923"/>
                <a:gd name="connsiteX81" fmla="*/ 181901 w 402651"/>
                <a:gd name="connsiteY81" fmla="*/ 391815 h 460923"/>
                <a:gd name="connsiteX82" fmla="*/ 178026 w 402651"/>
                <a:gd name="connsiteY82" fmla="*/ 385621 h 460923"/>
                <a:gd name="connsiteX83" fmla="*/ 166262 w 402651"/>
                <a:gd name="connsiteY83" fmla="*/ 378348 h 460923"/>
                <a:gd name="connsiteX84" fmla="*/ 158241 w 402651"/>
                <a:gd name="connsiteY84" fmla="*/ 381379 h 460923"/>
                <a:gd name="connsiteX85" fmla="*/ 142748 w 402651"/>
                <a:gd name="connsiteY85" fmla="*/ 368966 h 460923"/>
                <a:gd name="connsiteX86" fmla="*/ 136657 w 402651"/>
                <a:gd name="connsiteY86" fmla="*/ 366344 h 460923"/>
                <a:gd name="connsiteX87" fmla="*/ 121170 w 402651"/>
                <a:gd name="connsiteY87" fmla="*/ 359789 h 460923"/>
                <a:gd name="connsiteX88" fmla="*/ 111420 w 402651"/>
                <a:gd name="connsiteY88" fmla="*/ 360097 h 460923"/>
                <a:gd name="connsiteX89" fmla="*/ 101877 w 402651"/>
                <a:gd name="connsiteY89" fmla="*/ 345756 h 460923"/>
                <a:gd name="connsiteX90" fmla="*/ 81531 w 402651"/>
                <a:gd name="connsiteY90" fmla="*/ 336580 h 460923"/>
                <a:gd name="connsiteX91" fmla="*/ 65818 w 402651"/>
                <a:gd name="connsiteY91" fmla="*/ 324913 h 460923"/>
                <a:gd name="connsiteX92" fmla="*/ 68583 w 402651"/>
                <a:gd name="connsiteY92" fmla="*/ 321135 h 460923"/>
                <a:gd name="connsiteX93" fmla="*/ 46459 w 402651"/>
                <a:gd name="connsiteY93" fmla="*/ 304404 h 460923"/>
                <a:gd name="connsiteX94" fmla="*/ 69136 w 402651"/>
                <a:gd name="connsiteY94" fmla="*/ 294689 h 460923"/>
                <a:gd name="connsiteX95" fmla="*/ 58074 w 402651"/>
                <a:gd name="connsiteY95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6317 w 402651"/>
                <a:gd name="connsiteY77" fmla="*/ 415614 h 460923"/>
                <a:gd name="connsiteX78" fmla="*/ 205502 w 402651"/>
                <a:gd name="connsiteY78" fmla="*/ 457690 h 460923"/>
                <a:gd name="connsiteX79" fmla="*/ 158447 w 402651"/>
                <a:gd name="connsiteY79" fmla="*/ 399038 h 460923"/>
                <a:gd name="connsiteX80" fmla="*/ 181901 w 402651"/>
                <a:gd name="connsiteY80" fmla="*/ 391815 h 460923"/>
                <a:gd name="connsiteX81" fmla="*/ 178026 w 402651"/>
                <a:gd name="connsiteY81" fmla="*/ 385621 h 460923"/>
                <a:gd name="connsiteX82" fmla="*/ 166262 w 402651"/>
                <a:gd name="connsiteY82" fmla="*/ 378348 h 460923"/>
                <a:gd name="connsiteX83" fmla="*/ 158241 w 402651"/>
                <a:gd name="connsiteY83" fmla="*/ 381379 h 460923"/>
                <a:gd name="connsiteX84" fmla="*/ 142748 w 402651"/>
                <a:gd name="connsiteY84" fmla="*/ 368966 h 460923"/>
                <a:gd name="connsiteX85" fmla="*/ 136657 w 402651"/>
                <a:gd name="connsiteY85" fmla="*/ 366344 h 460923"/>
                <a:gd name="connsiteX86" fmla="*/ 121170 w 402651"/>
                <a:gd name="connsiteY86" fmla="*/ 359789 h 460923"/>
                <a:gd name="connsiteX87" fmla="*/ 111420 w 402651"/>
                <a:gd name="connsiteY87" fmla="*/ 360097 h 460923"/>
                <a:gd name="connsiteX88" fmla="*/ 101877 w 402651"/>
                <a:gd name="connsiteY88" fmla="*/ 345756 h 460923"/>
                <a:gd name="connsiteX89" fmla="*/ 81531 w 402651"/>
                <a:gd name="connsiteY89" fmla="*/ 336580 h 460923"/>
                <a:gd name="connsiteX90" fmla="*/ 65818 w 402651"/>
                <a:gd name="connsiteY90" fmla="*/ 324913 h 460923"/>
                <a:gd name="connsiteX91" fmla="*/ 68583 w 402651"/>
                <a:gd name="connsiteY91" fmla="*/ 321135 h 460923"/>
                <a:gd name="connsiteX92" fmla="*/ 46459 w 402651"/>
                <a:gd name="connsiteY92" fmla="*/ 304404 h 460923"/>
                <a:gd name="connsiteX93" fmla="*/ 69136 w 402651"/>
                <a:gd name="connsiteY93" fmla="*/ 294689 h 460923"/>
                <a:gd name="connsiteX94" fmla="*/ 58074 w 402651"/>
                <a:gd name="connsiteY94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6317 w 402651"/>
                <a:gd name="connsiteY77" fmla="*/ 415614 h 460923"/>
                <a:gd name="connsiteX78" fmla="*/ 205502 w 402651"/>
                <a:gd name="connsiteY78" fmla="*/ 457690 h 460923"/>
                <a:gd name="connsiteX79" fmla="*/ 181901 w 402651"/>
                <a:gd name="connsiteY79" fmla="*/ 391815 h 460923"/>
                <a:gd name="connsiteX80" fmla="*/ 178026 w 402651"/>
                <a:gd name="connsiteY80" fmla="*/ 385621 h 460923"/>
                <a:gd name="connsiteX81" fmla="*/ 166262 w 402651"/>
                <a:gd name="connsiteY81" fmla="*/ 378348 h 460923"/>
                <a:gd name="connsiteX82" fmla="*/ 158241 w 402651"/>
                <a:gd name="connsiteY82" fmla="*/ 381379 h 460923"/>
                <a:gd name="connsiteX83" fmla="*/ 142748 w 402651"/>
                <a:gd name="connsiteY83" fmla="*/ 368966 h 460923"/>
                <a:gd name="connsiteX84" fmla="*/ 136657 w 402651"/>
                <a:gd name="connsiteY84" fmla="*/ 366344 h 460923"/>
                <a:gd name="connsiteX85" fmla="*/ 121170 w 402651"/>
                <a:gd name="connsiteY85" fmla="*/ 359789 h 460923"/>
                <a:gd name="connsiteX86" fmla="*/ 111420 w 402651"/>
                <a:gd name="connsiteY86" fmla="*/ 360097 h 460923"/>
                <a:gd name="connsiteX87" fmla="*/ 101877 w 402651"/>
                <a:gd name="connsiteY87" fmla="*/ 345756 h 460923"/>
                <a:gd name="connsiteX88" fmla="*/ 81531 w 402651"/>
                <a:gd name="connsiteY88" fmla="*/ 336580 h 460923"/>
                <a:gd name="connsiteX89" fmla="*/ 65818 w 402651"/>
                <a:gd name="connsiteY89" fmla="*/ 324913 h 460923"/>
                <a:gd name="connsiteX90" fmla="*/ 68583 w 402651"/>
                <a:gd name="connsiteY90" fmla="*/ 321135 h 460923"/>
                <a:gd name="connsiteX91" fmla="*/ 46459 w 402651"/>
                <a:gd name="connsiteY91" fmla="*/ 304404 h 460923"/>
                <a:gd name="connsiteX92" fmla="*/ 69136 w 402651"/>
                <a:gd name="connsiteY92" fmla="*/ 294689 h 460923"/>
                <a:gd name="connsiteX93" fmla="*/ 58074 w 402651"/>
                <a:gd name="connsiteY93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86231 w 402651"/>
                <a:gd name="connsiteY77" fmla="*/ 378138 h 460923"/>
                <a:gd name="connsiteX78" fmla="*/ 205502 w 402651"/>
                <a:gd name="connsiteY78" fmla="*/ 457690 h 460923"/>
                <a:gd name="connsiteX79" fmla="*/ 181901 w 402651"/>
                <a:gd name="connsiteY79" fmla="*/ 391815 h 460923"/>
                <a:gd name="connsiteX80" fmla="*/ 178026 w 402651"/>
                <a:gd name="connsiteY80" fmla="*/ 385621 h 460923"/>
                <a:gd name="connsiteX81" fmla="*/ 166262 w 402651"/>
                <a:gd name="connsiteY81" fmla="*/ 378348 h 460923"/>
                <a:gd name="connsiteX82" fmla="*/ 158241 w 402651"/>
                <a:gd name="connsiteY82" fmla="*/ 381379 h 460923"/>
                <a:gd name="connsiteX83" fmla="*/ 142748 w 402651"/>
                <a:gd name="connsiteY83" fmla="*/ 368966 h 460923"/>
                <a:gd name="connsiteX84" fmla="*/ 136657 w 402651"/>
                <a:gd name="connsiteY84" fmla="*/ 366344 h 460923"/>
                <a:gd name="connsiteX85" fmla="*/ 121170 w 402651"/>
                <a:gd name="connsiteY85" fmla="*/ 359789 h 460923"/>
                <a:gd name="connsiteX86" fmla="*/ 111420 w 402651"/>
                <a:gd name="connsiteY86" fmla="*/ 360097 h 460923"/>
                <a:gd name="connsiteX87" fmla="*/ 101877 w 402651"/>
                <a:gd name="connsiteY87" fmla="*/ 345756 h 460923"/>
                <a:gd name="connsiteX88" fmla="*/ 81531 w 402651"/>
                <a:gd name="connsiteY88" fmla="*/ 336580 h 460923"/>
                <a:gd name="connsiteX89" fmla="*/ 65818 w 402651"/>
                <a:gd name="connsiteY89" fmla="*/ 324913 h 460923"/>
                <a:gd name="connsiteX90" fmla="*/ 68583 w 402651"/>
                <a:gd name="connsiteY90" fmla="*/ 321135 h 460923"/>
                <a:gd name="connsiteX91" fmla="*/ 46459 w 402651"/>
                <a:gd name="connsiteY91" fmla="*/ 304404 h 460923"/>
                <a:gd name="connsiteX92" fmla="*/ 69136 w 402651"/>
                <a:gd name="connsiteY92" fmla="*/ 294689 h 460923"/>
                <a:gd name="connsiteX93" fmla="*/ 58074 w 402651"/>
                <a:gd name="connsiteY93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86231 w 402651"/>
                <a:gd name="connsiteY77" fmla="*/ 378138 h 460923"/>
                <a:gd name="connsiteX78" fmla="*/ 192895 w 402651"/>
                <a:gd name="connsiteY78" fmla="*/ 392731 h 460923"/>
                <a:gd name="connsiteX79" fmla="*/ 181901 w 402651"/>
                <a:gd name="connsiteY79" fmla="*/ 391815 h 460923"/>
                <a:gd name="connsiteX80" fmla="*/ 178026 w 402651"/>
                <a:gd name="connsiteY80" fmla="*/ 385621 h 460923"/>
                <a:gd name="connsiteX81" fmla="*/ 166262 w 402651"/>
                <a:gd name="connsiteY81" fmla="*/ 378348 h 460923"/>
                <a:gd name="connsiteX82" fmla="*/ 158241 w 402651"/>
                <a:gd name="connsiteY82" fmla="*/ 381379 h 460923"/>
                <a:gd name="connsiteX83" fmla="*/ 142748 w 402651"/>
                <a:gd name="connsiteY83" fmla="*/ 368966 h 460923"/>
                <a:gd name="connsiteX84" fmla="*/ 136657 w 402651"/>
                <a:gd name="connsiteY84" fmla="*/ 366344 h 460923"/>
                <a:gd name="connsiteX85" fmla="*/ 121170 w 402651"/>
                <a:gd name="connsiteY85" fmla="*/ 359789 h 460923"/>
                <a:gd name="connsiteX86" fmla="*/ 111420 w 402651"/>
                <a:gd name="connsiteY86" fmla="*/ 360097 h 460923"/>
                <a:gd name="connsiteX87" fmla="*/ 101877 w 402651"/>
                <a:gd name="connsiteY87" fmla="*/ 345756 h 460923"/>
                <a:gd name="connsiteX88" fmla="*/ 81531 w 402651"/>
                <a:gd name="connsiteY88" fmla="*/ 336580 h 460923"/>
                <a:gd name="connsiteX89" fmla="*/ 65818 w 402651"/>
                <a:gd name="connsiteY89" fmla="*/ 324913 h 460923"/>
                <a:gd name="connsiteX90" fmla="*/ 68583 w 402651"/>
                <a:gd name="connsiteY90" fmla="*/ 321135 h 460923"/>
                <a:gd name="connsiteX91" fmla="*/ 46459 w 402651"/>
                <a:gd name="connsiteY91" fmla="*/ 304404 h 460923"/>
                <a:gd name="connsiteX92" fmla="*/ 69136 w 402651"/>
                <a:gd name="connsiteY92" fmla="*/ 294689 h 460923"/>
                <a:gd name="connsiteX93" fmla="*/ 58074 w 402651"/>
                <a:gd name="connsiteY93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0014 w 402651"/>
                <a:gd name="connsiteY77" fmla="*/ 376889 h 460923"/>
                <a:gd name="connsiteX78" fmla="*/ 192895 w 402651"/>
                <a:gd name="connsiteY78" fmla="*/ 392731 h 460923"/>
                <a:gd name="connsiteX79" fmla="*/ 181901 w 402651"/>
                <a:gd name="connsiteY79" fmla="*/ 391815 h 460923"/>
                <a:gd name="connsiteX80" fmla="*/ 178026 w 402651"/>
                <a:gd name="connsiteY80" fmla="*/ 385621 h 460923"/>
                <a:gd name="connsiteX81" fmla="*/ 166262 w 402651"/>
                <a:gd name="connsiteY81" fmla="*/ 378348 h 460923"/>
                <a:gd name="connsiteX82" fmla="*/ 158241 w 402651"/>
                <a:gd name="connsiteY82" fmla="*/ 381379 h 460923"/>
                <a:gd name="connsiteX83" fmla="*/ 142748 w 402651"/>
                <a:gd name="connsiteY83" fmla="*/ 368966 h 460923"/>
                <a:gd name="connsiteX84" fmla="*/ 136657 w 402651"/>
                <a:gd name="connsiteY84" fmla="*/ 366344 h 460923"/>
                <a:gd name="connsiteX85" fmla="*/ 121170 w 402651"/>
                <a:gd name="connsiteY85" fmla="*/ 359789 h 460923"/>
                <a:gd name="connsiteX86" fmla="*/ 111420 w 402651"/>
                <a:gd name="connsiteY86" fmla="*/ 360097 h 460923"/>
                <a:gd name="connsiteX87" fmla="*/ 101877 w 402651"/>
                <a:gd name="connsiteY87" fmla="*/ 345756 h 460923"/>
                <a:gd name="connsiteX88" fmla="*/ 81531 w 402651"/>
                <a:gd name="connsiteY88" fmla="*/ 336580 h 460923"/>
                <a:gd name="connsiteX89" fmla="*/ 65818 w 402651"/>
                <a:gd name="connsiteY89" fmla="*/ 324913 h 460923"/>
                <a:gd name="connsiteX90" fmla="*/ 68583 w 402651"/>
                <a:gd name="connsiteY90" fmla="*/ 321135 h 460923"/>
                <a:gd name="connsiteX91" fmla="*/ 46459 w 402651"/>
                <a:gd name="connsiteY91" fmla="*/ 304404 h 460923"/>
                <a:gd name="connsiteX92" fmla="*/ 69136 w 402651"/>
                <a:gd name="connsiteY92" fmla="*/ 294689 h 460923"/>
                <a:gd name="connsiteX93" fmla="*/ 58074 w 402651"/>
                <a:gd name="connsiteY93" fmla="*/ 283894 h 460923"/>
                <a:gd name="connsiteX0" fmla="*/ 58074 w 402651"/>
                <a:gd name="connsiteY0" fmla="*/ 283894 h 460923"/>
                <a:gd name="connsiteX1" fmla="*/ 51990 w 402651"/>
                <a:gd name="connsiteY1" fmla="*/ 261226 h 460923"/>
                <a:gd name="connsiteX2" fmla="*/ 56415 w 402651"/>
                <a:gd name="connsiteY2" fmla="*/ 258527 h 460923"/>
                <a:gd name="connsiteX3" fmla="*/ 68030 w 402651"/>
                <a:gd name="connsiteY3" fmla="*/ 264464 h 460923"/>
                <a:gd name="connsiteX4" fmla="*/ 71902 w 402651"/>
                <a:gd name="connsiteY4" fmla="*/ 265544 h 460923"/>
                <a:gd name="connsiteX5" fmla="*/ 81857 w 402651"/>
                <a:gd name="connsiteY5" fmla="*/ 251511 h 460923"/>
                <a:gd name="connsiteX6" fmla="*/ 79645 w 402651"/>
                <a:gd name="connsiteY6" fmla="*/ 241256 h 460923"/>
                <a:gd name="connsiteX7" fmla="*/ 44800 w 402651"/>
                <a:gd name="connsiteY7" fmla="*/ 218048 h 460923"/>
                <a:gd name="connsiteX8" fmla="*/ 41481 w 402651"/>
                <a:gd name="connsiteY8" fmla="*/ 212111 h 460923"/>
                <a:gd name="connsiteX9" fmla="*/ 51990 w 402651"/>
                <a:gd name="connsiteY9" fmla="*/ 155440 h 460923"/>
                <a:gd name="connsiteX10" fmla="*/ 38716 w 402651"/>
                <a:gd name="connsiteY10" fmla="*/ 140328 h 460923"/>
                <a:gd name="connsiteX11" fmla="*/ 44800 w 402651"/>
                <a:gd name="connsiteY11" fmla="*/ 113342 h 460923"/>
                <a:gd name="connsiteX12" fmla="*/ 25442 w 402651"/>
                <a:gd name="connsiteY12" fmla="*/ 106325 h 460923"/>
                <a:gd name="connsiteX13" fmla="*/ 13827 w 402651"/>
                <a:gd name="connsiteY13" fmla="*/ 86355 h 460923"/>
                <a:gd name="connsiteX14" fmla="*/ 2212 w 402651"/>
                <a:gd name="connsiteY14" fmla="*/ 60449 h 460923"/>
                <a:gd name="connsiteX15" fmla="*/ 0 w 402651"/>
                <a:gd name="connsiteY15" fmla="*/ 48575 h 460923"/>
                <a:gd name="connsiteX16" fmla="*/ 14933 w 402651"/>
                <a:gd name="connsiteY16" fmla="*/ 31304 h 460923"/>
                <a:gd name="connsiteX17" fmla="*/ 29313 w 402651"/>
                <a:gd name="connsiteY17" fmla="*/ 29685 h 460923"/>
                <a:gd name="connsiteX18" fmla="*/ 57521 w 402651"/>
                <a:gd name="connsiteY18" fmla="*/ 2698 h 460923"/>
                <a:gd name="connsiteX19" fmla="*/ 74667 w 402651"/>
                <a:gd name="connsiteY19" fmla="*/ 6476 h 460923"/>
                <a:gd name="connsiteX20" fmla="*/ 95131 w 402651"/>
                <a:gd name="connsiteY20" fmla="*/ 0 h 460923"/>
                <a:gd name="connsiteX21" fmla="*/ 113937 w 402651"/>
                <a:gd name="connsiteY21" fmla="*/ 2698 h 460923"/>
                <a:gd name="connsiteX22" fmla="*/ 120574 w 402651"/>
                <a:gd name="connsiteY22" fmla="*/ 17811 h 460923"/>
                <a:gd name="connsiteX23" fmla="*/ 131082 w 402651"/>
                <a:gd name="connsiteY23" fmla="*/ 25367 h 460923"/>
                <a:gd name="connsiteX24" fmla="*/ 152653 w 402651"/>
                <a:gd name="connsiteY24" fmla="*/ 34002 h 460923"/>
                <a:gd name="connsiteX25" fmla="*/ 156525 w 402651"/>
                <a:gd name="connsiteY25" fmla="*/ 38860 h 460923"/>
                <a:gd name="connsiteX26" fmla="*/ 162609 w 402651"/>
                <a:gd name="connsiteY26" fmla="*/ 39939 h 460923"/>
                <a:gd name="connsiteX27" fmla="*/ 163162 w 402651"/>
                <a:gd name="connsiteY27" fmla="*/ 56131 h 460923"/>
                <a:gd name="connsiteX28" fmla="*/ 167033 w 402651"/>
                <a:gd name="connsiteY28" fmla="*/ 67465 h 460923"/>
                <a:gd name="connsiteX29" fmla="*/ 180308 w 402651"/>
                <a:gd name="connsiteY29" fmla="*/ 77180 h 460923"/>
                <a:gd name="connsiteX30" fmla="*/ 200772 w 402651"/>
                <a:gd name="connsiteY30" fmla="*/ 84736 h 460923"/>
                <a:gd name="connsiteX31" fmla="*/ 228980 w 402651"/>
                <a:gd name="connsiteY31" fmla="*/ 102547 h 460923"/>
                <a:gd name="connsiteX32" fmla="*/ 235064 w 402651"/>
                <a:gd name="connsiteY32" fmla="*/ 141947 h 460923"/>
                <a:gd name="connsiteX33" fmla="*/ 253316 w 402651"/>
                <a:gd name="connsiteY33" fmla="*/ 149503 h 460923"/>
                <a:gd name="connsiteX34" fmla="*/ 283736 w 402651"/>
                <a:gd name="connsiteY34" fmla="*/ 154900 h 460923"/>
                <a:gd name="connsiteX35" fmla="*/ 293138 w 402651"/>
                <a:gd name="connsiteY35" fmla="*/ 162996 h 460923"/>
                <a:gd name="connsiteX36" fmla="*/ 323005 w 402651"/>
                <a:gd name="connsiteY36" fmla="*/ 135470 h 460923"/>
                <a:gd name="connsiteX37" fmla="*/ 335173 w 402651"/>
                <a:gd name="connsiteY37" fmla="*/ 139248 h 460923"/>
                <a:gd name="connsiteX38" fmla="*/ 337939 w 402651"/>
                <a:gd name="connsiteY38" fmla="*/ 148963 h 460923"/>
                <a:gd name="connsiteX39" fmla="*/ 329642 w 402651"/>
                <a:gd name="connsiteY39" fmla="*/ 153281 h 460923"/>
                <a:gd name="connsiteX40" fmla="*/ 327430 w 402651"/>
                <a:gd name="connsiteY40" fmla="*/ 164076 h 460923"/>
                <a:gd name="connsiteX41" fmla="*/ 342364 w 402651"/>
                <a:gd name="connsiteY41" fmla="*/ 180807 h 460923"/>
                <a:gd name="connsiteX42" fmla="*/ 346235 w 402651"/>
                <a:gd name="connsiteY42" fmla="*/ 191062 h 460923"/>
                <a:gd name="connsiteX43" fmla="*/ 346235 w 402651"/>
                <a:gd name="connsiteY43" fmla="*/ 207254 h 460923"/>
                <a:gd name="connsiteX44" fmla="*/ 334067 w 402651"/>
                <a:gd name="connsiteY44" fmla="*/ 218588 h 460923"/>
                <a:gd name="connsiteX45" fmla="*/ 332961 w 402651"/>
                <a:gd name="connsiteY45" fmla="*/ 245034 h 460923"/>
                <a:gd name="connsiteX46" fmla="*/ 346788 w 402651"/>
                <a:gd name="connsiteY46" fmla="*/ 254749 h 460923"/>
                <a:gd name="connsiteX47" fmla="*/ 356744 w 402651"/>
                <a:gd name="connsiteY47" fmla="*/ 279576 h 460923"/>
                <a:gd name="connsiteX48" fmla="*/ 378315 w 402651"/>
                <a:gd name="connsiteY48" fmla="*/ 283894 h 460923"/>
                <a:gd name="connsiteX49" fmla="*/ 384399 w 402651"/>
                <a:gd name="connsiteY49" fmla="*/ 294689 h 460923"/>
                <a:gd name="connsiteX50" fmla="*/ 402651 w 402651"/>
                <a:gd name="connsiteY50" fmla="*/ 302785 h 460923"/>
                <a:gd name="connsiteX51" fmla="*/ 377761 w 402651"/>
                <a:gd name="connsiteY51" fmla="*/ 343264 h 460923"/>
                <a:gd name="connsiteX52" fmla="*/ 368359 w 402651"/>
                <a:gd name="connsiteY52" fmla="*/ 344883 h 460923"/>
                <a:gd name="connsiteX53" fmla="*/ 361722 w 402651"/>
                <a:gd name="connsiteY53" fmla="*/ 351899 h 460923"/>
                <a:gd name="connsiteX54" fmla="*/ 365593 w 402651"/>
                <a:gd name="connsiteY54" fmla="*/ 363234 h 460923"/>
                <a:gd name="connsiteX55" fmla="*/ 365040 w 402651"/>
                <a:gd name="connsiteY55" fmla="*/ 384283 h 460923"/>
                <a:gd name="connsiteX56" fmla="*/ 377761 w 402651"/>
                <a:gd name="connsiteY56" fmla="*/ 397236 h 460923"/>
                <a:gd name="connsiteX57" fmla="*/ 369465 w 402651"/>
                <a:gd name="connsiteY57" fmla="*/ 413968 h 460923"/>
                <a:gd name="connsiteX58" fmla="*/ 367253 w 402651"/>
                <a:gd name="connsiteY58" fmla="*/ 415587 h 460923"/>
                <a:gd name="connsiteX59" fmla="*/ 359509 w 402651"/>
                <a:gd name="connsiteY59" fmla="*/ 413968 h 460923"/>
                <a:gd name="connsiteX60" fmla="*/ 338492 w 402651"/>
                <a:gd name="connsiteY60" fmla="*/ 424222 h 460923"/>
                <a:gd name="connsiteX61" fmla="*/ 311390 w 402651"/>
                <a:gd name="connsiteY61" fmla="*/ 420984 h 460923"/>
                <a:gd name="connsiteX62" fmla="*/ 299222 w 402651"/>
                <a:gd name="connsiteY62" fmla="*/ 426381 h 460923"/>
                <a:gd name="connsiteX63" fmla="*/ 295594 w 402651"/>
                <a:gd name="connsiteY63" fmla="*/ 411883 h 460923"/>
                <a:gd name="connsiteX64" fmla="*/ 269909 w 402651"/>
                <a:gd name="connsiteY64" fmla="*/ 460923 h 460923"/>
                <a:gd name="connsiteX65" fmla="*/ 292976 w 402651"/>
                <a:gd name="connsiteY65" fmla="*/ 397414 h 460923"/>
                <a:gd name="connsiteX66" fmla="*/ 300029 w 402651"/>
                <a:gd name="connsiteY66" fmla="*/ 384146 h 460923"/>
                <a:gd name="connsiteX67" fmla="*/ 283216 w 402651"/>
                <a:gd name="connsiteY67" fmla="*/ 386506 h 460923"/>
                <a:gd name="connsiteX68" fmla="*/ 268836 w 402651"/>
                <a:gd name="connsiteY68" fmla="*/ 390824 h 460923"/>
                <a:gd name="connsiteX69" fmla="*/ 271333 w 402651"/>
                <a:gd name="connsiteY69" fmla="*/ 372795 h 460923"/>
                <a:gd name="connsiteX70" fmla="*/ 253462 w 402651"/>
                <a:gd name="connsiteY70" fmla="*/ 373151 h 460923"/>
                <a:gd name="connsiteX71" fmla="*/ 248127 w 402651"/>
                <a:gd name="connsiteY71" fmla="*/ 361126 h 460923"/>
                <a:gd name="connsiteX72" fmla="*/ 237773 w 402651"/>
                <a:gd name="connsiteY72" fmla="*/ 347153 h 460923"/>
                <a:gd name="connsiteX73" fmla="*/ 220806 w 402651"/>
                <a:gd name="connsiteY73" fmla="*/ 349452 h 460923"/>
                <a:gd name="connsiteX74" fmla="*/ 212665 w 402651"/>
                <a:gd name="connsiteY74" fmla="*/ 334479 h 460923"/>
                <a:gd name="connsiteX75" fmla="*/ 196560 w 402651"/>
                <a:gd name="connsiteY75" fmla="*/ 347311 h 460923"/>
                <a:gd name="connsiteX76" fmla="*/ 202132 w 402651"/>
                <a:gd name="connsiteY76" fmla="*/ 364121 h 460923"/>
                <a:gd name="connsiteX77" fmla="*/ 190014 w 402651"/>
                <a:gd name="connsiteY77" fmla="*/ 376889 h 460923"/>
                <a:gd name="connsiteX78" fmla="*/ 191634 w 402651"/>
                <a:gd name="connsiteY78" fmla="*/ 386485 h 460923"/>
                <a:gd name="connsiteX79" fmla="*/ 181901 w 402651"/>
                <a:gd name="connsiteY79" fmla="*/ 391815 h 460923"/>
                <a:gd name="connsiteX80" fmla="*/ 178026 w 402651"/>
                <a:gd name="connsiteY80" fmla="*/ 385621 h 460923"/>
                <a:gd name="connsiteX81" fmla="*/ 166262 w 402651"/>
                <a:gd name="connsiteY81" fmla="*/ 378348 h 460923"/>
                <a:gd name="connsiteX82" fmla="*/ 158241 w 402651"/>
                <a:gd name="connsiteY82" fmla="*/ 381379 h 460923"/>
                <a:gd name="connsiteX83" fmla="*/ 142748 w 402651"/>
                <a:gd name="connsiteY83" fmla="*/ 368966 h 460923"/>
                <a:gd name="connsiteX84" fmla="*/ 136657 w 402651"/>
                <a:gd name="connsiteY84" fmla="*/ 366344 h 460923"/>
                <a:gd name="connsiteX85" fmla="*/ 121170 w 402651"/>
                <a:gd name="connsiteY85" fmla="*/ 359789 h 460923"/>
                <a:gd name="connsiteX86" fmla="*/ 111420 w 402651"/>
                <a:gd name="connsiteY86" fmla="*/ 360097 h 460923"/>
                <a:gd name="connsiteX87" fmla="*/ 101877 w 402651"/>
                <a:gd name="connsiteY87" fmla="*/ 345756 h 460923"/>
                <a:gd name="connsiteX88" fmla="*/ 81531 w 402651"/>
                <a:gd name="connsiteY88" fmla="*/ 336580 h 460923"/>
                <a:gd name="connsiteX89" fmla="*/ 65818 w 402651"/>
                <a:gd name="connsiteY89" fmla="*/ 324913 h 460923"/>
                <a:gd name="connsiteX90" fmla="*/ 68583 w 402651"/>
                <a:gd name="connsiteY90" fmla="*/ 321135 h 460923"/>
                <a:gd name="connsiteX91" fmla="*/ 46459 w 402651"/>
                <a:gd name="connsiteY91" fmla="*/ 304404 h 460923"/>
                <a:gd name="connsiteX92" fmla="*/ 69136 w 402651"/>
                <a:gd name="connsiteY92" fmla="*/ 294689 h 460923"/>
                <a:gd name="connsiteX93" fmla="*/ 58074 w 402651"/>
                <a:gd name="connsiteY93" fmla="*/ 283894 h 460923"/>
                <a:gd name="connsiteX0" fmla="*/ 58074 w 402651"/>
                <a:gd name="connsiteY0" fmla="*/ 283894 h 427179"/>
                <a:gd name="connsiteX1" fmla="*/ 51990 w 402651"/>
                <a:gd name="connsiteY1" fmla="*/ 261226 h 427179"/>
                <a:gd name="connsiteX2" fmla="*/ 56415 w 402651"/>
                <a:gd name="connsiteY2" fmla="*/ 258527 h 427179"/>
                <a:gd name="connsiteX3" fmla="*/ 68030 w 402651"/>
                <a:gd name="connsiteY3" fmla="*/ 264464 h 427179"/>
                <a:gd name="connsiteX4" fmla="*/ 71902 w 402651"/>
                <a:gd name="connsiteY4" fmla="*/ 265544 h 427179"/>
                <a:gd name="connsiteX5" fmla="*/ 81857 w 402651"/>
                <a:gd name="connsiteY5" fmla="*/ 251511 h 427179"/>
                <a:gd name="connsiteX6" fmla="*/ 79645 w 402651"/>
                <a:gd name="connsiteY6" fmla="*/ 241256 h 427179"/>
                <a:gd name="connsiteX7" fmla="*/ 44800 w 402651"/>
                <a:gd name="connsiteY7" fmla="*/ 218048 h 427179"/>
                <a:gd name="connsiteX8" fmla="*/ 41481 w 402651"/>
                <a:gd name="connsiteY8" fmla="*/ 212111 h 427179"/>
                <a:gd name="connsiteX9" fmla="*/ 51990 w 402651"/>
                <a:gd name="connsiteY9" fmla="*/ 155440 h 427179"/>
                <a:gd name="connsiteX10" fmla="*/ 38716 w 402651"/>
                <a:gd name="connsiteY10" fmla="*/ 140328 h 427179"/>
                <a:gd name="connsiteX11" fmla="*/ 44800 w 402651"/>
                <a:gd name="connsiteY11" fmla="*/ 113342 h 427179"/>
                <a:gd name="connsiteX12" fmla="*/ 25442 w 402651"/>
                <a:gd name="connsiteY12" fmla="*/ 106325 h 427179"/>
                <a:gd name="connsiteX13" fmla="*/ 13827 w 402651"/>
                <a:gd name="connsiteY13" fmla="*/ 86355 h 427179"/>
                <a:gd name="connsiteX14" fmla="*/ 2212 w 402651"/>
                <a:gd name="connsiteY14" fmla="*/ 60449 h 427179"/>
                <a:gd name="connsiteX15" fmla="*/ 0 w 402651"/>
                <a:gd name="connsiteY15" fmla="*/ 48575 h 427179"/>
                <a:gd name="connsiteX16" fmla="*/ 14933 w 402651"/>
                <a:gd name="connsiteY16" fmla="*/ 31304 h 427179"/>
                <a:gd name="connsiteX17" fmla="*/ 29313 w 402651"/>
                <a:gd name="connsiteY17" fmla="*/ 29685 h 427179"/>
                <a:gd name="connsiteX18" fmla="*/ 57521 w 402651"/>
                <a:gd name="connsiteY18" fmla="*/ 2698 h 427179"/>
                <a:gd name="connsiteX19" fmla="*/ 74667 w 402651"/>
                <a:gd name="connsiteY19" fmla="*/ 6476 h 427179"/>
                <a:gd name="connsiteX20" fmla="*/ 95131 w 402651"/>
                <a:gd name="connsiteY20" fmla="*/ 0 h 427179"/>
                <a:gd name="connsiteX21" fmla="*/ 113937 w 402651"/>
                <a:gd name="connsiteY21" fmla="*/ 2698 h 427179"/>
                <a:gd name="connsiteX22" fmla="*/ 120574 w 402651"/>
                <a:gd name="connsiteY22" fmla="*/ 17811 h 427179"/>
                <a:gd name="connsiteX23" fmla="*/ 131082 w 402651"/>
                <a:gd name="connsiteY23" fmla="*/ 25367 h 427179"/>
                <a:gd name="connsiteX24" fmla="*/ 152653 w 402651"/>
                <a:gd name="connsiteY24" fmla="*/ 34002 h 427179"/>
                <a:gd name="connsiteX25" fmla="*/ 156525 w 402651"/>
                <a:gd name="connsiteY25" fmla="*/ 38860 h 427179"/>
                <a:gd name="connsiteX26" fmla="*/ 162609 w 402651"/>
                <a:gd name="connsiteY26" fmla="*/ 39939 h 427179"/>
                <a:gd name="connsiteX27" fmla="*/ 163162 w 402651"/>
                <a:gd name="connsiteY27" fmla="*/ 56131 h 427179"/>
                <a:gd name="connsiteX28" fmla="*/ 167033 w 402651"/>
                <a:gd name="connsiteY28" fmla="*/ 67465 h 427179"/>
                <a:gd name="connsiteX29" fmla="*/ 180308 w 402651"/>
                <a:gd name="connsiteY29" fmla="*/ 77180 h 427179"/>
                <a:gd name="connsiteX30" fmla="*/ 200772 w 402651"/>
                <a:gd name="connsiteY30" fmla="*/ 84736 h 427179"/>
                <a:gd name="connsiteX31" fmla="*/ 228980 w 402651"/>
                <a:gd name="connsiteY31" fmla="*/ 102547 h 427179"/>
                <a:gd name="connsiteX32" fmla="*/ 235064 w 402651"/>
                <a:gd name="connsiteY32" fmla="*/ 141947 h 427179"/>
                <a:gd name="connsiteX33" fmla="*/ 253316 w 402651"/>
                <a:gd name="connsiteY33" fmla="*/ 149503 h 427179"/>
                <a:gd name="connsiteX34" fmla="*/ 283736 w 402651"/>
                <a:gd name="connsiteY34" fmla="*/ 154900 h 427179"/>
                <a:gd name="connsiteX35" fmla="*/ 293138 w 402651"/>
                <a:gd name="connsiteY35" fmla="*/ 162996 h 427179"/>
                <a:gd name="connsiteX36" fmla="*/ 323005 w 402651"/>
                <a:gd name="connsiteY36" fmla="*/ 135470 h 427179"/>
                <a:gd name="connsiteX37" fmla="*/ 335173 w 402651"/>
                <a:gd name="connsiteY37" fmla="*/ 139248 h 427179"/>
                <a:gd name="connsiteX38" fmla="*/ 337939 w 402651"/>
                <a:gd name="connsiteY38" fmla="*/ 148963 h 427179"/>
                <a:gd name="connsiteX39" fmla="*/ 329642 w 402651"/>
                <a:gd name="connsiteY39" fmla="*/ 153281 h 427179"/>
                <a:gd name="connsiteX40" fmla="*/ 327430 w 402651"/>
                <a:gd name="connsiteY40" fmla="*/ 164076 h 427179"/>
                <a:gd name="connsiteX41" fmla="*/ 342364 w 402651"/>
                <a:gd name="connsiteY41" fmla="*/ 180807 h 427179"/>
                <a:gd name="connsiteX42" fmla="*/ 346235 w 402651"/>
                <a:gd name="connsiteY42" fmla="*/ 191062 h 427179"/>
                <a:gd name="connsiteX43" fmla="*/ 346235 w 402651"/>
                <a:gd name="connsiteY43" fmla="*/ 207254 h 427179"/>
                <a:gd name="connsiteX44" fmla="*/ 334067 w 402651"/>
                <a:gd name="connsiteY44" fmla="*/ 218588 h 427179"/>
                <a:gd name="connsiteX45" fmla="*/ 332961 w 402651"/>
                <a:gd name="connsiteY45" fmla="*/ 245034 h 427179"/>
                <a:gd name="connsiteX46" fmla="*/ 346788 w 402651"/>
                <a:gd name="connsiteY46" fmla="*/ 254749 h 427179"/>
                <a:gd name="connsiteX47" fmla="*/ 356744 w 402651"/>
                <a:gd name="connsiteY47" fmla="*/ 279576 h 427179"/>
                <a:gd name="connsiteX48" fmla="*/ 378315 w 402651"/>
                <a:gd name="connsiteY48" fmla="*/ 283894 h 427179"/>
                <a:gd name="connsiteX49" fmla="*/ 384399 w 402651"/>
                <a:gd name="connsiteY49" fmla="*/ 294689 h 427179"/>
                <a:gd name="connsiteX50" fmla="*/ 402651 w 402651"/>
                <a:gd name="connsiteY50" fmla="*/ 302785 h 427179"/>
                <a:gd name="connsiteX51" fmla="*/ 377761 w 402651"/>
                <a:gd name="connsiteY51" fmla="*/ 343264 h 427179"/>
                <a:gd name="connsiteX52" fmla="*/ 368359 w 402651"/>
                <a:gd name="connsiteY52" fmla="*/ 344883 h 427179"/>
                <a:gd name="connsiteX53" fmla="*/ 361722 w 402651"/>
                <a:gd name="connsiteY53" fmla="*/ 351899 h 427179"/>
                <a:gd name="connsiteX54" fmla="*/ 365593 w 402651"/>
                <a:gd name="connsiteY54" fmla="*/ 363234 h 427179"/>
                <a:gd name="connsiteX55" fmla="*/ 365040 w 402651"/>
                <a:gd name="connsiteY55" fmla="*/ 384283 h 427179"/>
                <a:gd name="connsiteX56" fmla="*/ 377761 w 402651"/>
                <a:gd name="connsiteY56" fmla="*/ 397236 h 427179"/>
                <a:gd name="connsiteX57" fmla="*/ 369465 w 402651"/>
                <a:gd name="connsiteY57" fmla="*/ 413968 h 427179"/>
                <a:gd name="connsiteX58" fmla="*/ 367253 w 402651"/>
                <a:gd name="connsiteY58" fmla="*/ 415587 h 427179"/>
                <a:gd name="connsiteX59" fmla="*/ 359509 w 402651"/>
                <a:gd name="connsiteY59" fmla="*/ 413968 h 427179"/>
                <a:gd name="connsiteX60" fmla="*/ 338492 w 402651"/>
                <a:gd name="connsiteY60" fmla="*/ 424222 h 427179"/>
                <a:gd name="connsiteX61" fmla="*/ 311390 w 402651"/>
                <a:gd name="connsiteY61" fmla="*/ 420984 h 427179"/>
                <a:gd name="connsiteX62" fmla="*/ 299222 w 402651"/>
                <a:gd name="connsiteY62" fmla="*/ 426381 h 427179"/>
                <a:gd name="connsiteX63" fmla="*/ 295594 w 402651"/>
                <a:gd name="connsiteY63" fmla="*/ 411883 h 427179"/>
                <a:gd name="connsiteX64" fmla="*/ 292976 w 402651"/>
                <a:gd name="connsiteY64" fmla="*/ 397414 h 427179"/>
                <a:gd name="connsiteX65" fmla="*/ 300029 w 402651"/>
                <a:gd name="connsiteY65" fmla="*/ 384146 h 427179"/>
                <a:gd name="connsiteX66" fmla="*/ 283216 w 402651"/>
                <a:gd name="connsiteY66" fmla="*/ 386506 h 427179"/>
                <a:gd name="connsiteX67" fmla="*/ 268836 w 402651"/>
                <a:gd name="connsiteY67" fmla="*/ 390824 h 427179"/>
                <a:gd name="connsiteX68" fmla="*/ 271333 w 402651"/>
                <a:gd name="connsiteY68" fmla="*/ 372795 h 427179"/>
                <a:gd name="connsiteX69" fmla="*/ 253462 w 402651"/>
                <a:gd name="connsiteY69" fmla="*/ 373151 h 427179"/>
                <a:gd name="connsiteX70" fmla="*/ 248127 w 402651"/>
                <a:gd name="connsiteY70" fmla="*/ 361126 h 427179"/>
                <a:gd name="connsiteX71" fmla="*/ 237773 w 402651"/>
                <a:gd name="connsiteY71" fmla="*/ 347153 h 427179"/>
                <a:gd name="connsiteX72" fmla="*/ 220806 w 402651"/>
                <a:gd name="connsiteY72" fmla="*/ 349452 h 427179"/>
                <a:gd name="connsiteX73" fmla="*/ 212665 w 402651"/>
                <a:gd name="connsiteY73" fmla="*/ 334479 h 427179"/>
                <a:gd name="connsiteX74" fmla="*/ 196560 w 402651"/>
                <a:gd name="connsiteY74" fmla="*/ 347311 h 427179"/>
                <a:gd name="connsiteX75" fmla="*/ 202132 w 402651"/>
                <a:gd name="connsiteY75" fmla="*/ 364121 h 427179"/>
                <a:gd name="connsiteX76" fmla="*/ 190014 w 402651"/>
                <a:gd name="connsiteY76" fmla="*/ 376889 h 427179"/>
                <a:gd name="connsiteX77" fmla="*/ 191634 w 402651"/>
                <a:gd name="connsiteY77" fmla="*/ 386485 h 427179"/>
                <a:gd name="connsiteX78" fmla="*/ 181901 w 402651"/>
                <a:gd name="connsiteY78" fmla="*/ 391815 h 427179"/>
                <a:gd name="connsiteX79" fmla="*/ 178026 w 402651"/>
                <a:gd name="connsiteY79" fmla="*/ 385621 h 427179"/>
                <a:gd name="connsiteX80" fmla="*/ 166262 w 402651"/>
                <a:gd name="connsiteY80" fmla="*/ 378348 h 427179"/>
                <a:gd name="connsiteX81" fmla="*/ 158241 w 402651"/>
                <a:gd name="connsiteY81" fmla="*/ 381379 h 427179"/>
                <a:gd name="connsiteX82" fmla="*/ 142748 w 402651"/>
                <a:gd name="connsiteY82" fmla="*/ 368966 h 427179"/>
                <a:gd name="connsiteX83" fmla="*/ 136657 w 402651"/>
                <a:gd name="connsiteY83" fmla="*/ 366344 h 427179"/>
                <a:gd name="connsiteX84" fmla="*/ 121170 w 402651"/>
                <a:gd name="connsiteY84" fmla="*/ 359789 h 427179"/>
                <a:gd name="connsiteX85" fmla="*/ 111420 w 402651"/>
                <a:gd name="connsiteY85" fmla="*/ 360097 h 427179"/>
                <a:gd name="connsiteX86" fmla="*/ 101877 w 402651"/>
                <a:gd name="connsiteY86" fmla="*/ 345756 h 427179"/>
                <a:gd name="connsiteX87" fmla="*/ 81531 w 402651"/>
                <a:gd name="connsiteY87" fmla="*/ 336580 h 427179"/>
                <a:gd name="connsiteX88" fmla="*/ 65818 w 402651"/>
                <a:gd name="connsiteY88" fmla="*/ 324913 h 427179"/>
                <a:gd name="connsiteX89" fmla="*/ 68583 w 402651"/>
                <a:gd name="connsiteY89" fmla="*/ 321135 h 427179"/>
                <a:gd name="connsiteX90" fmla="*/ 46459 w 402651"/>
                <a:gd name="connsiteY90" fmla="*/ 304404 h 427179"/>
                <a:gd name="connsiteX91" fmla="*/ 69136 w 402651"/>
                <a:gd name="connsiteY91" fmla="*/ 294689 h 427179"/>
                <a:gd name="connsiteX92" fmla="*/ 58074 w 402651"/>
                <a:gd name="connsiteY92" fmla="*/ 283894 h 4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402651" h="427179">
                  <a:moveTo>
                    <a:pt x="58074" y="283894"/>
                  </a:moveTo>
                  <a:cubicBezTo>
                    <a:pt x="60287" y="274719"/>
                    <a:pt x="49225" y="266623"/>
                    <a:pt x="51990" y="261226"/>
                  </a:cubicBezTo>
                  <a:cubicBezTo>
                    <a:pt x="52543" y="259607"/>
                    <a:pt x="54756" y="258527"/>
                    <a:pt x="56415" y="258527"/>
                  </a:cubicBezTo>
                  <a:cubicBezTo>
                    <a:pt x="63052" y="257448"/>
                    <a:pt x="63605" y="262305"/>
                    <a:pt x="68030" y="264464"/>
                  </a:cubicBezTo>
                  <a:cubicBezTo>
                    <a:pt x="69136" y="265544"/>
                    <a:pt x="70795" y="265544"/>
                    <a:pt x="71902" y="265544"/>
                  </a:cubicBezTo>
                  <a:cubicBezTo>
                    <a:pt x="80198" y="265544"/>
                    <a:pt x="81857" y="258527"/>
                    <a:pt x="81857" y="251511"/>
                  </a:cubicBezTo>
                  <a:cubicBezTo>
                    <a:pt x="81857" y="248272"/>
                    <a:pt x="81857" y="243415"/>
                    <a:pt x="79645" y="241256"/>
                  </a:cubicBezTo>
                  <a:cubicBezTo>
                    <a:pt x="68583" y="225064"/>
                    <a:pt x="55862" y="225604"/>
                    <a:pt x="44800" y="218048"/>
                  </a:cubicBezTo>
                  <a:cubicBezTo>
                    <a:pt x="43141" y="216969"/>
                    <a:pt x="42035" y="214270"/>
                    <a:pt x="41481" y="212111"/>
                  </a:cubicBezTo>
                  <a:cubicBezTo>
                    <a:pt x="38716" y="192681"/>
                    <a:pt x="62499" y="173251"/>
                    <a:pt x="51990" y="155440"/>
                  </a:cubicBezTo>
                  <a:lnTo>
                    <a:pt x="38716" y="140328"/>
                  </a:lnTo>
                  <a:lnTo>
                    <a:pt x="44800" y="113342"/>
                  </a:lnTo>
                  <a:cubicBezTo>
                    <a:pt x="37610" y="112802"/>
                    <a:pt x="30973" y="110643"/>
                    <a:pt x="25442" y="106325"/>
                  </a:cubicBezTo>
                  <a:cubicBezTo>
                    <a:pt x="9955" y="93912"/>
                    <a:pt x="22676" y="99849"/>
                    <a:pt x="13827" y="86355"/>
                  </a:cubicBezTo>
                  <a:cubicBezTo>
                    <a:pt x="10508" y="81498"/>
                    <a:pt x="3318" y="70704"/>
                    <a:pt x="2212" y="60449"/>
                  </a:cubicBezTo>
                  <a:cubicBezTo>
                    <a:pt x="1659" y="57210"/>
                    <a:pt x="553" y="51813"/>
                    <a:pt x="0" y="48575"/>
                  </a:cubicBezTo>
                  <a:lnTo>
                    <a:pt x="14933" y="31304"/>
                  </a:lnTo>
                  <a:lnTo>
                    <a:pt x="29313" y="29685"/>
                  </a:lnTo>
                  <a:lnTo>
                    <a:pt x="57521" y="2698"/>
                  </a:lnTo>
                  <a:lnTo>
                    <a:pt x="74667" y="6476"/>
                  </a:lnTo>
                  <a:lnTo>
                    <a:pt x="95131" y="0"/>
                  </a:lnTo>
                  <a:lnTo>
                    <a:pt x="113937" y="2698"/>
                  </a:lnTo>
                  <a:lnTo>
                    <a:pt x="120574" y="17811"/>
                  </a:lnTo>
                  <a:lnTo>
                    <a:pt x="131082" y="25367"/>
                  </a:lnTo>
                  <a:lnTo>
                    <a:pt x="152653" y="34002"/>
                  </a:lnTo>
                  <a:lnTo>
                    <a:pt x="156525" y="38860"/>
                  </a:lnTo>
                  <a:lnTo>
                    <a:pt x="162609" y="39939"/>
                  </a:lnTo>
                  <a:cubicBezTo>
                    <a:pt x="162793" y="45336"/>
                    <a:pt x="162978" y="50734"/>
                    <a:pt x="163162" y="56131"/>
                  </a:cubicBezTo>
                  <a:lnTo>
                    <a:pt x="167033" y="67465"/>
                  </a:lnTo>
                  <a:lnTo>
                    <a:pt x="180308" y="77180"/>
                  </a:lnTo>
                  <a:lnTo>
                    <a:pt x="200772" y="84736"/>
                  </a:lnTo>
                  <a:lnTo>
                    <a:pt x="228980" y="102547"/>
                  </a:lnTo>
                  <a:lnTo>
                    <a:pt x="235064" y="141947"/>
                  </a:lnTo>
                  <a:cubicBezTo>
                    <a:pt x="241701" y="144646"/>
                    <a:pt x="245572" y="147884"/>
                    <a:pt x="253316" y="149503"/>
                  </a:cubicBezTo>
                  <a:cubicBezTo>
                    <a:pt x="263271" y="151122"/>
                    <a:pt x="274333" y="148963"/>
                    <a:pt x="283736" y="154900"/>
                  </a:cubicBezTo>
                  <a:cubicBezTo>
                    <a:pt x="286501" y="156520"/>
                    <a:pt x="289820" y="164076"/>
                    <a:pt x="293138" y="162996"/>
                  </a:cubicBezTo>
                  <a:cubicBezTo>
                    <a:pt x="308072" y="158678"/>
                    <a:pt x="295351" y="135470"/>
                    <a:pt x="323005" y="135470"/>
                  </a:cubicBezTo>
                  <a:cubicBezTo>
                    <a:pt x="325771" y="135470"/>
                    <a:pt x="332961" y="137089"/>
                    <a:pt x="335173" y="139248"/>
                  </a:cubicBezTo>
                  <a:cubicBezTo>
                    <a:pt x="337386" y="140868"/>
                    <a:pt x="340151" y="146805"/>
                    <a:pt x="337939" y="148963"/>
                  </a:cubicBezTo>
                  <a:cubicBezTo>
                    <a:pt x="336280" y="150583"/>
                    <a:pt x="331855" y="151662"/>
                    <a:pt x="329642" y="153281"/>
                  </a:cubicBezTo>
                  <a:cubicBezTo>
                    <a:pt x="328536" y="154900"/>
                    <a:pt x="326877" y="162456"/>
                    <a:pt x="327430" y="164076"/>
                  </a:cubicBezTo>
                  <a:cubicBezTo>
                    <a:pt x="329642" y="168393"/>
                    <a:pt x="337939" y="178648"/>
                    <a:pt x="342364" y="180807"/>
                  </a:cubicBezTo>
                  <a:lnTo>
                    <a:pt x="346235" y="191062"/>
                  </a:lnTo>
                  <a:lnTo>
                    <a:pt x="346235" y="207254"/>
                  </a:lnTo>
                  <a:lnTo>
                    <a:pt x="334067" y="218588"/>
                  </a:lnTo>
                  <a:cubicBezTo>
                    <a:pt x="333698" y="227403"/>
                    <a:pt x="333330" y="236219"/>
                    <a:pt x="332961" y="245034"/>
                  </a:cubicBezTo>
                  <a:lnTo>
                    <a:pt x="346788" y="254749"/>
                  </a:lnTo>
                  <a:lnTo>
                    <a:pt x="356744" y="279576"/>
                  </a:lnTo>
                  <a:lnTo>
                    <a:pt x="378315" y="283894"/>
                  </a:lnTo>
                  <a:lnTo>
                    <a:pt x="384399" y="294689"/>
                  </a:lnTo>
                  <a:lnTo>
                    <a:pt x="402651" y="302785"/>
                  </a:lnTo>
                  <a:lnTo>
                    <a:pt x="377761" y="343264"/>
                  </a:lnTo>
                  <a:lnTo>
                    <a:pt x="368359" y="344883"/>
                  </a:lnTo>
                  <a:lnTo>
                    <a:pt x="361722" y="351899"/>
                  </a:lnTo>
                  <a:lnTo>
                    <a:pt x="365593" y="363234"/>
                  </a:lnTo>
                  <a:cubicBezTo>
                    <a:pt x="365409" y="370250"/>
                    <a:pt x="365224" y="377267"/>
                    <a:pt x="365040" y="384283"/>
                  </a:cubicBezTo>
                  <a:lnTo>
                    <a:pt x="377761" y="397236"/>
                  </a:lnTo>
                  <a:lnTo>
                    <a:pt x="369465" y="413968"/>
                  </a:lnTo>
                  <a:lnTo>
                    <a:pt x="367253" y="415587"/>
                  </a:lnTo>
                  <a:lnTo>
                    <a:pt x="359509" y="413968"/>
                  </a:lnTo>
                  <a:lnTo>
                    <a:pt x="338492" y="424222"/>
                  </a:lnTo>
                  <a:lnTo>
                    <a:pt x="311390" y="420984"/>
                  </a:lnTo>
                  <a:lnTo>
                    <a:pt x="299222" y="426381"/>
                  </a:lnTo>
                  <a:cubicBezTo>
                    <a:pt x="298853" y="431958"/>
                    <a:pt x="295963" y="406306"/>
                    <a:pt x="295594" y="411883"/>
                  </a:cubicBezTo>
                  <a:lnTo>
                    <a:pt x="292976" y="397414"/>
                  </a:lnTo>
                  <a:lnTo>
                    <a:pt x="300029" y="384146"/>
                  </a:lnTo>
                  <a:lnTo>
                    <a:pt x="283216" y="386506"/>
                  </a:lnTo>
                  <a:lnTo>
                    <a:pt x="268836" y="390824"/>
                  </a:lnTo>
                  <a:lnTo>
                    <a:pt x="271333" y="372795"/>
                  </a:lnTo>
                  <a:lnTo>
                    <a:pt x="253462" y="373151"/>
                  </a:lnTo>
                  <a:lnTo>
                    <a:pt x="248127" y="361126"/>
                  </a:lnTo>
                  <a:lnTo>
                    <a:pt x="237773" y="347153"/>
                  </a:lnTo>
                  <a:lnTo>
                    <a:pt x="220806" y="349452"/>
                  </a:lnTo>
                  <a:lnTo>
                    <a:pt x="212665" y="334479"/>
                  </a:lnTo>
                  <a:lnTo>
                    <a:pt x="196560" y="347311"/>
                  </a:lnTo>
                  <a:lnTo>
                    <a:pt x="202132" y="364121"/>
                  </a:lnTo>
                  <a:lnTo>
                    <a:pt x="190014" y="376889"/>
                  </a:lnTo>
                  <a:lnTo>
                    <a:pt x="191634" y="386485"/>
                  </a:lnTo>
                  <a:lnTo>
                    <a:pt x="181901" y="391815"/>
                  </a:lnTo>
                  <a:lnTo>
                    <a:pt x="178026" y="385621"/>
                  </a:lnTo>
                  <a:lnTo>
                    <a:pt x="166262" y="378348"/>
                  </a:lnTo>
                  <a:lnTo>
                    <a:pt x="158241" y="381379"/>
                  </a:lnTo>
                  <a:lnTo>
                    <a:pt x="142748" y="368966"/>
                  </a:lnTo>
                  <a:lnTo>
                    <a:pt x="136657" y="366344"/>
                  </a:lnTo>
                  <a:lnTo>
                    <a:pt x="121170" y="359789"/>
                  </a:lnTo>
                  <a:lnTo>
                    <a:pt x="111420" y="360097"/>
                  </a:lnTo>
                  <a:lnTo>
                    <a:pt x="101877" y="345756"/>
                  </a:lnTo>
                  <a:lnTo>
                    <a:pt x="81531" y="336580"/>
                  </a:lnTo>
                  <a:cubicBezTo>
                    <a:pt x="87615" y="339279"/>
                    <a:pt x="61946" y="321675"/>
                    <a:pt x="65818" y="324913"/>
                  </a:cubicBezTo>
                  <a:lnTo>
                    <a:pt x="68583" y="321135"/>
                  </a:lnTo>
                  <a:lnTo>
                    <a:pt x="46459" y="304404"/>
                  </a:lnTo>
                  <a:lnTo>
                    <a:pt x="69136" y="294689"/>
                  </a:lnTo>
                  <a:lnTo>
                    <a:pt x="58074" y="283894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63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</p:grpSp>
      <p:sp>
        <p:nvSpPr>
          <p:cNvPr id="16" name="Title 15">
            <a:extLst>
              <a:ext uri="{FF2B5EF4-FFF2-40B4-BE49-F238E27FC236}">
                <a16:creationId xmlns:a16="http://schemas.microsoft.com/office/drawing/2014/main" id="{BF59A814-126A-4DB2-9DBB-F4496829DC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Financování FVE</a:t>
            </a:r>
          </a:p>
        </p:txBody>
      </p:sp>
      <p:sp>
        <p:nvSpPr>
          <p:cNvPr id="67" name="Zástupný symbol pro obsah 12">
            <a:extLst>
              <a:ext uri="{FF2B5EF4-FFF2-40B4-BE49-F238E27FC236}">
                <a16:creationId xmlns:a16="http://schemas.microsoft.com/office/drawing/2014/main" id="{FE403AFA-0D86-4CD5-A11B-B1F361D7ADB4}"/>
              </a:ext>
            </a:extLst>
          </p:cNvPr>
          <p:cNvSpPr txBox="1">
            <a:spLocks/>
          </p:cNvSpPr>
          <p:nvPr/>
        </p:nvSpPr>
        <p:spPr>
          <a:xfrm>
            <a:off x="6343220" y="832930"/>
            <a:ext cx="2732817" cy="2057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 sz="1700"/>
          </a:p>
        </p:txBody>
      </p:sp>
      <p:sp>
        <p:nvSpPr>
          <p:cNvPr id="15" name="Zástupný symbol pro text 9">
            <a:extLst>
              <a:ext uri="{FF2B5EF4-FFF2-40B4-BE49-F238E27FC236}">
                <a16:creationId xmlns:a16="http://schemas.microsoft.com/office/drawing/2014/main" id="{E04A577A-C38F-4ACB-99CB-E755BC099617}"/>
              </a:ext>
            </a:extLst>
          </p:cNvPr>
          <p:cNvSpPr txBox="1">
            <a:spLocks/>
          </p:cNvSpPr>
          <p:nvPr/>
        </p:nvSpPr>
        <p:spPr>
          <a:xfrm>
            <a:off x="252000" y="87142"/>
            <a:ext cx="8280814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600" b="1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2pPr>
            <a:lvl3pPr marL="685783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600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3pPr>
            <a:lvl4pPr marL="1028675" marR="0" indent="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None/>
              <a:tabLst/>
              <a:defRPr sz="600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4pPr>
            <a:lvl5pPr marL="1371566" marR="0" indent="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None/>
              <a:tabLst/>
              <a:defRPr sz="600" kern="1200" baseline="0">
                <a:solidFill>
                  <a:schemeClr val="tx1"/>
                </a:solidFill>
                <a:latin typeface="UniCredit" panose="02000506040000020004" pitchFamily="2" charset="0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/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chemeClr val="bg1"/>
                </a:solidFill>
                <a:latin typeface="+mj-lt"/>
              </a:rPr>
              <a:t>UniCredit Leasing CZ a jeho dceřiné společnosti</a:t>
            </a:r>
          </a:p>
        </p:txBody>
      </p:sp>
      <p:sp>
        <p:nvSpPr>
          <p:cNvPr id="18" name="Rettangolo con angoli arrotondati in diagonale 102">
            <a:extLst>
              <a:ext uri="{FF2B5EF4-FFF2-40B4-BE49-F238E27FC236}">
                <a16:creationId xmlns:a16="http://schemas.microsoft.com/office/drawing/2014/main" id="{6EBCABFD-A879-4470-A53F-7C433EF6C190}"/>
              </a:ext>
            </a:extLst>
          </p:cNvPr>
          <p:cNvSpPr/>
          <p:nvPr/>
        </p:nvSpPr>
        <p:spPr>
          <a:xfrm>
            <a:off x="339213" y="818181"/>
            <a:ext cx="8343163" cy="3924000"/>
          </a:xfrm>
          <a:prstGeom prst="round2DiagRect">
            <a:avLst>
              <a:gd name="adj1" fmla="val 3888"/>
              <a:gd name="adj2" fmla="val 0"/>
            </a:avLst>
          </a:prstGeom>
          <a:noFill/>
          <a:ln w="19050" cap="rnd" cmpd="sng">
            <a:solidFill>
              <a:srgbClr val="E2001A"/>
            </a:solidFill>
            <a:prstDash val="solid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432000" rIns="72000" bIns="0" rtlCol="0" anchor="t" anchorCtr="0">
            <a:noAutofit/>
          </a:bodyPr>
          <a:lstStyle/>
          <a:p>
            <a:pPr marL="128588" indent="-128588" fontAlgn="ctr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cs-CZ" sz="11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Rettangolo con angoli arrotondati in diagonale 102">
            <a:extLst>
              <a:ext uri="{FF2B5EF4-FFF2-40B4-BE49-F238E27FC236}">
                <a16:creationId xmlns:a16="http://schemas.microsoft.com/office/drawing/2014/main" id="{7AFCB565-C45C-4AF9-B65C-1E990E05728B}"/>
              </a:ext>
            </a:extLst>
          </p:cNvPr>
          <p:cNvSpPr/>
          <p:nvPr/>
        </p:nvSpPr>
        <p:spPr>
          <a:xfrm>
            <a:off x="346587" y="818182"/>
            <a:ext cx="5964985" cy="393636"/>
          </a:xfrm>
          <a:prstGeom prst="round2DiagRect">
            <a:avLst>
              <a:gd name="adj1" fmla="val 41021"/>
              <a:gd name="adj2" fmla="val 0"/>
            </a:avLst>
          </a:prstGeom>
          <a:solidFill>
            <a:srgbClr val="E2001A"/>
          </a:solidFill>
          <a:ln w="19050">
            <a:solidFill>
              <a:srgbClr val="E2001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0" bIns="0" rtlCol="0" anchor="ctr">
            <a:noAutofit/>
          </a:bodyPr>
          <a:lstStyle/>
          <a:p>
            <a:pPr defTabSz="914400">
              <a:lnSpc>
                <a:spcPct val="90000"/>
              </a:lnSpc>
              <a:buClr>
                <a:srgbClr val="E2001A"/>
              </a:buClr>
              <a:buSzPct val="150000"/>
            </a:pPr>
            <a:r>
              <a:rPr lang="cs-CZ" sz="1400" b="1" dirty="0">
                <a:solidFill>
                  <a:srgbClr val="FFFFFF"/>
                </a:solidFill>
                <a:latin typeface="UniCredit (Body)"/>
              </a:rPr>
              <a:t>Financování FVE</a:t>
            </a:r>
          </a:p>
        </p:txBody>
      </p:sp>
      <p:sp>
        <p:nvSpPr>
          <p:cNvPr id="72" name="Obdélník 71">
            <a:extLst>
              <a:ext uri="{FF2B5EF4-FFF2-40B4-BE49-F238E27FC236}">
                <a16:creationId xmlns:a16="http://schemas.microsoft.com/office/drawing/2014/main" id="{6D25DF10-CCDE-4444-B662-3D3AF067FC2B}"/>
              </a:ext>
            </a:extLst>
          </p:cNvPr>
          <p:cNvSpPr/>
          <p:nvPr/>
        </p:nvSpPr>
        <p:spPr>
          <a:xfrm>
            <a:off x="397090" y="1224942"/>
            <a:ext cx="365407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cs-CZ" sz="1200" b="1" dirty="0">
                <a:solidFill>
                  <a:srgbClr val="FF0000"/>
                </a:solidFill>
                <a:latin typeface="+mj-lt"/>
              </a:rPr>
              <a:t>Hlavní výhody financování: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+mj-lt"/>
              </a:rPr>
              <a:t>Délka financování </a:t>
            </a:r>
            <a:r>
              <a:rPr lang="cs-CZ" sz="1100" b="1" dirty="0">
                <a:solidFill>
                  <a:srgbClr val="000000"/>
                </a:solidFill>
                <a:latin typeface="+mj-lt"/>
              </a:rPr>
              <a:t>až 10 let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0000"/>
                </a:solidFill>
                <a:latin typeface="+mj-lt"/>
              </a:rPr>
              <a:t>Financování až 100 % investičních nákladů zahrnující:</a:t>
            </a:r>
          </a:p>
          <a:p>
            <a:pPr marL="514350" lvl="1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cs-CZ" sz="1100" dirty="0" err="1">
                <a:solidFill>
                  <a:srgbClr val="000000"/>
                </a:solidFill>
                <a:latin typeface="+mj-lt"/>
              </a:rPr>
              <a:t>fotovoltaické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 panely</a:t>
            </a:r>
          </a:p>
          <a:p>
            <a:pPr marL="514350" lvl="1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cs-CZ" sz="1100" dirty="0">
                <a:solidFill>
                  <a:srgbClr val="000000"/>
                </a:solidFill>
                <a:latin typeface="+mj-lt"/>
              </a:rPr>
              <a:t>střídač</a:t>
            </a:r>
          </a:p>
          <a:p>
            <a:pPr marL="514350" lvl="1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cs-CZ" sz="1100" dirty="0">
                <a:solidFill>
                  <a:srgbClr val="000000"/>
                </a:solidFill>
                <a:latin typeface="+mj-lt"/>
              </a:rPr>
              <a:t>akumulaci</a:t>
            </a:r>
          </a:p>
          <a:p>
            <a:pPr marL="514350" lvl="1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cs-CZ" sz="1100" dirty="0">
                <a:solidFill>
                  <a:srgbClr val="000000"/>
                </a:solidFill>
                <a:latin typeface="+mj-lt"/>
              </a:rPr>
              <a:t>nosnou konstrukci</a:t>
            </a:r>
          </a:p>
          <a:p>
            <a:pPr marL="514350" lvl="1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cs-CZ" sz="1100" dirty="0">
                <a:solidFill>
                  <a:srgbClr val="000000"/>
                </a:solidFill>
                <a:latin typeface="+mj-lt"/>
              </a:rPr>
              <a:t>kabeláž, dodávku, montáž, uvedení do provozu</a:t>
            </a:r>
          </a:p>
          <a:p>
            <a:pPr marL="514350" lvl="1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cs-CZ" sz="1100" dirty="0">
                <a:solidFill>
                  <a:srgbClr val="000000"/>
                </a:solidFill>
                <a:latin typeface="+mj-lt"/>
              </a:rPr>
              <a:t>náklady na projektovou dokumentaci a inženýrskou činnost ve výstavbě</a:t>
            </a:r>
          </a:p>
          <a:p>
            <a:pPr marL="514350" lvl="1" indent="-1714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cs-CZ" sz="1100" dirty="0">
                <a:solidFill>
                  <a:srgbClr val="000000"/>
                </a:solidFill>
                <a:latin typeface="+mj-lt"/>
              </a:rPr>
              <a:t>případnou dotaci</a:t>
            </a:r>
            <a:endParaRPr lang="cs-CZ" sz="1100" dirty="0">
              <a:latin typeface="+mj-lt"/>
            </a:endParaRPr>
          </a:p>
        </p:txBody>
      </p:sp>
      <p:sp>
        <p:nvSpPr>
          <p:cNvPr id="76" name="Obdélník 75">
            <a:extLst>
              <a:ext uri="{FF2B5EF4-FFF2-40B4-BE49-F238E27FC236}">
                <a16:creationId xmlns:a16="http://schemas.microsoft.com/office/drawing/2014/main" id="{36C87815-61B3-4016-B945-7356300FB0B4}"/>
              </a:ext>
            </a:extLst>
          </p:cNvPr>
          <p:cNvSpPr/>
          <p:nvPr/>
        </p:nvSpPr>
        <p:spPr>
          <a:xfrm>
            <a:off x="397090" y="3213945"/>
            <a:ext cx="332849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cs-CZ" sz="1200" b="1" dirty="0">
                <a:solidFill>
                  <a:srgbClr val="FF0000"/>
                </a:solidFill>
                <a:latin typeface="+mj-lt"/>
              </a:rPr>
              <a:t>Jaké jsou základní parametry financování </a:t>
            </a:r>
            <a:r>
              <a:rPr lang="cs-CZ" sz="1200" b="1" dirty="0" err="1">
                <a:solidFill>
                  <a:srgbClr val="FF0000"/>
                </a:solidFill>
                <a:latin typeface="+mj-lt"/>
              </a:rPr>
              <a:t>fotovoltaických</a:t>
            </a:r>
            <a:r>
              <a:rPr lang="cs-CZ" sz="1200" b="1" dirty="0">
                <a:solidFill>
                  <a:srgbClr val="FF0000"/>
                </a:solidFill>
                <a:latin typeface="+mj-lt"/>
              </a:rPr>
              <a:t> zařízení?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0000"/>
                </a:solidFill>
                <a:latin typeface="+mj-lt"/>
              </a:rPr>
              <a:t>Měsíční nebo čtvrtletní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pravidelné anuitní splátky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0000"/>
                </a:solidFill>
                <a:latin typeface="+mj-lt"/>
              </a:rPr>
              <a:t>Akontace od 0 %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0000"/>
                </a:solidFill>
                <a:latin typeface="+mj-lt"/>
              </a:rPr>
              <a:t>Standardní zajištění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– zajišťovací převod vlastnického práva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0000"/>
                </a:solidFill>
                <a:latin typeface="+mj-lt"/>
              </a:rPr>
              <a:t>Výhodné pojištění ve splátkách</a:t>
            </a:r>
            <a:endParaRPr lang="cs-CZ" sz="1100" dirty="0">
              <a:latin typeface="+mj-lt"/>
            </a:endParaRPr>
          </a:p>
        </p:txBody>
      </p:sp>
      <p:sp>
        <p:nvSpPr>
          <p:cNvPr id="77" name="Obdélník 76">
            <a:extLst>
              <a:ext uri="{FF2B5EF4-FFF2-40B4-BE49-F238E27FC236}">
                <a16:creationId xmlns:a16="http://schemas.microsoft.com/office/drawing/2014/main" id="{E229D8E4-D830-4B26-97C9-CA800E2989F4}"/>
              </a:ext>
            </a:extLst>
          </p:cNvPr>
          <p:cNvSpPr/>
          <p:nvPr/>
        </p:nvSpPr>
        <p:spPr>
          <a:xfrm>
            <a:off x="4050052" y="1224942"/>
            <a:ext cx="4632324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cs-CZ" sz="1200" b="1" dirty="0">
                <a:solidFill>
                  <a:srgbClr val="FF0000"/>
                </a:solidFill>
                <a:latin typeface="+mj-lt"/>
              </a:rPr>
              <a:t>Proč investovat do </a:t>
            </a:r>
            <a:r>
              <a:rPr lang="cs-CZ" sz="1200" b="1" dirty="0" err="1">
                <a:solidFill>
                  <a:srgbClr val="FF0000"/>
                </a:solidFill>
                <a:latin typeface="+mj-lt"/>
              </a:rPr>
              <a:t>fotovoltaických</a:t>
            </a:r>
            <a:r>
              <a:rPr lang="cs-CZ" sz="1200" b="1" dirty="0">
                <a:solidFill>
                  <a:srgbClr val="FF0000"/>
                </a:solidFill>
                <a:latin typeface="+mj-lt"/>
              </a:rPr>
              <a:t> zařízení?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0000"/>
                </a:solidFill>
                <a:latin typeface="+mj-lt"/>
              </a:rPr>
              <a:t>Návratnost investice: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7–8 let bez dotace vs. 3–4 roky s dotací (při současných tržních cenách elektřiny)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+mj-lt"/>
              </a:rPr>
              <a:t>Životnost technologie: 20+ let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0000"/>
                </a:solidFill>
                <a:latin typeface="+mj-lt"/>
              </a:rPr>
              <a:t>Částečná soběstačnost: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přibližně 9 měsíců v roce s minimálním nebo žádným odkupem energie ze sítě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+mj-lt"/>
              </a:rPr>
              <a:t>Stabilnější plánování budoucího cash </a:t>
            </a:r>
            <a:r>
              <a:rPr lang="cs-CZ" sz="1100" dirty="0" err="1">
                <a:solidFill>
                  <a:srgbClr val="000000"/>
                </a:solidFill>
                <a:latin typeface="+mj-lt"/>
              </a:rPr>
              <a:t>flow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 – část nákladů fixována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dirty="0">
                <a:solidFill>
                  <a:srgbClr val="000000"/>
                </a:solidFill>
                <a:latin typeface="+mj-lt"/>
              </a:rPr>
              <a:t>Energie vyrobená po době návratnosti představuje </a:t>
            </a:r>
            <a:r>
              <a:rPr lang="cs-CZ" sz="1100" b="1" dirty="0">
                <a:solidFill>
                  <a:srgbClr val="000000"/>
                </a:solidFill>
                <a:latin typeface="+mj-lt"/>
              </a:rPr>
              <a:t>dodatečný výnos pro společnost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0000"/>
                </a:solidFill>
                <a:latin typeface="+mj-lt"/>
              </a:rPr>
              <a:t>Nejčistší zdroj výroby elektrické energie splňující ESG kritéria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(</a:t>
            </a:r>
            <a:r>
              <a:rPr lang="cs-CZ" sz="1100" dirty="0" err="1">
                <a:solidFill>
                  <a:srgbClr val="000000"/>
                </a:solidFill>
                <a:latin typeface="+mj-lt"/>
              </a:rPr>
              <a:t>Environmental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, </a:t>
            </a:r>
            <a:r>
              <a:rPr lang="cs-CZ" sz="1100" dirty="0" err="1">
                <a:solidFill>
                  <a:srgbClr val="000000"/>
                </a:solidFill>
                <a:latin typeface="+mj-lt"/>
              </a:rPr>
              <a:t>Social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 and Corporate </a:t>
            </a:r>
            <a:r>
              <a:rPr lang="cs-CZ" sz="1100" dirty="0" err="1">
                <a:solidFill>
                  <a:srgbClr val="000000"/>
                </a:solidFill>
                <a:latin typeface="+mj-lt"/>
              </a:rPr>
              <a:t>Governance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 = zodpovědné chování firem ve vztahu k životnímu prostředí, společnosti a řízení rizik)</a:t>
            </a:r>
            <a:endParaRPr lang="cs-CZ" sz="1100" dirty="0">
              <a:latin typeface="+mj-lt"/>
            </a:endParaRPr>
          </a:p>
        </p:txBody>
      </p:sp>
      <p:pic>
        <p:nvPicPr>
          <p:cNvPr id="79" name="Obrázek 78">
            <a:extLst>
              <a:ext uri="{FF2B5EF4-FFF2-40B4-BE49-F238E27FC236}">
                <a16:creationId xmlns:a16="http://schemas.microsoft.com/office/drawing/2014/main" id="{DB846EAF-E55A-4BB9-919C-37FA1A56259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7" t="21164" r="9291" b="26590"/>
          <a:stretch/>
        </p:blipFill>
        <p:spPr>
          <a:xfrm>
            <a:off x="4127229" y="3423337"/>
            <a:ext cx="4041191" cy="1266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306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UniPower"/>
  <p:tag name="BRANDKEY" val="BK1166"/>
  <p:tag name="FONT" val="UniCredit"/>
  <p:tag name="FORMAT" val="Widescreen"/>
  <p:tag name="VARIATION" val="English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_external">
  <a:themeElements>
    <a:clrScheme name="UniCredit_New">
      <a:dk1>
        <a:srgbClr val="000000"/>
      </a:dk1>
      <a:lt1>
        <a:srgbClr val="FFFFFF"/>
      </a:lt1>
      <a:dk2>
        <a:srgbClr val="666666"/>
      </a:dk2>
      <a:lt2>
        <a:srgbClr val="E5E5E5"/>
      </a:lt2>
      <a:accent1>
        <a:srgbClr val="D73928"/>
      </a:accent1>
      <a:accent2>
        <a:srgbClr val="B2B2B2"/>
      </a:accent2>
      <a:accent3>
        <a:srgbClr val="666666"/>
      </a:accent3>
      <a:accent4>
        <a:srgbClr val="FDC300"/>
      </a:accent4>
      <a:accent5>
        <a:srgbClr val="F58523"/>
      </a:accent5>
      <a:accent6>
        <a:srgbClr val="9FCA78"/>
      </a:accent6>
      <a:hlink>
        <a:srgbClr val="007A91"/>
      </a:hlink>
      <a:folHlink>
        <a:srgbClr val="AA1C0D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noAutofit/>
      </a:bodyPr>
      <a:lstStyle>
        <a:defPPr marL="171450" indent="-171450" algn="l">
          <a:lnSpc>
            <a:spcPct val="90000"/>
          </a:lnSpc>
          <a:spcBef>
            <a:spcPts val="600"/>
          </a:spcBef>
          <a:buClr>
            <a:schemeClr val="bg2"/>
          </a:buClr>
          <a:buSzPct val="100000"/>
          <a:buFont typeface="Arial" panose="020B0604020202020204" pitchFamily="34" charset="0"/>
          <a:buChar char="●"/>
          <a:defRPr sz="14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_external" id="{ACD6B0F8-D71C-4923-83BE-F64677F8D703}" vid="{F98056C7-1CD4-47A4-ADE1-48ADA5D1270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alidFromCZ xmlns="0afe607f-a485-4c32-b61b-d1ba56d8a0f9">2024-03-05T08:35:42+00:00</ValidFromCZ>
    <ValidToCZ xmlns="0afe607f-a485-4c32-b61b-d1ba56d8a0f9">2024-03-05T08:35:42+00:00</ValidToCZ>
    <lcf76f155ced4ddcb4097134ff3c332f xmlns="a86e1c96-7f7a-4889-bd05-115a42a84168">
      <Terms xmlns="http://schemas.microsoft.com/office/infopath/2007/PartnerControls"/>
    </lcf76f155ced4ddcb4097134ff3c332f>
    <TaxCatchAll xmlns="0afe607f-a485-4c32-b61b-d1ba56d8a0f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F429D5F2415F14DB3B059DB370E1204" ma:contentTypeVersion="15" ma:contentTypeDescription="Vytvoří nový dokument" ma:contentTypeScope="" ma:versionID="8f47fb8d66a23fce1aa9dda1461d283e">
  <xsd:schema xmlns:xsd="http://www.w3.org/2001/XMLSchema" xmlns:xs="http://www.w3.org/2001/XMLSchema" xmlns:p="http://schemas.microsoft.com/office/2006/metadata/properties" xmlns:ns2="0afe607f-a485-4c32-b61b-d1ba56d8a0f9" xmlns:ns3="a86e1c96-7f7a-4889-bd05-115a42a84168" targetNamespace="http://schemas.microsoft.com/office/2006/metadata/properties" ma:root="true" ma:fieldsID="b91905dc597df5b88420e6fcf189b203" ns2:_="" ns3:_="">
    <xsd:import namespace="0afe607f-a485-4c32-b61b-d1ba56d8a0f9"/>
    <xsd:import namespace="a86e1c96-7f7a-4889-bd05-115a42a84168"/>
    <xsd:element name="properties">
      <xsd:complexType>
        <xsd:sequence>
          <xsd:element name="documentManagement">
            <xsd:complexType>
              <xsd:all>
                <xsd:element ref="ns2:ValidFromCZ" minOccurs="0"/>
                <xsd:element ref="ns2:ValidToCZ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DateTaken" minOccurs="0"/>
                <xsd:element ref="ns3:lcf76f155ced4ddcb4097134ff3c332f" minOccurs="0"/>
                <xsd:element ref="ns2:TaxCatchAll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fe607f-a485-4c32-b61b-d1ba56d8a0f9" elementFormDefault="qualified">
    <xsd:import namespace="http://schemas.microsoft.com/office/2006/documentManagement/types"/>
    <xsd:import namespace="http://schemas.microsoft.com/office/infopath/2007/PartnerControls"/>
    <xsd:element name="ValidFromCZ" ma:index="8" nillable="true" ma:displayName="Platné od" ma:default="[today]" ma:format="DateOnly" ma:internalName="ValidFromCZ" ma:readOnly="false">
      <xsd:simpleType>
        <xsd:restriction base="dms:DateTime"/>
      </xsd:simpleType>
    </xsd:element>
    <xsd:element name="ValidToCZ" ma:index="9" nillable="true" ma:displayName="Platné do" ma:default="[today]" ma:format="DateOnly" ma:internalName="ValidToCZ" ma:readOnly="false">
      <xsd:simpleType>
        <xsd:restriction base="dms:DateTime"/>
      </xsd:simpleType>
    </xsd:element>
    <xsd:element name="TaxCatchAll" ma:index="16" nillable="true" ma:displayName="Taxonomy Catch All Column" ma:hidden="true" ma:list="{dcea21b6-aa69-4c4f-8fb7-97e8f3a89cf6}" ma:internalName="TaxCatchAll" ma:showField="CatchAllData" ma:web="0afe607f-a485-4c32-b61b-d1ba56d8a0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6e1c96-7f7a-4889-bd05-115a42a841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Značky obrázků" ma:readOnly="false" ma:fieldId="{5cf76f15-5ced-4ddc-b409-7134ff3c332f}" ma:taxonomyMulti="true" ma:sspId="ab1c8e69-02d0-4278-b4b0-a58cda356d8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5254319-A084-433F-92B0-49A053DC36E6}">
  <ds:schemaRefs>
    <ds:schemaRef ds:uri="http://www.w3.org/XML/1998/namespace"/>
    <ds:schemaRef ds:uri="http://schemas.microsoft.com/office/infopath/2007/PartnerControls"/>
    <ds:schemaRef ds:uri="http://purl.org/dc/terms/"/>
    <ds:schemaRef ds:uri="http://purl.org/dc/dcmitype/"/>
    <ds:schemaRef ds:uri="a86e1c96-7f7a-4889-bd05-115a42a84168"/>
    <ds:schemaRef ds:uri="http://purl.org/dc/elements/1.1/"/>
    <ds:schemaRef ds:uri="http://schemas.microsoft.com/office/2006/documentManagement/types"/>
    <ds:schemaRef ds:uri="0afe607f-a485-4c32-b61b-d1ba56d8a0f9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B3B66E8-AB64-41BE-9B9E-38D02CC0FC1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D37A0-5223-49A0-A4BC-F745D3A0AD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fe607f-a485-4c32-b61b-d1ba56d8a0f9"/>
    <ds:schemaRef ds:uri="a86e1c96-7f7a-4889-bd05-115a42a841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18</TotalTime>
  <Words>614</Words>
  <Application>Microsoft Office PowerPoint</Application>
  <PresentationFormat>Předvádění na obrazovce (16:9)</PresentationFormat>
  <Paragraphs>111</Paragraphs>
  <Slides>6</Slides>
  <Notes>5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6</vt:i4>
      </vt:variant>
    </vt:vector>
  </HeadingPairs>
  <TitlesOfParts>
    <vt:vector size="13" baseType="lpstr">
      <vt:lpstr>Arial</vt:lpstr>
      <vt:lpstr>System Font Regular</vt:lpstr>
      <vt:lpstr>UniCredit</vt:lpstr>
      <vt:lpstr>UniCredit (Body)</vt:lpstr>
      <vt:lpstr>Wingdings</vt:lpstr>
      <vt:lpstr>Theme_external</vt:lpstr>
      <vt:lpstr>think-cell Slide</vt:lpstr>
      <vt:lpstr>UniCredit Leasing CZ, a.s. Představení společnosti</vt:lpstr>
      <vt:lpstr>UniCredit Leasing CZ, a.s.</vt:lpstr>
      <vt:lpstr>Kde UniCredit Leasing v ČR a SR působí</vt:lpstr>
      <vt:lpstr>Financované komodity</vt:lpstr>
      <vt:lpstr>Financování elektromobility</vt:lpstr>
      <vt:lpstr>Financování FV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proposal_Podcast</dc:title>
  <dc:creator>ELEONORA.TUGLIANI@unicredit.eu</dc:creator>
  <dc:description>Fingerprint(d72fab7375a1f06d8f9ae853e6ed05fe,59238c638987292ad31a815d87529f4f)</dc:description>
  <cp:lastModifiedBy>Kynický Radek</cp:lastModifiedBy>
  <cp:revision>151</cp:revision>
  <cp:lastPrinted>2024-01-12T08:05:49Z</cp:lastPrinted>
  <dcterms:created xsi:type="dcterms:W3CDTF">2021-07-02T08:27:29Z</dcterms:created>
  <dcterms:modified xsi:type="dcterms:W3CDTF">2026-05-19T12:4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9db9e61-aac5-4f6e-805d-ceb8cb9983a1_Enabled">
    <vt:lpwstr>true</vt:lpwstr>
  </property>
  <property fmtid="{D5CDD505-2E9C-101B-9397-08002B2CF9AE}" pid="3" name="MSIP_Label_29db9e61-aac5-4f6e-805d-ceb8cb9983a1_SetDate">
    <vt:lpwstr>2021-07-02T08:27:30Z</vt:lpwstr>
  </property>
  <property fmtid="{D5CDD505-2E9C-101B-9397-08002B2CF9AE}" pid="4" name="MSIP_Label_29db9e61-aac5-4f6e-805d-ceb8cb9983a1_Method">
    <vt:lpwstr>Standard</vt:lpwstr>
  </property>
  <property fmtid="{D5CDD505-2E9C-101B-9397-08002B2CF9AE}" pid="5" name="MSIP_Label_29db9e61-aac5-4f6e-805d-ceb8cb9983a1_Name">
    <vt:lpwstr>UniCredit - Internal Use Only - no visual markings</vt:lpwstr>
  </property>
  <property fmtid="{D5CDD505-2E9C-101B-9397-08002B2CF9AE}" pid="6" name="MSIP_Label_29db9e61-aac5-4f6e-805d-ceb8cb9983a1_SiteId">
    <vt:lpwstr>2cc49ce9-66a1-41ac-a96b-bdc54247696a</vt:lpwstr>
  </property>
  <property fmtid="{D5CDD505-2E9C-101B-9397-08002B2CF9AE}" pid="7" name="MSIP_Label_29db9e61-aac5-4f6e-805d-ceb8cb9983a1_ActionId">
    <vt:lpwstr>0bed4863-1d8b-443e-b34f-ff3e2998a9b7</vt:lpwstr>
  </property>
  <property fmtid="{D5CDD505-2E9C-101B-9397-08002B2CF9AE}" pid="8" name="MSIP_Label_29db9e61-aac5-4f6e-805d-ceb8cb9983a1_ContentBits">
    <vt:lpwstr>0</vt:lpwstr>
  </property>
  <property fmtid="{D5CDD505-2E9C-101B-9397-08002B2CF9AE}" pid="9" name="ContentTypeId">
    <vt:lpwstr>0x0101007F429D5F2415F14DB3B059DB370E1204</vt:lpwstr>
  </property>
  <property fmtid="{D5CDD505-2E9C-101B-9397-08002B2CF9AE}" pid="10" name="MSIP_Label_69ace088-3c9d-41f8-aedc-5e3414ba625c_Enabled">
    <vt:lpwstr>true</vt:lpwstr>
  </property>
  <property fmtid="{D5CDD505-2E9C-101B-9397-08002B2CF9AE}" pid="11" name="MSIP_Label_69ace088-3c9d-41f8-aedc-5e3414ba625c_SetDate">
    <vt:lpwstr>2023-03-10T08:26:57Z</vt:lpwstr>
  </property>
  <property fmtid="{D5CDD505-2E9C-101B-9397-08002B2CF9AE}" pid="12" name="MSIP_Label_69ace088-3c9d-41f8-aedc-5e3414ba625c_Method">
    <vt:lpwstr>Standard</vt:lpwstr>
  </property>
  <property fmtid="{D5CDD505-2E9C-101B-9397-08002B2CF9AE}" pid="13" name="MSIP_Label_69ace088-3c9d-41f8-aedc-5e3414ba625c_Name">
    <vt:lpwstr>UniCredit Group - Internal Use Only (N)</vt:lpwstr>
  </property>
  <property fmtid="{D5CDD505-2E9C-101B-9397-08002B2CF9AE}" pid="14" name="MSIP_Label_69ace088-3c9d-41f8-aedc-5e3414ba625c_SiteId">
    <vt:lpwstr>1b7698ba-d75d-42b1-a271-bdcd21c3216d</vt:lpwstr>
  </property>
  <property fmtid="{D5CDD505-2E9C-101B-9397-08002B2CF9AE}" pid="15" name="MSIP_Label_69ace088-3c9d-41f8-aedc-5e3414ba625c_ActionId">
    <vt:lpwstr>0ed0da71-1988-4bb8-9eca-716e20718cbf</vt:lpwstr>
  </property>
  <property fmtid="{D5CDD505-2E9C-101B-9397-08002B2CF9AE}" pid="16" name="MSIP_Label_69ace088-3c9d-41f8-aedc-5e3414ba625c_ContentBits">
    <vt:lpwstr>0</vt:lpwstr>
  </property>
  <property fmtid="{D5CDD505-2E9C-101B-9397-08002B2CF9AE}" pid="17" name="Platné od">
    <vt:lpwstr>2024-03-05T09:35:42</vt:lpwstr>
  </property>
  <property fmtid="{D5CDD505-2E9C-101B-9397-08002B2CF9AE}" pid="18" name="Nadpis">
    <vt:lpwstr>Group proposal_Podcast</vt:lpwstr>
  </property>
  <property fmtid="{D5CDD505-2E9C-101B-9397-08002B2CF9AE}" pid="19" name="Platné do">
    <vt:lpwstr>2024-03-05T09:35:42</vt:lpwstr>
  </property>
</Properties>
</file>